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9" r:id="rId6"/>
    <p:sldMasterId id="2147484295" r:id="rId7"/>
    <p:sldMasterId id="2147484346" r:id="rId8"/>
    <p:sldMasterId id="2147484369" r:id="rId9"/>
    <p:sldMasterId id="2147484396" r:id="rId10"/>
    <p:sldMasterId id="2147484424" r:id="rId11"/>
    <p:sldMasterId id="2147484435" r:id="rId12"/>
    <p:sldMasterId id="2147484450" r:id="rId13"/>
  </p:sldMasterIdLst>
  <p:notesMasterIdLst>
    <p:notesMasterId r:id="rId113"/>
  </p:notesMasterIdLst>
  <p:handoutMasterIdLst>
    <p:handoutMasterId r:id="rId114"/>
  </p:handoutMasterIdLst>
  <p:sldIdLst>
    <p:sldId id="1439" r:id="rId14"/>
    <p:sldId id="1424" r:id="rId15"/>
    <p:sldId id="1425" r:id="rId16"/>
    <p:sldId id="1426" r:id="rId17"/>
    <p:sldId id="1427" r:id="rId18"/>
    <p:sldId id="1428" r:id="rId19"/>
    <p:sldId id="1429" r:id="rId20"/>
    <p:sldId id="1430" r:id="rId21"/>
    <p:sldId id="1431" r:id="rId22"/>
    <p:sldId id="1432" r:id="rId23"/>
    <p:sldId id="1433" r:id="rId24"/>
    <p:sldId id="1434" r:id="rId25"/>
    <p:sldId id="1441" r:id="rId26"/>
    <p:sldId id="1438" r:id="rId27"/>
    <p:sldId id="1435" r:id="rId28"/>
    <p:sldId id="1436" r:id="rId29"/>
    <p:sldId id="1437" r:id="rId30"/>
    <p:sldId id="1443" r:id="rId31"/>
    <p:sldId id="1356" r:id="rId32"/>
    <p:sldId id="1397" r:id="rId33"/>
    <p:sldId id="1399" r:id="rId34"/>
    <p:sldId id="1401" r:id="rId35"/>
    <p:sldId id="1457" r:id="rId36"/>
    <p:sldId id="1459" r:id="rId37"/>
    <p:sldId id="1458" r:id="rId38"/>
    <p:sldId id="1402" r:id="rId39"/>
    <p:sldId id="1403" r:id="rId40"/>
    <p:sldId id="1418" r:id="rId41"/>
    <p:sldId id="1456" r:id="rId42"/>
    <p:sldId id="1460" r:id="rId43"/>
    <p:sldId id="1461" r:id="rId44"/>
    <p:sldId id="1462" r:id="rId45"/>
    <p:sldId id="1463" r:id="rId46"/>
    <p:sldId id="1349" r:id="rId47"/>
    <p:sldId id="1360" r:id="rId48"/>
    <p:sldId id="1351" r:id="rId49"/>
    <p:sldId id="1352" r:id="rId50"/>
    <p:sldId id="1353" r:id="rId51"/>
    <p:sldId id="1448" r:id="rId52"/>
    <p:sldId id="1407" r:id="rId53"/>
    <p:sldId id="1406" r:id="rId54"/>
    <p:sldId id="1408" r:id="rId55"/>
    <p:sldId id="1409" r:id="rId56"/>
    <p:sldId id="1447" r:id="rId57"/>
    <p:sldId id="1445" r:id="rId58"/>
    <p:sldId id="1446" r:id="rId59"/>
    <p:sldId id="1444" r:id="rId60"/>
    <p:sldId id="1354" r:id="rId61"/>
    <p:sldId id="1449" r:id="rId62"/>
    <p:sldId id="1450" r:id="rId63"/>
    <p:sldId id="1359" r:id="rId64"/>
    <p:sldId id="1419" r:id="rId65"/>
    <p:sldId id="1383" r:id="rId66"/>
    <p:sldId id="1404" r:id="rId67"/>
    <p:sldId id="1451" r:id="rId68"/>
    <p:sldId id="1388" r:id="rId69"/>
    <p:sldId id="1452" r:id="rId70"/>
    <p:sldId id="1453" r:id="rId71"/>
    <p:sldId id="1464" r:id="rId72"/>
    <p:sldId id="1454" r:id="rId73"/>
    <p:sldId id="1455" r:id="rId74"/>
    <p:sldId id="1348" r:id="rId75"/>
    <p:sldId id="1389" r:id="rId76"/>
    <p:sldId id="1362" r:id="rId77"/>
    <p:sldId id="1416" r:id="rId78"/>
    <p:sldId id="1363" r:id="rId79"/>
    <p:sldId id="1387" r:id="rId80"/>
    <p:sldId id="1420" r:id="rId81"/>
    <p:sldId id="1361" r:id="rId82"/>
    <p:sldId id="1366" r:id="rId83"/>
    <p:sldId id="1380" r:id="rId84"/>
    <p:sldId id="1381" r:id="rId85"/>
    <p:sldId id="1423" r:id="rId86"/>
    <p:sldId id="1385" r:id="rId87"/>
    <p:sldId id="1386" r:id="rId88"/>
    <p:sldId id="1375" r:id="rId89"/>
    <p:sldId id="1384" r:id="rId90"/>
    <p:sldId id="1417" r:id="rId91"/>
    <p:sldId id="1367" r:id="rId92"/>
    <p:sldId id="1365" r:id="rId93"/>
    <p:sldId id="1421" r:id="rId94"/>
    <p:sldId id="1350" r:id="rId95"/>
    <p:sldId id="1371" r:id="rId96"/>
    <p:sldId id="1410" r:id="rId97"/>
    <p:sldId id="1370" r:id="rId98"/>
    <p:sldId id="1369" r:id="rId99"/>
    <p:sldId id="1411" r:id="rId100"/>
    <p:sldId id="1412" r:id="rId101"/>
    <p:sldId id="1422" r:id="rId102"/>
    <p:sldId id="1374" r:id="rId103"/>
    <p:sldId id="1372" r:id="rId104"/>
    <p:sldId id="1465" r:id="rId105"/>
    <p:sldId id="1390" r:id="rId106"/>
    <p:sldId id="1393" r:id="rId107"/>
    <p:sldId id="1391" r:id="rId108"/>
    <p:sldId id="1392" r:id="rId109"/>
    <p:sldId id="1394" r:id="rId110"/>
    <p:sldId id="1395" r:id="rId111"/>
    <p:sldId id="1396" r:id="rId11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073DAE3-B461-442F-A3D3-6642BD875E45}">
          <p14:sldIdLst>
            <p14:sldId id="1439"/>
          </p14:sldIdLst>
        </p14:section>
        <p14:section name="Azure Overview" id="{F4ED66DF-9BA6-4DDB-91F1-717B67BC40E9}">
          <p14:sldIdLst>
            <p14:sldId id="1424"/>
            <p14:sldId id="1425"/>
            <p14:sldId id="1426"/>
            <p14:sldId id="1427"/>
            <p14:sldId id="1428"/>
            <p14:sldId id="1429"/>
            <p14:sldId id="1430"/>
            <p14:sldId id="1431"/>
            <p14:sldId id="1432"/>
            <p14:sldId id="1433"/>
            <p14:sldId id="1434"/>
            <p14:sldId id="1441"/>
            <p14:sldId id="1438"/>
            <p14:sldId id="1435"/>
            <p14:sldId id="1436"/>
            <p14:sldId id="1437"/>
          </p14:sldIdLst>
        </p14:section>
        <p14:section name="Networking" id="{F3C09A4D-A89F-4EA6-BB7E-B074F2C52089}">
          <p14:sldIdLst>
            <p14:sldId id="1443"/>
            <p14:sldId id="1356"/>
            <p14:sldId id="1397"/>
            <p14:sldId id="1399"/>
            <p14:sldId id="1401"/>
            <p14:sldId id="1457"/>
            <p14:sldId id="1459"/>
            <p14:sldId id="1458"/>
            <p14:sldId id="1402"/>
            <p14:sldId id="1403"/>
            <p14:sldId id="1418"/>
            <p14:sldId id="1456"/>
            <p14:sldId id="1460"/>
            <p14:sldId id="1461"/>
            <p14:sldId id="1462"/>
            <p14:sldId id="1463"/>
          </p14:sldIdLst>
        </p14:section>
        <p14:section name="Compute &amp; Infrastructure Services" id="{F2B8100E-36F2-44C7-9EAE-84E2466D754D}">
          <p14:sldIdLst>
            <p14:sldId id="1349"/>
            <p14:sldId id="1360"/>
            <p14:sldId id="1351"/>
            <p14:sldId id="1352"/>
            <p14:sldId id="1353"/>
            <p14:sldId id="1448"/>
            <p14:sldId id="1407"/>
            <p14:sldId id="1406"/>
            <p14:sldId id="1408"/>
            <p14:sldId id="1409"/>
            <p14:sldId id="1447"/>
            <p14:sldId id="1445"/>
            <p14:sldId id="1446"/>
            <p14:sldId id="1444"/>
          </p14:sldIdLst>
        </p14:section>
        <p14:section name="Storage and ARM templates" id="{6552923A-64A3-4EB3-B619-FE160314423E}">
          <p14:sldIdLst>
            <p14:sldId id="1354"/>
            <p14:sldId id="1449"/>
            <p14:sldId id="1450"/>
            <p14:sldId id="1359"/>
            <p14:sldId id="1419"/>
            <p14:sldId id="1383"/>
          </p14:sldIdLst>
        </p14:section>
        <p14:section name="Governance" id="{83F34D72-1766-451E-9504-784B7415C445}">
          <p14:sldIdLst>
            <p14:sldId id="1404"/>
            <p14:sldId id="1451"/>
            <p14:sldId id="1388"/>
            <p14:sldId id="1452"/>
            <p14:sldId id="1453"/>
            <p14:sldId id="1464"/>
            <p14:sldId id="1454"/>
            <p14:sldId id="1455"/>
          </p14:sldIdLst>
        </p14:section>
        <p14:section name="Application &amp; Platform Services" id="{1948C8C3-7D80-479E-8DAA-5C73F2A598C8}">
          <p14:sldIdLst>
            <p14:sldId id="1348"/>
            <p14:sldId id="1389"/>
            <p14:sldId id="1362"/>
            <p14:sldId id="1416"/>
            <p14:sldId id="1363"/>
            <p14:sldId id="1387"/>
            <p14:sldId id="1420"/>
          </p14:sldIdLst>
        </p14:section>
        <p14:section name="DevOps" id="{0DB61B8C-F774-4760-A528-351B3B1F5C24}">
          <p14:sldIdLst>
            <p14:sldId id="1361"/>
            <p14:sldId id="1366"/>
            <p14:sldId id="1380"/>
            <p14:sldId id="1381"/>
            <p14:sldId id="1423"/>
            <p14:sldId id="1385"/>
            <p14:sldId id="1386"/>
            <p14:sldId id="1375"/>
            <p14:sldId id="1384"/>
          </p14:sldIdLst>
        </p14:section>
        <p14:section name="Event Based and Decoupled" id="{98105F2E-C6C3-4A73-81FF-7BD908B981D8}">
          <p14:sldIdLst>
            <p14:sldId id="1417"/>
            <p14:sldId id="1367"/>
            <p14:sldId id="1365"/>
            <p14:sldId id="1421"/>
          </p14:sldIdLst>
        </p14:section>
        <p14:section name="Data Analytics and IoT Services" id="{C0D87E48-4AB8-4F03-B37F-58858E082D93}">
          <p14:sldIdLst>
            <p14:sldId id="1350"/>
            <p14:sldId id="1371"/>
            <p14:sldId id="1410"/>
            <p14:sldId id="1370"/>
            <p14:sldId id="1369"/>
            <p14:sldId id="1411"/>
            <p14:sldId id="1412"/>
            <p14:sldId id="1422"/>
            <p14:sldId id="1374"/>
            <p14:sldId id="1372"/>
            <p14:sldId id="1465"/>
          </p14:sldIdLst>
        </p14:section>
        <p14:section name="Accreditations" id="{ECE47374-A347-4E58-B268-E6376CE89FB9}">
          <p14:sldIdLst/>
        </p14:section>
        <p14:section name="End" id="{C0D04FC3-5E68-4221-82E4-6696E134F5BA}">
          <p14:sldIdLst>
            <p14:sldId id="1390"/>
            <p14:sldId id="1393"/>
            <p14:sldId id="1391"/>
            <p14:sldId id="1392"/>
            <p14:sldId id="1394"/>
            <p14:sldId id="1395"/>
            <p14:sldId id="139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0078D7"/>
    <a:srgbClr val="00BCF2"/>
    <a:srgbClr val="BAD80A"/>
    <a:srgbClr val="72BFDF"/>
    <a:srgbClr val="0E744D"/>
    <a:srgbClr val="002050"/>
    <a:srgbClr val="1E1E1E"/>
    <a:srgbClr val="FFFFFF"/>
    <a:srgbClr val="1B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34" autoAdjust="0"/>
    <p:restoredTop sz="70165" autoAdjust="0"/>
  </p:normalViewPr>
  <p:slideViewPr>
    <p:cSldViewPr snapToGrid="0">
      <p:cViewPr varScale="1">
        <p:scale>
          <a:sx n="59" d="100"/>
          <a:sy n="59" d="100"/>
        </p:scale>
        <p:origin x="1488" y="66"/>
      </p:cViewPr>
      <p:guideLst/>
    </p:cSldViewPr>
  </p:slideViewPr>
  <p:notesTextViewPr>
    <p:cViewPr>
      <p:scale>
        <a:sx n="1" d="1"/>
        <a:sy n="1" d="1"/>
      </p:scale>
      <p:origin x="0" y="0"/>
    </p:cViewPr>
  </p:notesTextViewPr>
  <p:sorterViewPr>
    <p:cViewPr varScale="1">
      <p:scale>
        <a:sx n="1" d="1"/>
        <a:sy n="1" d="1"/>
      </p:scale>
      <p:origin x="0" y="-31236"/>
    </p:cViewPr>
  </p:sorterViewPr>
  <p:notesViewPr>
    <p:cSldViewPr snapToGrid="0">
      <p:cViewPr>
        <p:scale>
          <a:sx n="1" d="2"/>
          <a:sy n="1" d="2"/>
        </p:scale>
        <p:origin x="3369" y="92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viewProps" Target="viewProps.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notesMaster" Target="notesMasters/notesMaster1.xml"/><Relationship Id="rId118" Type="http://schemas.openxmlformats.org/officeDocument/2006/relationships/theme" Target="theme/theme1.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commentAuthors" Target="commentAuthor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s>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4_5" csCatId="accent4" phldr="1"/>
      <dgm:spPr/>
    </dgm:pt>
    <dgm:pt modelId="{E4E9CB49-C2DF-497C-AA56-F10E86443752}">
      <dgm:prSet phldrT="[Text]" custT="1"/>
      <dgm:spPr/>
      <dgm:t>
        <a:bodyPr/>
        <a:lstStyle/>
        <a:p>
          <a:r>
            <a:rPr lang="en-US" sz="2000" b="1"/>
            <a:t>Visual Studio</a:t>
          </a:r>
        </a:p>
      </dgm:t>
    </dgm:pt>
    <dgm:pt modelId="{D4AC19C6-103C-44C7-909D-C995B6333D7B}" type="parTrans" cxnId="{54BC1FD4-81C9-4105-ADB3-77D860E1FF9C}">
      <dgm:prSet/>
      <dgm:spPr/>
      <dgm:t>
        <a:bodyPr/>
        <a:lstStyle/>
        <a:p>
          <a:endParaRPr lang="en-US" b="1">
            <a:solidFill>
              <a:schemeClr val="bg1">
                <a:lumMod val="85000"/>
                <a:lumOff val="15000"/>
              </a:schemeClr>
            </a:solidFill>
          </a:endParaRPr>
        </a:p>
      </dgm:t>
    </dgm:pt>
    <dgm:pt modelId="{D73F2F87-EB23-4F19-9B2C-C66ECFDF60BC}" type="sibTrans" cxnId="{54BC1FD4-81C9-4105-ADB3-77D860E1FF9C}">
      <dgm:prSet/>
      <dgm:spPr/>
      <dgm:t>
        <a:bodyPr/>
        <a:lstStyle/>
        <a:p>
          <a:endParaRPr lang="en-US" b="1">
            <a:solidFill>
              <a:schemeClr val="bg1">
                <a:lumMod val="85000"/>
                <a:lumOff val="15000"/>
              </a:schemeClr>
            </a:solidFill>
          </a:endParaRPr>
        </a:p>
      </dgm:t>
    </dgm:pt>
    <dgm:pt modelId="{54DDCBD6-C286-4BDB-91AC-30064778675A}">
      <dgm:prSet phldrT="[Text]" custT="1"/>
      <dgm:spPr/>
      <dgm:t>
        <a:bodyPr/>
        <a:lstStyle/>
        <a:p>
          <a:r>
            <a:rPr lang="en-US" sz="1800" b="1"/>
            <a:t>VS Team Services</a:t>
          </a:r>
        </a:p>
      </dgm:t>
    </dgm:pt>
    <dgm:pt modelId="{118070A3-BCF3-46B6-887E-FB1EDF937765}" type="parTrans" cxnId="{242439D9-E310-4E43-8EF7-9B5409731168}">
      <dgm:prSet/>
      <dgm:spPr/>
      <dgm:t>
        <a:bodyPr/>
        <a:lstStyle/>
        <a:p>
          <a:endParaRPr lang="en-US" b="1">
            <a:solidFill>
              <a:schemeClr val="bg1">
                <a:lumMod val="85000"/>
                <a:lumOff val="15000"/>
              </a:schemeClr>
            </a:solidFill>
          </a:endParaRPr>
        </a:p>
      </dgm:t>
    </dgm:pt>
    <dgm:pt modelId="{C42ED0F8-29C3-450E-8718-DF63F15DEEF7}" type="sibTrans" cxnId="{242439D9-E310-4E43-8EF7-9B5409731168}">
      <dgm:prSet/>
      <dgm:spPr/>
      <dgm:t>
        <a:bodyPr/>
        <a:lstStyle/>
        <a:p>
          <a:endParaRPr lang="en-US" b="1">
            <a:solidFill>
              <a:schemeClr val="bg1">
                <a:lumMod val="85000"/>
                <a:lumOff val="15000"/>
              </a:schemeClr>
            </a:solidFill>
          </a:endParaRPr>
        </a:p>
      </dgm:t>
    </dgm:pt>
    <dgm:pt modelId="{29E7F638-D2CF-427C-9C1E-1AE0F8DE80BB}">
      <dgm:prSet phldrT="[Text]"/>
      <dgm:spPr/>
      <dgm:t>
        <a:bodyPr/>
        <a:lstStyle/>
        <a:p>
          <a:r>
            <a:rPr lang="en-US" b="1"/>
            <a:t>Azure Resource Manager</a:t>
          </a:r>
        </a:p>
      </dgm:t>
    </dgm:pt>
    <dgm:pt modelId="{1AC9B606-AD9F-4174-A04A-C3CDB1DE7689}" type="parTrans" cxnId="{0E79B6C3-A10B-407A-A61C-70E211DA0EC5}">
      <dgm:prSet/>
      <dgm:spPr/>
      <dgm:t>
        <a:bodyPr/>
        <a:lstStyle/>
        <a:p>
          <a:endParaRPr lang="en-US" b="1">
            <a:solidFill>
              <a:schemeClr val="bg1">
                <a:lumMod val="85000"/>
                <a:lumOff val="15000"/>
              </a:schemeClr>
            </a:solidFill>
          </a:endParaRPr>
        </a:p>
      </dgm:t>
    </dgm:pt>
    <dgm:pt modelId="{CC862B9B-DD65-4F0C-8B73-77CF694B8E72}" type="sibTrans" cxnId="{0E79B6C3-A10B-407A-A61C-70E211DA0EC5}">
      <dgm:prSet/>
      <dgm:spPr/>
      <dgm:t>
        <a:bodyPr/>
        <a:lstStyle/>
        <a:p>
          <a:endParaRPr lang="en-US" b="1">
            <a:solidFill>
              <a:schemeClr val="bg1">
                <a:lumMod val="85000"/>
                <a:lumOff val="15000"/>
              </a:schemeClr>
            </a:solidFill>
          </a:endParaRPr>
        </a:p>
      </dgm:t>
    </dgm:pt>
    <dgm:pt modelId="{EC2EE2E9-2BE6-4A40-ADEF-705545320FFB}">
      <dgm:prSet phldrT="[Text]" custT="1"/>
      <dgm:spPr/>
      <dgm:t>
        <a:bodyPr/>
        <a:lstStyle/>
        <a:p>
          <a:r>
            <a:rPr lang="en-US" sz="2800" b="1"/>
            <a:t>Azure</a:t>
          </a:r>
        </a:p>
      </dgm:t>
    </dgm:pt>
    <dgm:pt modelId="{E68D5648-B06C-4BC7-9289-EF98014A511F}" type="parTrans" cxnId="{9F7FA73D-426F-4A67-B38E-BFC3EF01B68A}">
      <dgm:prSet/>
      <dgm:spPr/>
      <dgm:t>
        <a:bodyPr/>
        <a:lstStyle/>
        <a:p>
          <a:endParaRPr lang="en-US" b="1"/>
        </a:p>
      </dgm:t>
    </dgm:pt>
    <dgm:pt modelId="{80365D3A-925E-4E5E-8202-17466288A8C7}" type="sibTrans" cxnId="{9F7FA73D-426F-4A67-B38E-BFC3EF01B68A}">
      <dgm:prSet/>
      <dgm:spPr/>
      <dgm:t>
        <a:bodyPr/>
        <a:lstStyle/>
        <a:p>
          <a:endParaRPr lang="en-US" b="1"/>
        </a:p>
      </dgm:t>
    </dgm:pt>
    <dgm:pt modelId="{5B15A3CB-3761-4851-A240-58274AE1AEA7}">
      <dgm:prSet phldrT="[Text]"/>
      <dgm:spPr/>
      <dgm:t>
        <a:bodyPr/>
        <a:lstStyle/>
        <a:p>
          <a:r>
            <a:rPr lang="en-US" b="1"/>
            <a:t>Windows /</a:t>
          </a:r>
        </a:p>
        <a:p>
          <a:r>
            <a:rPr lang="en-US" b="1"/>
            <a:t>.NET</a:t>
          </a:r>
        </a:p>
      </dgm:t>
    </dgm:pt>
    <dgm:pt modelId="{CCBDC6D3-81A0-413F-A46B-AB220146E12F}" type="parTrans" cxnId="{618D516B-DDF3-4278-96D6-AAE7A294427D}">
      <dgm:prSet/>
      <dgm:spPr/>
      <dgm:t>
        <a:bodyPr/>
        <a:lstStyle/>
        <a:p>
          <a:endParaRPr lang="en-US" b="1"/>
        </a:p>
      </dgm:t>
    </dgm:pt>
    <dgm:pt modelId="{4BDB9EF7-7E0F-4CC9-ABAD-8095DDF395B5}" type="sibTrans" cxnId="{618D516B-DDF3-4278-96D6-AAE7A294427D}">
      <dgm:prSet/>
      <dgm:spPr/>
      <dgm:t>
        <a:bodyPr/>
        <a:lstStyle/>
        <a:p>
          <a:endParaRPr lang="en-US" b="1"/>
        </a:p>
      </dgm:t>
    </dgm:pt>
    <dgm:pt modelId="{4432BF36-46CD-49C4-92B8-B55547304111}">
      <dgm:prSet phldrT="[Text]" custT="1"/>
      <dgm:spPr/>
      <dgm:t>
        <a:bodyPr lIns="0" rIns="0"/>
        <a:lstStyle/>
        <a:p>
          <a:r>
            <a:rPr lang="en-US" sz="1300" b="1"/>
            <a:t>Team Foundation Version Control</a:t>
          </a:r>
        </a:p>
      </dgm:t>
    </dgm:pt>
    <dgm:pt modelId="{4E097399-3FDB-417B-86F0-9FF11B3E37FA}" type="parTrans" cxnId="{9B829058-7436-4193-BA3A-7D7C514B31FA}">
      <dgm:prSet/>
      <dgm:spPr/>
      <dgm:t>
        <a:bodyPr/>
        <a:lstStyle/>
        <a:p>
          <a:endParaRPr lang="en-US" b="1"/>
        </a:p>
      </dgm:t>
    </dgm:pt>
    <dgm:pt modelId="{05741738-1B1C-49D1-BAA7-029CCA2835C4}" type="sibTrans" cxnId="{9B829058-7436-4193-BA3A-7D7C514B31FA}">
      <dgm:prSet/>
      <dgm:spPr/>
      <dgm:t>
        <a:bodyPr/>
        <a:lstStyle/>
        <a:p>
          <a:endParaRPr lang="en-US" b="1"/>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2C588BCE-CC18-4967-8702-B993E5636824}" type="pres">
      <dgm:prSet presAssocID="{4432BF36-46CD-49C4-92B8-B55547304111}" presName="parTxOnly" presStyleLbl="node1" presStyleIdx="1" presStyleCnt="6">
        <dgm:presLayoutVars>
          <dgm:chMax val="0"/>
          <dgm:chPref val="0"/>
          <dgm:bulletEnabled val="1"/>
        </dgm:presLayoutVars>
      </dgm:prSet>
      <dgm:spPr/>
    </dgm:pt>
    <dgm:pt modelId="{D19FE054-662A-4364-8825-6BAB4A4F5BA3}" type="pres">
      <dgm:prSet presAssocID="{05741738-1B1C-49D1-BAA7-029CCA2835C4}" presName="parTxOnlySpace" presStyleCnt="0"/>
      <dgm:spPr/>
    </dgm:pt>
    <dgm:pt modelId="{B4831151-7A6C-4D1F-B71A-8C517E60ED6D}" type="pres">
      <dgm:prSet presAssocID="{54DDCBD6-C286-4BDB-91AC-30064778675A}" presName="parTxOnly" presStyleLbl="node1" presStyleIdx="2" presStyleCnt="6">
        <dgm:presLayoutVars>
          <dgm:chMax val="0"/>
          <dgm:chPref val="0"/>
          <dgm:bulletEnabled val="1"/>
        </dgm:presLayoutVars>
      </dgm:prSet>
      <dgm:spPr/>
    </dgm:pt>
    <dgm:pt modelId="{9EF5990B-7707-4BCD-8988-2EEDD5F1F347}" type="pres">
      <dgm:prSet presAssocID="{C42ED0F8-29C3-450E-8718-DF63F15DEEF7}" presName="parTxOnlySpace" presStyleCnt="0"/>
      <dgm:spPr/>
    </dgm:pt>
    <dgm:pt modelId="{88C299BB-0E1B-4A9A-853D-D3B97BE435E1}" type="pres">
      <dgm:prSet presAssocID="{29E7F638-D2CF-427C-9C1E-1AE0F8DE80BB}" presName="parTxOnly" presStyleLbl="node1" presStyleIdx="3" presStyleCnt="6">
        <dgm:presLayoutVars>
          <dgm:chMax val="0"/>
          <dgm:chPref val="0"/>
          <dgm:bulletEnabled val="1"/>
        </dgm:presLayoutVars>
      </dgm:prSet>
      <dgm:spPr/>
    </dgm:pt>
    <dgm:pt modelId="{A4F29642-2DFB-48FD-88BA-4E45F151C0F0}" type="pres">
      <dgm:prSet presAssocID="{CC862B9B-DD65-4F0C-8B73-77CF694B8E72}" presName="parTxOnlySpace" presStyleCnt="0"/>
      <dgm:spPr/>
    </dgm:pt>
    <dgm:pt modelId="{CBEA60FF-C53B-4A3F-B99D-A151A88E59F7}" type="pres">
      <dgm:prSet presAssocID="{EC2EE2E9-2BE6-4A40-ADEF-705545320FFB}" presName="parTxOnly" presStyleLbl="node1" presStyleIdx="4" presStyleCnt="6">
        <dgm:presLayoutVars>
          <dgm:chMax val="0"/>
          <dgm:chPref val="0"/>
          <dgm:bulletEnabled val="1"/>
        </dgm:presLayoutVars>
      </dgm:prSet>
      <dgm:spPr/>
    </dgm:pt>
    <dgm:pt modelId="{CA2D9F79-23A8-4AE8-A792-1155E02BDA67}" type="pres">
      <dgm:prSet presAssocID="{80365D3A-925E-4E5E-8202-17466288A8C7}" presName="parTxOnlySpace" presStyleCnt="0"/>
      <dgm:spPr/>
    </dgm:pt>
    <dgm:pt modelId="{F732AB74-57BC-440E-B6CA-6D3F8F40FA69}" type="pres">
      <dgm:prSet presAssocID="{5B15A3CB-3761-4851-A240-58274AE1AEA7}" presName="parTxOnly" presStyleLbl="node1" presStyleIdx="5" presStyleCnt="6">
        <dgm:presLayoutVars>
          <dgm:chMax val="0"/>
          <dgm:chPref val="0"/>
          <dgm:bulletEnabled val="1"/>
        </dgm:presLayoutVars>
      </dgm:prSet>
      <dgm:spPr/>
    </dgm:pt>
  </dgm:ptLst>
  <dgm:cxnLst>
    <dgm:cxn modelId="{7AC4541D-D9E5-4870-8524-F4B6F56B6786}" type="presOf" srcId="{5B15A3CB-3761-4851-A240-58274AE1AEA7}" destId="{F732AB74-57BC-440E-B6CA-6D3F8F40FA69}" srcOrd="0" destOrd="0" presId="urn:microsoft.com/office/officeart/2005/8/layout/chevron1"/>
    <dgm:cxn modelId="{9F7FA73D-426F-4A67-B38E-BFC3EF01B68A}" srcId="{932804A8-394E-4F0E-9DEC-8106DF0C55E2}" destId="{EC2EE2E9-2BE6-4A40-ADEF-705545320FFB}" srcOrd="4" destOrd="0" parTransId="{E68D5648-B06C-4BC7-9289-EF98014A511F}" sibTransId="{80365D3A-925E-4E5E-8202-17466288A8C7}"/>
    <dgm:cxn modelId="{DB19475E-C94F-45E9-ACD6-0DCEC2958B38}" type="presOf" srcId="{54DDCBD6-C286-4BDB-91AC-30064778675A}" destId="{B4831151-7A6C-4D1F-B71A-8C517E60ED6D}" srcOrd="0" destOrd="0" presId="urn:microsoft.com/office/officeart/2005/8/layout/chevron1"/>
    <dgm:cxn modelId="{618D516B-DDF3-4278-96D6-AAE7A294427D}" srcId="{932804A8-394E-4F0E-9DEC-8106DF0C55E2}" destId="{5B15A3CB-3761-4851-A240-58274AE1AEA7}" srcOrd="5" destOrd="0" parTransId="{CCBDC6D3-81A0-413F-A46B-AB220146E12F}" sibTransId="{4BDB9EF7-7E0F-4CC9-ABAD-8095DDF395B5}"/>
    <dgm:cxn modelId="{C2D04276-6CD8-4EB9-9928-2C8D72433D6D}" type="presOf" srcId="{4432BF36-46CD-49C4-92B8-B55547304111}" destId="{2C588BCE-CC18-4967-8702-B993E5636824}" srcOrd="0" destOrd="0" presId="urn:microsoft.com/office/officeart/2005/8/layout/chevron1"/>
    <dgm:cxn modelId="{9B829058-7436-4193-BA3A-7D7C514B31FA}" srcId="{932804A8-394E-4F0E-9DEC-8106DF0C55E2}" destId="{4432BF36-46CD-49C4-92B8-B55547304111}" srcOrd="1" destOrd="0" parTransId="{4E097399-3FDB-417B-86F0-9FF11B3E37FA}" sibTransId="{05741738-1B1C-49D1-BAA7-029CCA2835C4}"/>
    <dgm:cxn modelId="{F480089B-8357-4595-A3FA-6D9FC75FB1E0}" type="presOf" srcId="{29E7F638-D2CF-427C-9C1E-1AE0F8DE80BB}" destId="{88C299BB-0E1B-4A9A-853D-D3B97BE435E1}" srcOrd="0" destOrd="0" presId="urn:microsoft.com/office/officeart/2005/8/layout/chevron1"/>
    <dgm:cxn modelId="{269EAFAD-E8B7-4D20-ABD6-92E5F5B6174A}" type="presOf" srcId="{EC2EE2E9-2BE6-4A40-ADEF-705545320FFB}" destId="{CBEA60FF-C53B-4A3F-B99D-A151A88E59F7}" srcOrd="0" destOrd="0" presId="urn:microsoft.com/office/officeart/2005/8/layout/chevron1"/>
    <dgm:cxn modelId="{7FD29FC2-3F29-489B-90FB-15E0B7FA9740}" type="presOf" srcId="{E4E9CB49-C2DF-497C-AA56-F10E86443752}" destId="{B2A14F9A-CFB3-4554-82D9-086AF6252A7F}" srcOrd="0" destOrd="0" presId="urn:microsoft.com/office/officeart/2005/8/layout/chevron1"/>
    <dgm:cxn modelId="{0E79B6C3-A10B-407A-A61C-70E211DA0EC5}" srcId="{932804A8-394E-4F0E-9DEC-8106DF0C55E2}" destId="{29E7F638-D2CF-427C-9C1E-1AE0F8DE80BB}" srcOrd="3" destOrd="0" parTransId="{1AC9B606-AD9F-4174-A04A-C3CDB1DE7689}" sibTransId="{CC862B9B-DD65-4F0C-8B73-77CF694B8E72}"/>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242439D9-E310-4E43-8EF7-9B5409731168}" srcId="{932804A8-394E-4F0E-9DEC-8106DF0C55E2}" destId="{54DDCBD6-C286-4BDB-91AC-30064778675A}" srcOrd="2" destOrd="0" parTransId="{118070A3-BCF3-46B6-887E-FB1EDF937765}" sibTransId="{C42ED0F8-29C3-450E-8718-DF63F15DEEF7}"/>
    <dgm:cxn modelId="{7E5D5A34-E9AE-4C5B-8F52-64C261A5C82E}" type="presParOf" srcId="{4FDCFFF7-DA5B-4D29-A54E-10BB4A981E2C}" destId="{B2A14F9A-CFB3-4554-82D9-086AF6252A7F}" srcOrd="0" destOrd="0" presId="urn:microsoft.com/office/officeart/2005/8/layout/chevron1"/>
    <dgm:cxn modelId="{674AAF8D-6F9F-4A6C-BA90-2A5CBB70AE67}" type="presParOf" srcId="{4FDCFFF7-DA5B-4D29-A54E-10BB4A981E2C}" destId="{4610CD7D-114B-471E-BD79-3DF535AEAEC1}" srcOrd="1" destOrd="0" presId="urn:microsoft.com/office/officeart/2005/8/layout/chevron1"/>
    <dgm:cxn modelId="{A908BC16-A291-482A-B8A4-3B1F3D580941}" type="presParOf" srcId="{4FDCFFF7-DA5B-4D29-A54E-10BB4A981E2C}" destId="{2C588BCE-CC18-4967-8702-B993E5636824}" srcOrd="2" destOrd="0" presId="urn:microsoft.com/office/officeart/2005/8/layout/chevron1"/>
    <dgm:cxn modelId="{3FA092DB-BFB4-4B47-B995-A85640AD7C49}" type="presParOf" srcId="{4FDCFFF7-DA5B-4D29-A54E-10BB4A981E2C}" destId="{D19FE054-662A-4364-8825-6BAB4A4F5BA3}" srcOrd="3" destOrd="0" presId="urn:microsoft.com/office/officeart/2005/8/layout/chevron1"/>
    <dgm:cxn modelId="{D9F4B89C-2B0C-4B00-AD6C-89B7674AB4F6}" type="presParOf" srcId="{4FDCFFF7-DA5B-4D29-A54E-10BB4A981E2C}" destId="{B4831151-7A6C-4D1F-B71A-8C517E60ED6D}" srcOrd="4" destOrd="0" presId="urn:microsoft.com/office/officeart/2005/8/layout/chevron1"/>
    <dgm:cxn modelId="{B2F1F936-284A-4CB0-B02B-45F15108669E}" type="presParOf" srcId="{4FDCFFF7-DA5B-4D29-A54E-10BB4A981E2C}" destId="{9EF5990B-7707-4BCD-8988-2EEDD5F1F347}" srcOrd="5" destOrd="0" presId="urn:microsoft.com/office/officeart/2005/8/layout/chevron1"/>
    <dgm:cxn modelId="{621CC767-2FF8-483D-A672-771FBA3F3599}" type="presParOf" srcId="{4FDCFFF7-DA5B-4D29-A54E-10BB4A981E2C}" destId="{88C299BB-0E1B-4A9A-853D-D3B97BE435E1}" srcOrd="6" destOrd="0" presId="urn:microsoft.com/office/officeart/2005/8/layout/chevron1"/>
    <dgm:cxn modelId="{7767254D-3F06-458E-8999-27AB1E4F588D}" type="presParOf" srcId="{4FDCFFF7-DA5B-4D29-A54E-10BB4A981E2C}" destId="{A4F29642-2DFB-48FD-88BA-4E45F151C0F0}" srcOrd="7" destOrd="0" presId="urn:microsoft.com/office/officeart/2005/8/layout/chevron1"/>
    <dgm:cxn modelId="{6AE9B725-D746-492B-BFCA-D09F38D5A131}" type="presParOf" srcId="{4FDCFFF7-DA5B-4D29-A54E-10BB4A981E2C}" destId="{CBEA60FF-C53B-4A3F-B99D-A151A88E59F7}" srcOrd="8" destOrd="0" presId="urn:microsoft.com/office/officeart/2005/8/layout/chevron1"/>
    <dgm:cxn modelId="{E3F14259-5A19-4364-9A74-F38584D2AAC8}" type="presParOf" srcId="{4FDCFFF7-DA5B-4D29-A54E-10BB4A981E2C}" destId="{CA2D9F79-23A8-4AE8-A792-1155E02BDA67}" srcOrd="9" destOrd="0" presId="urn:microsoft.com/office/officeart/2005/8/layout/chevron1"/>
    <dgm:cxn modelId="{CEBF837D-AE5B-4AB0-AF94-33A24AF41170}" type="presParOf" srcId="{4FDCFFF7-DA5B-4D29-A54E-10BB4A981E2C}" destId="{F732AB74-57BC-440E-B6CA-6D3F8F40FA6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2_3" csCatId="accent2" phldr="1"/>
      <dgm:spPr/>
    </dgm:pt>
    <dgm:pt modelId="{E4E9CB49-C2DF-497C-AA56-F10E86443752}">
      <dgm:prSet phldrT="[Text]"/>
      <dgm:spPr/>
      <dgm:t>
        <a:bodyPr/>
        <a:lstStyle/>
        <a:p>
          <a:r>
            <a:rPr lang="en-US" b="1">
              <a:solidFill>
                <a:schemeClr val="bg1">
                  <a:lumMod val="95000"/>
                  <a:lumOff val="5000"/>
                </a:schemeClr>
              </a:solidFill>
            </a:rPr>
            <a:t>Eclipse / Jira</a:t>
          </a:r>
        </a:p>
      </dgm:t>
    </dgm:pt>
    <dgm:pt modelId="{D4AC19C6-103C-44C7-909D-C995B6333D7B}" type="parTrans" cxnId="{54BC1FD4-81C9-4105-ADB3-77D860E1FF9C}">
      <dgm:prSet/>
      <dgm:spPr/>
      <dgm:t>
        <a:bodyPr/>
        <a:lstStyle/>
        <a:p>
          <a:endParaRPr lang="en-US" b="1">
            <a:solidFill>
              <a:schemeClr val="bg1">
                <a:lumMod val="95000"/>
                <a:lumOff val="5000"/>
              </a:schemeClr>
            </a:solidFill>
          </a:endParaRPr>
        </a:p>
      </dgm:t>
    </dgm:pt>
    <dgm:pt modelId="{D73F2F87-EB23-4F19-9B2C-C66ECFDF60BC}" type="sibTrans" cxnId="{54BC1FD4-81C9-4105-ADB3-77D860E1FF9C}">
      <dgm:prSet/>
      <dgm:spPr/>
      <dgm:t>
        <a:bodyPr/>
        <a:lstStyle/>
        <a:p>
          <a:endParaRPr lang="en-US" b="1">
            <a:solidFill>
              <a:schemeClr val="bg1">
                <a:lumMod val="95000"/>
                <a:lumOff val="5000"/>
              </a:schemeClr>
            </a:solidFill>
          </a:endParaRPr>
        </a:p>
      </dgm:t>
    </dgm:pt>
    <dgm:pt modelId="{669637F3-1060-4694-B4ED-C31ACAD1824E}">
      <dgm:prSet phldrT="[Text]"/>
      <dgm:spPr/>
      <dgm:t>
        <a:bodyPr/>
        <a:lstStyle/>
        <a:p>
          <a:r>
            <a:rPr lang="en-US" b="1">
              <a:solidFill>
                <a:schemeClr val="bg1">
                  <a:lumMod val="95000"/>
                  <a:lumOff val="5000"/>
                </a:schemeClr>
              </a:solidFill>
            </a:rPr>
            <a:t>Git / Github</a:t>
          </a:r>
        </a:p>
      </dgm:t>
    </dgm:pt>
    <dgm:pt modelId="{13EAD364-1028-42C1-8B0A-7711838262E2}" type="parTrans" cxnId="{5466C4BE-90E2-4DFD-809B-27F1C5B47688}">
      <dgm:prSet/>
      <dgm:spPr/>
      <dgm:t>
        <a:bodyPr/>
        <a:lstStyle/>
        <a:p>
          <a:endParaRPr lang="en-US" b="1">
            <a:solidFill>
              <a:schemeClr val="bg1">
                <a:lumMod val="95000"/>
                <a:lumOff val="5000"/>
              </a:schemeClr>
            </a:solidFill>
          </a:endParaRPr>
        </a:p>
      </dgm:t>
    </dgm:pt>
    <dgm:pt modelId="{EBE37D02-F985-4D50-9C7C-B002D3556CE0}" type="sibTrans" cxnId="{5466C4BE-90E2-4DFD-809B-27F1C5B47688}">
      <dgm:prSet/>
      <dgm:spPr/>
      <dgm:t>
        <a:bodyPr/>
        <a:lstStyle/>
        <a:p>
          <a:endParaRPr lang="en-US" b="1">
            <a:solidFill>
              <a:schemeClr val="bg1">
                <a:lumMod val="95000"/>
                <a:lumOff val="5000"/>
              </a:schemeClr>
            </a:solidFill>
          </a:endParaRPr>
        </a:p>
      </dgm:t>
    </dgm:pt>
    <dgm:pt modelId="{756DFAA3-7F55-4F9F-87A3-0573C5728913}">
      <dgm:prSet phldrT="[Text]"/>
      <dgm:spPr/>
      <dgm:t>
        <a:bodyPr/>
        <a:lstStyle/>
        <a:p>
          <a:r>
            <a:rPr lang="en-US" b="1">
              <a:solidFill>
                <a:schemeClr val="bg1">
                  <a:lumMod val="95000"/>
                  <a:lumOff val="5000"/>
                </a:schemeClr>
              </a:solidFill>
            </a:rPr>
            <a:t>Jenkins</a:t>
          </a:r>
        </a:p>
      </dgm:t>
    </dgm:pt>
    <dgm:pt modelId="{8ABF804A-1B38-4814-99BE-49215B153881}" type="parTrans" cxnId="{6F87FFD9-1CEC-4C1B-8DD2-C2B65D2371D9}">
      <dgm:prSet/>
      <dgm:spPr/>
      <dgm:t>
        <a:bodyPr/>
        <a:lstStyle/>
        <a:p>
          <a:endParaRPr lang="en-US" b="1">
            <a:solidFill>
              <a:schemeClr val="bg1">
                <a:lumMod val="95000"/>
                <a:lumOff val="5000"/>
              </a:schemeClr>
            </a:solidFill>
          </a:endParaRPr>
        </a:p>
      </dgm:t>
    </dgm:pt>
    <dgm:pt modelId="{9D277C6D-4842-413B-8C8E-F6EDB6950805}" type="sibTrans" cxnId="{6F87FFD9-1CEC-4C1B-8DD2-C2B65D2371D9}">
      <dgm:prSet/>
      <dgm:spPr/>
      <dgm:t>
        <a:bodyPr/>
        <a:lstStyle/>
        <a:p>
          <a:endParaRPr lang="en-US" b="1">
            <a:solidFill>
              <a:schemeClr val="bg1">
                <a:lumMod val="95000"/>
                <a:lumOff val="5000"/>
              </a:schemeClr>
            </a:solidFill>
          </a:endParaRPr>
        </a:p>
      </dgm:t>
    </dgm:pt>
    <dgm:pt modelId="{C7F0E38C-9471-484B-ABE1-376C4884A1D8}">
      <dgm:prSet phldrT="[Text]"/>
      <dgm:spPr/>
      <dgm:t>
        <a:bodyPr/>
        <a:lstStyle/>
        <a:p>
          <a:r>
            <a:rPr lang="en-US" b="1">
              <a:solidFill>
                <a:schemeClr val="bg1">
                  <a:lumMod val="95000"/>
                  <a:lumOff val="5000"/>
                </a:schemeClr>
              </a:solidFill>
            </a:rPr>
            <a:t>Chef / Puppet</a:t>
          </a:r>
        </a:p>
      </dgm:t>
    </dgm:pt>
    <dgm:pt modelId="{D8E2242D-9D0D-4AA0-84C8-3047ACB65408}" type="parTrans" cxnId="{5DEB73BA-30B1-4574-8717-3BBC2965632A}">
      <dgm:prSet/>
      <dgm:spPr/>
      <dgm:t>
        <a:bodyPr/>
        <a:lstStyle/>
        <a:p>
          <a:endParaRPr lang="en-US" b="1">
            <a:solidFill>
              <a:schemeClr val="bg1">
                <a:lumMod val="95000"/>
                <a:lumOff val="5000"/>
              </a:schemeClr>
            </a:solidFill>
          </a:endParaRPr>
        </a:p>
      </dgm:t>
    </dgm:pt>
    <dgm:pt modelId="{E7AD8F9B-57CB-4BD8-B738-F86C978D5F75}" type="sibTrans" cxnId="{5DEB73BA-30B1-4574-8717-3BBC2965632A}">
      <dgm:prSet/>
      <dgm:spPr/>
      <dgm:t>
        <a:bodyPr/>
        <a:lstStyle/>
        <a:p>
          <a:endParaRPr lang="en-US" b="1">
            <a:solidFill>
              <a:schemeClr val="bg1">
                <a:lumMod val="95000"/>
                <a:lumOff val="5000"/>
              </a:schemeClr>
            </a:solidFill>
          </a:endParaRPr>
        </a:p>
      </dgm:t>
    </dgm:pt>
    <dgm:pt modelId="{7C17DA90-3BE6-4D20-9F72-2DB7F4355B81}">
      <dgm:prSet phldrT="[Text]"/>
      <dgm:spPr/>
      <dgm:t>
        <a:bodyPr/>
        <a:lstStyle/>
        <a:p>
          <a:r>
            <a:rPr lang="en-US" b="1">
              <a:solidFill>
                <a:schemeClr val="bg1">
                  <a:lumMod val="95000"/>
                  <a:lumOff val="5000"/>
                </a:schemeClr>
              </a:solidFill>
            </a:rPr>
            <a:t>AWS</a:t>
          </a:r>
        </a:p>
      </dgm:t>
    </dgm:pt>
    <dgm:pt modelId="{2FCD717A-ADFC-446C-8B56-C6B4ADB50CC7}" type="parTrans" cxnId="{ADDD5C80-7F5A-41EB-A0E4-1C999B521E08}">
      <dgm:prSet/>
      <dgm:spPr/>
      <dgm:t>
        <a:bodyPr/>
        <a:lstStyle/>
        <a:p>
          <a:endParaRPr lang="en-US" b="1">
            <a:solidFill>
              <a:schemeClr val="bg1">
                <a:lumMod val="95000"/>
                <a:lumOff val="5000"/>
              </a:schemeClr>
            </a:solidFill>
          </a:endParaRPr>
        </a:p>
      </dgm:t>
    </dgm:pt>
    <dgm:pt modelId="{D622789C-0BF8-4220-8183-1F8C6AE119E0}" type="sibTrans" cxnId="{ADDD5C80-7F5A-41EB-A0E4-1C999B521E08}">
      <dgm:prSet/>
      <dgm:spPr/>
      <dgm:t>
        <a:bodyPr/>
        <a:lstStyle/>
        <a:p>
          <a:endParaRPr lang="en-US" b="1">
            <a:solidFill>
              <a:schemeClr val="bg1">
                <a:lumMod val="95000"/>
                <a:lumOff val="5000"/>
              </a:schemeClr>
            </a:solidFill>
          </a:endParaRPr>
        </a:p>
      </dgm:t>
    </dgm:pt>
    <dgm:pt modelId="{A707B68F-D48B-46BB-A7EE-F4FE987D598A}">
      <dgm:prSet phldrT="[Text]"/>
      <dgm:spPr/>
      <dgm:t>
        <a:bodyPr/>
        <a:lstStyle/>
        <a:p>
          <a:r>
            <a:rPr lang="en-US" b="1">
              <a:solidFill>
                <a:schemeClr val="bg1">
                  <a:lumMod val="95000"/>
                  <a:lumOff val="5000"/>
                </a:schemeClr>
              </a:solidFill>
            </a:rPr>
            <a:t>Linux Java/Node</a:t>
          </a:r>
        </a:p>
      </dgm:t>
    </dgm:pt>
    <dgm:pt modelId="{F1E66BA7-798B-4C04-941E-7347AF82B666}" type="parTrans" cxnId="{DFA61FB1-6C84-4C92-8F90-C86910BF3187}">
      <dgm:prSet/>
      <dgm:spPr/>
      <dgm:t>
        <a:bodyPr/>
        <a:lstStyle/>
        <a:p>
          <a:endParaRPr lang="en-US" b="1">
            <a:solidFill>
              <a:schemeClr val="bg1">
                <a:lumMod val="95000"/>
                <a:lumOff val="5000"/>
              </a:schemeClr>
            </a:solidFill>
          </a:endParaRPr>
        </a:p>
      </dgm:t>
    </dgm:pt>
    <dgm:pt modelId="{5A39B938-2B36-4954-A837-5B36CA6A57E7}" type="sibTrans" cxnId="{DFA61FB1-6C84-4C92-8F90-C86910BF3187}">
      <dgm:prSet/>
      <dgm:spPr/>
      <dgm:t>
        <a:bodyPr/>
        <a:lstStyle/>
        <a:p>
          <a:endParaRPr lang="en-US" b="1">
            <a:solidFill>
              <a:schemeClr val="bg1">
                <a:lumMod val="95000"/>
                <a:lumOff val="5000"/>
              </a:schemeClr>
            </a:solidFill>
          </a:endParaRPr>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135D8788-8C83-45CD-BE78-15E6F0BBEDC3}" type="pres">
      <dgm:prSet presAssocID="{669637F3-1060-4694-B4ED-C31ACAD1824E}" presName="parTxOnly" presStyleLbl="node1" presStyleIdx="1" presStyleCnt="6">
        <dgm:presLayoutVars>
          <dgm:chMax val="0"/>
          <dgm:chPref val="0"/>
          <dgm:bulletEnabled val="1"/>
        </dgm:presLayoutVars>
      </dgm:prSet>
      <dgm:spPr/>
    </dgm:pt>
    <dgm:pt modelId="{71F6F31B-7560-41F8-BCD1-34F03FB57D9E}" type="pres">
      <dgm:prSet presAssocID="{EBE37D02-F985-4D50-9C7C-B002D3556CE0}" presName="parTxOnlySpace" presStyleCnt="0"/>
      <dgm:spPr/>
    </dgm:pt>
    <dgm:pt modelId="{76138B72-4ABC-42DE-B34A-7F2ECDEC7FB8}" type="pres">
      <dgm:prSet presAssocID="{756DFAA3-7F55-4F9F-87A3-0573C5728913}" presName="parTxOnly" presStyleLbl="node1" presStyleIdx="2" presStyleCnt="6">
        <dgm:presLayoutVars>
          <dgm:chMax val="0"/>
          <dgm:chPref val="0"/>
          <dgm:bulletEnabled val="1"/>
        </dgm:presLayoutVars>
      </dgm:prSet>
      <dgm:spPr/>
    </dgm:pt>
    <dgm:pt modelId="{A051D825-3B0C-49EB-AF2D-FEDE1B9174E0}" type="pres">
      <dgm:prSet presAssocID="{9D277C6D-4842-413B-8C8E-F6EDB6950805}" presName="parTxOnlySpace" presStyleCnt="0"/>
      <dgm:spPr/>
    </dgm:pt>
    <dgm:pt modelId="{36323BFE-BCE8-4CE7-9894-CF841DD2C721}" type="pres">
      <dgm:prSet presAssocID="{C7F0E38C-9471-484B-ABE1-376C4884A1D8}" presName="parTxOnly" presStyleLbl="node1" presStyleIdx="3" presStyleCnt="6">
        <dgm:presLayoutVars>
          <dgm:chMax val="0"/>
          <dgm:chPref val="0"/>
          <dgm:bulletEnabled val="1"/>
        </dgm:presLayoutVars>
      </dgm:prSet>
      <dgm:spPr/>
    </dgm:pt>
    <dgm:pt modelId="{8378B4AB-EAAD-4A1A-9D9F-E84D70FE6239}" type="pres">
      <dgm:prSet presAssocID="{E7AD8F9B-57CB-4BD8-B738-F86C978D5F75}" presName="parTxOnlySpace" presStyleCnt="0"/>
      <dgm:spPr/>
    </dgm:pt>
    <dgm:pt modelId="{EA910D9F-AF87-4B57-9ABD-3E90AC52B2AA}" type="pres">
      <dgm:prSet presAssocID="{7C17DA90-3BE6-4D20-9F72-2DB7F4355B81}" presName="parTxOnly" presStyleLbl="node1" presStyleIdx="4" presStyleCnt="6">
        <dgm:presLayoutVars>
          <dgm:chMax val="0"/>
          <dgm:chPref val="0"/>
          <dgm:bulletEnabled val="1"/>
        </dgm:presLayoutVars>
      </dgm:prSet>
      <dgm:spPr/>
    </dgm:pt>
    <dgm:pt modelId="{666D1E3D-91AE-4A82-9209-C5AF77402EC5}" type="pres">
      <dgm:prSet presAssocID="{D622789C-0BF8-4220-8183-1F8C6AE119E0}" presName="parTxOnlySpace" presStyleCnt="0"/>
      <dgm:spPr/>
    </dgm:pt>
    <dgm:pt modelId="{C7E484C5-4628-4E69-A8D7-220642FEFD3D}" type="pres">
      <dgm:prSet presAssocID="{A707B68F-D48B-46BB-A7EE-F4FE987D598A}" presName="parTxOnly" presStyleLbl="node1" presStyleIdx="5" presStyleCnt="6">
        <dgm:presLayoutVars>
          <dgm:chMax val="0"/>
          <dgm:chPref val="0"/>
          <dgm:bulletEnabled val="1"/>
        </dgm:presLayoutVars>
      </dgm:prSet>
      <dgm:spPr/>
    </dgm:pt>
  </dgm:ptLst>
  <dgm:cxnLst>
    <dgm:cxn modelId="{9340A227-1E93-41BF-9125-4599C1F871F6}" type="presOf" srcId="{A707B68F-D48B-46BB-A7EE-F4FE987D598A}" destId="{C7E484C5-4628-4E69-A8D7-220642FEFD3D}" srcOrd="0" destOrd="0" presId="urn:microsoft.com/office/officeart/2005/8/layout/chevron1"/>
    <dgm:cxn modelId="{F909A764-13B5-43F8-BDA5-0A51D2AA4571}" type="presOf" srcId="{C7F0E38C-9471-484B-ABE1-376C4884A1D8}" destId="{36323BFE-BCE8-4CE7-9894-CF841DD2C721}" srcOrd="0" destOrd="0" presId="urn:microsoft.com/office/officeart/2005/8/layout/chevron1"/>
    <dgm:cxn modelId="{A17F886E-510B-4106-A2E1-AE21E539006F}" type="presOf" srcId="{669637F3-1060-4694-B4ED-C31ACAD1824E}" destId="{135D8788-8C83-45CD-BE78-15E6F0BBEDC3}" srcOrd="0" destOrd="0" presId="urn:microsoft.com/office/officeart/2005/8/layout/chevron1"/>
    <dgm:cxn modelId="{ADDD5C80-7F5A-41EB-A0E4-1C999B521E08}" srcId="{932804A8-394E-4F0E-9DEC-8106DF0C55E2}" destId="{7C17DA90-3BE6-4D20-9F72-2DB7F4355B81}" srcOrd="4" destOrd="0" parTransId="{2FCD717A-ADFC-446C-8B56-C6B4ADB50CC7}" sibTransId="{D622789C-0BF8-4220-8183-1F8C6AE119E0}"/>
    <dgm:cxn modelId="{DFA61FB1-6C84-4C92-8F90-C86910BF3187}" srcId="{932804A8-394E-4F0E-9DEC-8106DF0C55E2}" destId="{A707B68F-D48B-46BB-A7EE-F4FE987D598A}" srcOrd="5" destOrd="0" parTransId="{F1E66BA7-798B-4C04-941E-7347AF82B666}" sibTransId="{5A39B938-2B36-4954-A837-5B36CA6A57E7}"/>
    <dgm:cxn modelId="{C74523B7-A1FC-4D57-B687-6FC59E1CA28D}" type="presOf" srcId="{756DFAA3-7F55-4F9F-87A3-0573C5728913}" destId="{76138B72-4ABC-42DE-B34A-7F2ECDEC7FB8}" srcOrd="0" destOrd="0" presId="urn:microsoft.com/office/officeart/2005/8/layout/chevron1"/>
    <dgm:cxn modelId="{5DEB73BA-30B1-4574-8717-3BBC2965632A}" srcId="{932804A8-394E-4F0E-9DEC-8106DF0C55E2}" destId="{C7F0E38C-9471-484B-ABE1-376C4884A1D8}" srcOrd="3" destOrd="0" parTransId="{D8E2242D-9D0D-4AA0-84C8-3047ACB65408}" sibTransId="{E7AD8F9B-57CB-4BD8-B738-F86C978D5F75}"/>
    <dgm:cxn modelId="{5466C4BE-90E2-4DFD-809B-27F1C5B47688}" srcId="{932804A8-394E-4F0E-9DEC-8106DF0C55E2}" destId="{669637F3-1060-4694-B4ED-C31ACAD1824E}" srcOrd="1" destOrd="0" parTransId="{13EAD364-1028-42C1-8B0A-7711838262E2}" sibTransId="{EBE37D02-F985-4D50-9C7C-B002D3556CE0}"/>
    <dgm:cxn modelId="{7FD29FC2-3F29-489B-90FB-15E0B7FA9740}" type="presOf" srcId="{E4E9CB49-C2DF-497C-AA56-F10E86443752}" destId="{B2A14F9A-CFB3-4554-82D9-086AF6252A7F}" srcOrd="0" destOrd="0" presId="urn:microsoft.com/office/officeart/2005/8/layout/chevron1"/>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6F87FFD9-1CEC-4C1B-8DD2-C2B65D2371D9}" srcId="{932804A8-394E-4F0E-9DEC-8106DF0C55E2}" destId="{756DFAA3-7F55-4F9F-87A3-0573C5728913}" srcOrd="2" destOrd="0" parTransId="{8ABF804A-1B38-4814-99BE-49215B153881}" sibTransId="{9D277C6D-4842-413B-8C8E-F6EDB6950805}"/>
    <dgm:cxn modelId="{9823F3DE-E906-4752-9BA0-62CCEB3069DA}" type="presOf" srcId="{7C17DA90-3BE6-4D20-9F72-2DB7F4355B81}" destId="{EA910D9F-AF87-4B57-9ABD-3E90AC52B2AA}" srcOrd="0" destOrd="0" presId="urn:microsoft.com/office/officeart/2005/8/layout/chevron1"/>
    <dgm:cxn modelId="{7E5D5A34-E9AE-4C5B-8F52-64C261A5C82E}" type="presParOf" srcId="{4FDCFFF7-DA5B-4D29-A54E-10BB4A981E2C}" destId="{B2A14F9A-CFB3-4554-82D9-086AF6252A7F}" srcOrd="0" destOrd="0" presId="urn:microsoft.com/office/officeart/2005/8/layout/chevron1"/>
    <dgm:cxn modelId="{65DE15DF-2101-4531-B7AC-70EE4AAD0F49}" type="presParOf" srcId="{4FDCFFF7-DA5B-4D29-A54E-10BB4A981E2C}" destId="{4610CD7D-114B-471E-BD79-3DF535AEAEC1}" srcOrd="1" destOrd="0" presId="urn:microsoft.com/office/officeart/2005/8/layout/chevron1"/>
    <dgm:cxn modelId="{DC1EE687-39A7-42C2-AF18-77A49B43D6C6}" type="presParOf" srcId="{4FDCFFF7-DA5B-4D29-A54E-10BB4A981E2C}" destId="{135D8788-8C83-45CD-BE78-15E6F0BBEDC3}" srcOrd="2" destOrd="0" presId="urn:microsoft.com/office/officeart/2005/8/layout/chevron1"/>
    <dgm:cxn modelId="{C4180315-2538-4EAE-8360-2134FF2AC8BD}" type="presParOf" srcId="{4FDCFFF7-DA5B-4D29-A54E-10BB4A981E2C}" destId="{71F6F31B-7560-41F8-BCD1-34F03FB57D9E}" srcOrd="3" destOrd="0" presId="urn:microsoft.com/office/officeart/2005/8/layout/chevron1"/>
    <dgm:cxn modelId="{B4EADA09-9F69-471B-902E-B41498ADE68E}" type="presParOf" srcId="{4FDCFFF7-DA5B-4D29-A54E-10BB4A981E2C}" destId="{76138B72-4ABC-42DE-B34A-7F2ECDEC7FB8}" srcOrd="4" destOrd="0" presId="urn:microsoft.com/office/officeart/2005/8/layout/chevron1"/>
    <dgm:cxn modelId="{AC918464-969F-4BC9-9D3C-18EF7D113462}" type="presParOf" srcId="{4FDCFFF7-DA5B-4D29-A54E-10BB4A981E2C}" destId="{A051D825-3B0C-49EB-AF2D-FEDE1B9174E0}" srcOrd="5" destOrd="0" presId="urn:microsoft.com/office/officeart/2005/8/layout/chevron1"/>
    <dgm:cxn modelId="{2F4BF624-2EC0-4B55-B76B-3AE1E01033B2}" type="presParOf" srcId="{4FDCFFF7-DA5B-4D29-A54E-10BB4A981E2C}" destId="{36323BFE-BCE8-4CE7-9894-CF841DD2C721}" srcOrd="6" destOrd="0" presId="urn:microsoft.com/office/officeart/2005/8/layout/chevron1"/>
    <dgm:cxn modelId="{98459186-DDBD-4F29-89E7-6D02A77C6368}" type="presParOf" srcId="{4FDCFFF7-DA5B-4D29-A54E-10BB4A981E2C}" destId="{8378B4AB-EAAD-4A1A-9D9F-E84D70FE6239}" srcOrd="7" destOrd="0" presId="urn:microsoft.com/office/officeart/2005/8/layout/chevron1"/>
    <dgm:cxn modelId="{49704B06-5E1D-43EE-A5EB-0BAE75675BD2}" type="presParOf" srcId="{4FDCFFF7-DA5B-4D29-A54E-10BB4A981E2C}" destId="{EA910D9F-AF87-4B57-9ABD-3E90AC52B2AA}" srcOrd="8" destOrd="0" presId="urn:microsoft.com/office/officeart/2005/8/layout/chevron1"/>
    <dgm:cxn modelId="{00A87B90-B2F1-4C14-A5DA-DB8AEAD388CF}" type="presParOf" srcId="{4FDCFFF7-DA5B-4D29-A54E-10BB4A981E2C}" destId="{666D1E3D-91AE-4A82-9209-C5AF77402EC5}" srcOrd="9" destOrd="0" presId="urn:microsoft.com/office/officeart/2005/8/layout/chevron1"/>
    <dgm:cxn modelId="{ED346F0E-3275-444D-876D-F713DDBC667C}" type="presParOf" srcId="{4FDCFFF7-DA5B-4D29-A54E-10BB4A981E2C}" destId="{C7E484C5-4628-4E69-A8D7-220642FEFD3D}" srcOrd="1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4_5" csCatId="accent4" phldr="1"/>
      <dgm:spPr/>
      <dgm:t>
        <a:bodyPr/>
        <a:lstStyle/>
        <a:p>
          <a:endParaRPr lang="en-US"/>
        </a:p>
      </dgm:t>
    </dgm:pt>
    <dgm:pt modelId="{E4E9CB49-C2DF-497C-AA56-F10E86443752}">
      <dgm:prSet phldrT="[Text]" custT="1"/>
      <dgm:spPr/>
      <dgm:t>
        <a:bodyPr/>
        <a:lstStyle/>
        <a:p>
          <a:r>
            <a:rPr lang="en-US" sz="2000" b="1"/>
            <a:t>Visual Studio</a:t>
          </a:r>
        </a:p>
      </dgm:t>
    </dgm:pt>
    <dgm:pt modelId="{D4AC19C6-103C-44C7-909D-C995B6333D7B}" type="parTrans" cxnId="{54BC1FD4-81C9-4105-ADB3-77D860E1FF9C}">
      <dgm:prSet/>
      <dgm:spPr/>
      <dgm:t>
        <a:bodyPr/>
        <a:lstStyle/>
        <a:p>
          <a:endParaRPr lang="en-US" b="1">
            <a:solidFill>
              <a:schemeClr val="bg1">
                <a:lumMod val="85000"/>
                <a:lumOff val="15000"/>
              </a:schemeClr>
            </a:solidFill>
          </a:endParaRPr>
        </a:p>
      </dgm:t>
    </dgm:pt>
    <dgm:pt modelId="{D73F2F87-EB23-4F19-9B2C-C66ECFDF60BC}" type="sibTrans" cxnId="{54BC1FD4-81C9-4105-ADB3-77D860E1FF9C}">
      <dgm:prSet/>
      <dgm:spPr/>
      <dgm:t>
        <a:bodyPr/>
        <a:lstStyle/>
        <a:p>
          <a:endParaRPr lang="en-US" b="1">
            <a:solidFill>
              <a:schemeClr val="bg1">
                <a:lumMod val="85000"/>
                <a:lumOff val="15000"/>
              </a:schemeClr>
            </a:solidFill>
          </a:endParaRPr>
        </a:p>
      </dgm:t>
    </dgm:pt>
    <dgm:pt modelId="{54DDCBD6-C286-4BDB-91AC-30064778675A}">
      <dgm:prSet phldrT="[Text]" custT="1"/>
      <dgm:spPr/>
      <dgm:t>
        <a:bodyPr/>
        <a:lstStyle/>
        <a:p>
          <a:r>
            <a:rPr lang="en-US" sz="1800" b="1"/>
            <a:t>VS Team Services</a:t>
          </a:r>
        </a:p>
      </dgm:t>
    </dgm:pt>
    <dgm:pt modelId="{118070A3-BCF3-46B6-887E-FB1EDF937765}" type="parTrans" cxnId="{242439D9-E310-4E43-8EF7-9B5409731168}">
      <dgm:prSet/>
      <dgm:spPr/>
      <dgm:t>
        <a:bodyPr/>
        <a:lstStyle/>
        <a:p>
          <a:endParaRPr lang="en-US" b="1">
            <a:solidFill>
              <a:schemeClr val="bg1">
                <a:lumMod val="85000"/>
                <a:lumOff val="15000"/>
              </a:schemeClr>
            </a:solidFill>
          </a:endParaRPr>
        </a:p>
      </dgm:t>
    </dgm:pt>
    <dgm:pt modelId="{C42ED0F8-29C3-450E-8718-DF63F15DEEF7}" type="sibTrans" cxnId="{242439D9-E310-4E43-8EF7-9B5409731168}">
      <dgm:prSet/>
      <dgm:spPr/>
      <dgm:t>
        <a:bodyPr/>
        <a:lstStyle/>
        <a:p>
          <a:endParaRPr lang="en-US" b="1">
            <a:solidFill>
              <a:schemeClr val="bg1">
                <a:lumMod val="85000"/>
                <a:lumOff val="15000"/>
              </a:schemeClr>
            </a:solidFill>
          </a:endParaRPr>
        </a:p>
      </dgm:t>
    </dgm:pt>
    <dgm:pt modelId="{29E7F638-D2CF-427C-9C1E-1AE0F8DE80BB}">
      <dgm:prSet phldrT="[Text]"/>
      <dgm:spPr/>
      <dgm:t>
        <a:bodyPr/>
        <a:lstStyle/>
        <a:p>
          <a:r>
            <a:rPr lang="en-US" b="1"/>
            <a:t>Azure Resource Manager</a:t>
          </a:r>
        </a:p>
      </dgm:t>
    </dgm:pt>
    <dgm:pt modelId="{1AC9B606-AD9F-4174-A04A-C3CDB1DE7689}" type="parTrans" cxnId="{0E79B6C3-A10B-407A-A61C-70E211DA0EC5}">
      <dgm:prSet/>
      <dgm:spPr/>
      <dgm:t>
        <a:bodyPr/>
        <a:lstStyle/>
        <a:p>
          <a:endParaRPr lang="en-US" b="1">
            <a:solidFill>
              <a:schemeClr val="bg1">
                <a:lumMod val="85000"/>
                <a:lumOff val="15000"/>
              </a:schemeClr>
            </a:solidFill>
          </a:endParaRPr>
        </a:p>
      </dgm:t>
    </dgm:pt>
    <dgm:pt modelId="{CC862B9B-DD65-4F0C-8B73-77CF694B8E72}" type="sibTrans" cxnId="{0E79B6C3-A10B-407A-A61C-70E211DA0EC5}">
      <dgm:prSet/>
      <dgm:spPr/>
      <dgm:t>
        <a:bodyPr/>
        <a:lstStyle/>
        <a:p>
          <a:endParaRPr lang="en-US" b="1">
            <a:solidFill>
              <a:schemeClr val="bg1">
                <a:lumMod val="85000"/>
                <a:lumOff val="15000"/>
              </a:schemeClr>
            </a:solidFill>
          </a:endParaRPr>
        </a:p>
      </dgm:t>
    </dgm:pt>
    <dgm:pt modelId="{EC2EE2E9-2BE6-4A40-ADEF-705545320FFB}">
      <dgm:prSet phldrT="[Text]" custT="1"/>
      <dgm:spPr/>
      <dgm:t>
        <a:bodyPr/>
        <a:lstStyle/>
        <a:p>
          <a:r>
            <a:rPr lang="en-US" sz="2800" b="1"/>
            <a:t>Azure</a:t>
          </a:r>
        </a:p>
      </dgm:t>
    </dgm:pt>
    <dgm:pt modelId="{E68D5648-B06C-4BC7-9289-EF98014A511F}" type="parTrans" cxnId="{9F7FA73D-426F-4A67-B38E-BFC3EF01B68A}">
      <dgm:prSet/>
      <dgm:spPr/>
      <dgm:t>
        <a:bodyPr/>
        <a:lstStyle/>
        <a:p>
          <a:endParaRPr lang="en-US" b="1"/>
        </a:p>
      </dgm:t>
    </dgm:pt>
    <dgm:pt modelId="{80365D3A-925E-4E5E-8202-17466288A8C7}" type="sibTrans" cxnId="{9F7FA73D-426F-4A67-B38E-BFC3EF01B68A}">
      <dgm:prSet/>
      <dgm:spPr/>
      <dgm:t>
        <a:bodyPr/>
        <a:lstStyle/>
        <a:p>
          <a:endParaRPr lang="en-US" b="1"/>
        </a:p>
      </dgm:t>
    </dgm:pt>
    <dgm:pt modelId="{5B15A3CB-3761-4851-A240-58274AE1AEA7}">
      <dgm:prSet phldrT="[Text]"/>
      <dgm:spPr/>
      <dgm:t>
        <a:bodyPr/>
        <a:lstStyle/>
        <a:p>
          <a:r>
            <a:rPr lang="en-US" b="1"/>
            <a:t>Windows /</a:t>
          </a:r>
        </a:p>
        <a:p>
          <a:r>
            <a:rPr lang="en-US" b="1"/>
            <a:t>.NET</a:t>
          </a:r>
        </a:p>
      </dgm:t>
    </dgm:pt>
    <dgm:pt modelId="{CCBDC6D3-81A0-413F-A46B-AB220146E12F}" type="parTrans" cxnId="{618D516B-DDF3-4278-96D6-AAE7A294427D}">
      <dgm:prSet/>
      <dgm:spPr/>
      <dgm:t>
        <a:bodyPr/>
        <a:lstStyle/>
        <a:p>
          <a:endParaRPr lang="en-US" b="1"/>
        </a:p>
      </dgm:t>
    </dgm:pt>
    <dgm:pt modelId="{4BDB9EF7-7E0F-4CC9-ABAD-8095DDF395B5}" type="sibTrans" cxnId="{618D516B-DDF3-4278-96D6-AAE7A294427D}">
      <dgm:prSet/>
      <dgm:spPr/>
      <dgm:t>
        <a:bodyPr/>
        <a:lstStyle/>
        <a:p>
          <a:endParaRPr lang="en-US" b="1"/>
        </a:p>
      </dgm:t>
    </dgm:pt>
    <dgm:pt modelId="{4432BF36-46CD-49C4-92B8-B55547304111}">
      <dgm:prSet phldrT="[Text]" custT="1"/>
      <dgm:spPr/>
      <dgm:t>
        <a:bodyPr lIns="0" rIns="0"/>
        <a:lstStyle/>
        <a:p>
          <a:r>
            <a:rPr lang="en-US" sz="1300" b="1"/>
            <a:t>Team Foundation Version Control</a:t>
          </a:r>
        </a:p>
      </dgm:t>
    </dgm:pt>
    <dgm:pt modelId="{4E097399-3FDB-417B-86F0-9FF11B3E37FA}" type="parTrans" cxnId="{9B829058-7436-4193-BA3A-7D7C514B31FA}">
      <dgm:prSet/>
      <dgm:spPr/>
      <dgm:t>
        <a:bodyPr/>
        <a:lstStyle/>
        <a:p>
          <a:endParaRPr lang="en-US" b="1"/>
        </a:p>
      </dgm:t>
    </dgm:pt>
    <dgm:pt modelId="{05741738-1B1C-49D1-BAA7-029CCA2835C4}" type="sibTrans" cxnId="{9B829058-7436-4193-BA3A-7D7C514B31FA}">
      <dgm:prSet/>
      <dgm:spPr/>
      <dgm:t>
        <a:bodyPr/>
        <a:lstStyle/>
        <a:p>
          <a:endParaRPr lang="en-US" b="1"/>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2C588BCE-CC18-4967-8702-B993E5636824}" type="pres">
      <dgm:prSet presAssocID="{4432BF36-46CD-49C4-92B8-B55547304111}" presName="parTxOnly" presStyleLbl="node1" presStyleIdx="1" presStyleCnt="6">
        <dgm:presLayoutVars>
          <dgm:chMax val="0"/>
          <dgm:chPref val="0"/>
          <dgm:bulletEnabled val="1"/>
        </dgm:presLayoutVars>
      </dgm:prSet>
      <dgm:spPr/>
    </dgm:pt>
    <dgm:pt modelId="{D19FE054-662A-4364-8825-6BAB4A4F5BA3}" type="pres">
      <dgm:prSet presAssocID="{05741738-1B1C-49D1-BAA7-029CCA2835C4}" presName="parTxOnlySpace" presStyleCnt="0"/>
      <dgm:spPr/>
    </dgm:pt>
    <dgm:pt modelId="{B4831151-7A6C-4D1F-B71A-8C517E60ED6D}" type="pres">
      <dgm:prSet presAssocID="{54DDCBD6-C286-4BDB-91AC-30064778675A}" presName="parTxOnly" presStyleLbl="node1" presStyleIdx="2" presStyleCnt="6">
        <dgm:presLayoutVars>
          <dgm:chMax val="0"/>
          <dgm:chPref val="0"/>
          <dgm:bulletEnabled val="1"/>
        </dgm:presLayoutVars>
      </dgm:prSet>
      <dgm:spPr/>
    </dgm:pt>
    <dgm:pt modelId="{9EF5990B-7707-4BCD-8988-2EEDD5F1F347}" type="pres">
      <dgm:prSet presAssocID="{C42ED0F8-29C3-450E-8718-DF63F15DEEF7}" presName="parTxOnlySpace" presStyleCnt="0"/>
      <dgm:spPr/>
    </dgm:pt>
    <dgm:pt modelId="{88C299BB-0E1B-4A9A-853D-D3B97BE435E1}" type="pres">
      <dgm:prSet presAssocID="{29E7F638-D2CF-427C-9C1E-1AE0F8DE80BB}" presName="parTxOnly" presStyleLbl="node1" presStyleIdx="3" presStyleCnt="6">
        <dgm:presLayoutVars>
          <dgm:chMax val="0"/>
          <dgm:chPref val="0"/>
          <dgm:bulletEnabled val="1"/>
        </dgm:presLayoutVars>
      </dgm:prSet>
      <dgm:spPr/>
    </dgm:pt>
    <dgm:pt modelId="{A4F29642-2DFB-48FD-88BA-4E45F151C0F0}" type="pres">
      <dgm:prSet presAssocID="{CC862B9B-DD65-4F0C-8B73-77CF694B8E72}" presName="parTxOnlySpace" presStyleCnt="0"/>
      <dgm:spPr/>
    </dgm:pt>
    <dgm:pt modelId="{CBEA60FF-C53B-4A3F-B99D-A151A88E59F7}" type="pres">
      <dgm:prSet presAssocID="{EC2EE2E9-2BE6-4A40-ADEF-705545320FFB}" presName="parTxOnly" presStyleLbl="node1" presStyleIdx="4" presStyleCnt="6">
        <dgm:presLayoutVars>
          <dgm:chMax val="0"/>
          <dgm:chPref val="0"/>
          <dgm:bulletEnabled val="1"/>
        </dgm:presLayoutVars>
      </dgm:prSet>
      <dgm:spPr/>
    </dgm:pt>
    <dgm:pt modelId="{CA2D9F79-23A8-4AE8-A792-1155E02BDA67}" type="pres">
      <dgm:prSet presAssocID="{80365D3A-925E-4E5E-8202-17466288A8C7}" presName="parTxOnlySpace" presStyleCnt="0"/>
      <dgm:spPr/>
    </dgm:pt>
    <dgm:pt modelId="{F732AB74-57BC-440E-B6CA-6D3F8F40FA69}" type="pres">
      <dgm:prSet presAssocID="{5B15A3CB-3761-4851-A240-58274AE1AEA7}" presName="parTxOnly" presStyleLbl="node1" presStyleIdx="5" presStyleCnt="6">
        <dgm:presLayoutVars>
          <dgm:chMax val="0"/>
          <dgm:chPref val="0"/>
          <dgm:bulletEnabled val="1"/>
        </dgm:presLayoutVars>
      </dgm:prSet>
      <dgm:spPr/>
    </dgm:pt>
  </dgm:ptLst>
  <dgm:cxnLst>
    <dgm:cxn modelId="{7AC4541D-D9E5-4870-8524-F4B6F56B6786}" type="presOf" srcId="{5B15A3CB-3761-4851-A240-58274AE1AEA7}" destId="{F732AB74-57BC-440E-B6CA-6D3F8F40FA69}" srcOrd="0" destOrd="0" presId="urn:microsoft.com/office/officeart/2005/8/layout/chevron1"/>
    <dgm:cxn modelId="{9F7FA73D-426F-4A67-B38E-BFC3EF01B68A}" srcId="{932804A8-394E-4F0E-9DEC-8106DF0C55E2}" destId="{EC2EE2E9-2BE6-4A40-ADEF-705545320FFB}" srcOrd="4" destOrd="0" parTransId="{E68D5648-B06C-4BC7-9289-EF98014A511F}" sibTransId="{80365D3A-925E-4E5E-8202-17466288A8C7}"/>
    <dgm:cxn modelId="{DB19475E-C94F-45E9-ACD6-0DCEC2958B38}" type="presOf" srcId="{54DDCBD6-C286-4BDB-91AC-30064778675A}" destId="{B4831151-7A6C-4D1F-B71A-8C517E60ED6D}" srcOrd="0" destOrd="0" presId="urn:microsoft.com/office/officeart/2005/8/layout/chevron1"/>
    <dgm:cxn modelId="{618D516B-DDF3-4278-96D6-AAE7A294427D}" srcId="{932804A8-394E-4F0E-9DEC-8106DF0C55E2}" destId="{5B15A3CB-3761-4851-A240-58274AE1AEA7}" srcOrd="5" destOrd="0" parTransId="{CCBDC6D3-81A0-413F-A46B-AB220146E12F}" sibTransId="{4BDB9EF7-7E0F-4CC9-ABAD-8095DDF395B5}"/>
    <dgm:cxn modelId="{C2D04276-6CD8-4EB9-9928-2C8D72433D6D}" type="presOf" srcId="{4432BF36-46CD-49C4-92B8-B55547304111}" destId="{2C588BCE-CC18-4967-8702-B993E5636824}" srcOrd="0" destOrd="0" presId="urn:microsoft.com/office/officeart/2005/8/layout/chevron1"/>
    <dgm:cxn modelId="{9B829058-7436-4193-BA3A-7D7C514B31FA}" srcId="{932804A8-394E-4F0E-9DEC-8106DF0C55E2}" destId="{4432BF36-46CD-49C4-92B8-B55547304111}" srcOrd="1" destOrd="0" parTransId="{4E097399-3FDB-417B-86F0-9FF11B3E37FA}" sibTransId="{05741738-1B1C-49D1-BAA7-029CCA2835C4}"/>
    <dgm:cxn modelId="{F480089B-8357-4595-A3FA-6D9FC75FB1E0}" type="presOf" srcId="{29E7F638-D2CF-427C-9C1E-1AE0F8DE80BB}" destId="{88C299BB-0E1B-4A9A-853D-D3B97BE435E1}" srcOrd="0" destOrd="0" presId="urn:microsoft.com/office/officeart/2005/8/layout/chevron1"/>
    <dgm:cxn modelId="{269EAFAD-E8B7-4D20-ABD6-92E5F5B6174A}" type="presOf" srcId="{EC2EE2E9-2BE6-4A40-ADEF-705545320FFB}" destId="{CBEA60FF-C53B-4A3F-B99D-A151A88E59F7}" srcOrd="0" destOrd="0" presId="urn:microsoft.com/office/officeart/2005/8/layout/chevron1"/>
    <dgm:cxn modelId="{7FD29FC2-3F29-489B-90FB-15E0B7FA9740}" type="presOf" srcId="{E4E9CB49-C2DF-497C-AA56-F10E86443752}" destId="{B2A14F9A-CFB3-4554-82D9-086AF6252A7F}" srcOrd="0" destOrd="0" presId="urn:microsoft.com/office/officeart/2005/8/layout/chevron1"/>
    <dgm:cxn modelId="{0E79B6C3-A10B-407A-A61C-70E211DA0EC5}" srcId="{932804A8-394E-4F0E-9DEC-8106DF0C55E2}" destId="{29E7F638-D2CF-427C-9C1E-1AE0F8DE80BB}" srcOrd="3" destOrd="0" parTransId="{1AC9B606-AD9F-4174-A04A-C3CDB1DE7689}" sibTransId="{CC862B9B-DD65-4F0C-8B73-77CF694B8E72}"/>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242439D9-E310-4E43-8EF7-9B5409731168}" srcId="{932804A8-394E-4F0E-9DEC-8106DF0C55E2}" destId="{54DDCBD6-C286-4BDB-91AC-30064778675A}" srcOrd="2" destOrd="0" parTransId="{118070A3-BCF3-46B6-887E-FB1EDF937765}" sibTransId="{C42ED0F8-29C3-450E-8718-DF63F15DEEF7}"/>
    <dgm:cxn modelId="{7E5D5A34-E9AE-4C5B-8F52-64C261A5C82E}" type="presParOf" srcId="{4FDCFFF7-DA5B-4D29-A54E-10BB4A981E2C}" destId="{B2A14F9A-CFB3-4554-82D9-086AF6252A7F}" srcOrd="0" destOrd="0" presId="urn:microsoft.com/office/officeart/2005/8/layout/chevron1"/>
    <dgm:cxn modelId="{674AAF8D-6F9F-4A6C-BA90-2A5CBB70AE67}" type="presParOf" srcId="{4FDCFFF7-DA5B-4D29-A54E-10BB4A981E2C}" destId="{4610CD7D-114B-471E-BD79-3DF535AEAEC1}" srcOrd="1" destOrd="0" presId="urn:microsoft.com/office/officeart/2005/8/layout/chevron1"/>
    <dgm:cxn modelId="{A908BC16-A291-482A-B8A4-3B1F3D580941}" type="presParOf" srcId="{4FDCFFF7-DA5B-4D29-A54E-10BB4A981E2C}" destId="{2C588BCE-CC18-4967-8702-B993E5636824}" srcOrd="2" destOrd="0" presId="urn:microsoft.com/office/officeart/2005/8/layout/chevron1"/>
    <dgm:cxn modelId="{3FA092DB-BFB4-4B47-B995-A85640AD7C49}" type="presParOf" srcId="{4FDCFFF7-DA5B-4D29-A54E-10BB4A981E2C}" destId="{D19FE054-662A-4364-8825-6BAB4A4F5BA3}" srcOrd="3" destOrd="0" presId="urn:microsoft.com/office/officeart/2005/8/layout/chevron1"/>
    <dgm:cxn modelId="{D9F4B89C-2B0C-4B00-AD6C-89B7674AB4F6}" type="presParOf" srcId="{4FDCFFF7-DA5B-4D29-A54E-10BB4A981E2C}" destId="{B4831151-7A6C-4D1F-B71A-8C517E60ED6D}" srcOrd="4" destOrd="0" presId="urn:microsoft.com/office/officeart/2005/8/layout/chevron1"/>
    <dgm:cxn modelId="{B2F1F936-284A-4CB0-B02B-45F15108669E}" type="presParOf" srcId="{4FDCFFF7-DA5B-4D29-A54E-10BB4A981E2C}" destId="{9EF5990B-7707-4BCD-8988-2EEDD5F1F347}" srcOrd="5" destOrd="0" presId="urn:microsoft.com/office/officeart/2005/8/layout/chevron1"/>
    <dgm:cxn modelId="{621CC767-2FF8-483D-A672-771FBA3F3599}" type="presParOf" srcId="{4FDCFFF7-DA5B-4D29-A54E-10BB4A981E2C}" destId="{88C299BB-0E1B-4A9A-853D-D3B97BE435E1}" srcOrd="6" destOrd="0" presId="urn:microsoft.com/office/officeart/2005/8/layout/chevron1"/>
    <dgm:cxn modelId="{7767254D-3F06-458E-8999-27AB1E4F588D}" type="presParOf" srcId="{4FDCFFF7-DA5B-4D29-A54E-10BB4A981E2C}" destId="{A4F29642-2DFB-48FD-88BA-4E45F151C0F0}" srcOrd="7" destOrd="0" presId="urn:microsoft.com/office/officeart/2005/8/layout/chevron1"/>
    <dgm:cxn modelId="{6AE9B725-D746-492B-BFCA-D09F38D5A131}" type="presParOf" srcId="{4FDCFFF7-DA5B-4D29-A54E-10BB4A981E2C}" destId="{CBEA60FF-C53B-4A3F-B99D-A151A88E59F7}" srcOrd="8" destOrd="0" presId="urn:microsoft.com/office/officeart/2005/8/layout/chevron1"/>
    <dgm:cxn modelId="{E3F14259-5A19-4364-9A74-F38584D2AAC8}" type="presParOf" srcId="{4FDCFFF7-DA5B-4D29-A54E-10BB4A981E2C}" destId="{CA2D9F79-23A8-4AE8-A792-1155E02BDA67}" srcOrd="9" destOrd="0" presId="urn:microsoft.com/office/officeart/2005/8/layout/chevron1"/>
    <dgm:cxn modelId="{CEBF837D-AE5B-4AB0-AF94-33A24AF41170}" type="presParOf" srcId="{4FDCFFF7-DA5B-4D29-A54E-10BB4A981E2C}" destId="{F732AB74-57BC-440E-B6CA-6D3F8F40FA6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15A6AE7-4F2B-4C1A-A770-74C66BA28BFA}"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3C7A842B-2DE2-4C7D-ADF8-C8387D586633}">
      <dgm:prSet phldrT="[Text]"/>
      <dgm:spPr/>
      <dgm:t>
        <a:bodyPr/>
        <a:lstStyle/>
        <a:p>
          <a:r>
            <a:rPr lang="en-US"/>
            <a:t>   Agile Tools</a:t>
          </a:r>
        </a:p>
      </dgm:t>
    </dgm:pt>
    <dgm:pt modelId="{9C535356-0D30-43F5-BFF5-8E9EF8D76521}" type="parTrans" cxnId="{909D3F0F-5C5B-4843-9E5D-1292EFF15F50}">
      <dgm:prSet/>
      <dgm:spPr/>
      <dgm:t>
        <a:bodyPr/>
        <a:lstStyle/>
        <a:p>
          <a:endParaRPr lang="en-US"/>
        </a:p>
      </dgm:t>
    </dgm:pt>
    <dgm:pt modelId="{755A0572-CF7D-44F7-A2B5-BA92AD21A5B1}" type="sibTrans" cxnId="{909D3F0F-5C5B-4843-9E5D-1292EFF15F50}">
      <dgm:prSet/>
      <dgm:spPr/>
      <dgm:t>
        <a:bodyPr/>
        <a:lstStyle/>
        <a:p>
          <a:endParaRPr lang="en-US"/>
        </a:p>
      </dgm:t>
    </dgm:pt>
    <dgm:pt modelId="{84C9995C-DBA5-4326-9867-2F398FF5375C}">
      <dgm:prSet phldrT="[Text]"/>
      <dgm:spPr/>
      <dgm:t>
        <a:bodyPr/>
        <a:lstStyle/>
        <a:p>
          <a:r>
            <a:rPr lang="en-US"/>
            <a:t>Kanban boards</a:t>
          </a:r>
        </a:p>
      </dgm:t>
    </dgm:pt>
    <dgm:pt modelId="{87F03E02-0EFE-473B-9ABD-D4A2F4565315}" type="parTrans" cxnId="{B6E127DE-4F45-4706-9788-0B3B7F0714AD}">
      <dgm:prSet/>
      <dgm:spPr/>
      <dgm:t>
        <a:bodyPr/>
        <a:lstStyle/>
        <a:p>
          <a:endParaRPr lang="en-US"/>
        </a:p>
      </dgm:t>
    </dgm:pt>
    <dgm:pt modelId="{2417ED5A-A388-40EC-A061-5051690FA2F1}" type="sibTrans" cxnId="{B6E127DE-4F45-4706-9788-0B3B7F0714AD}">
      <dgm:prSet/>
      <dgm:spPr/>
      <dgm:t>
        <a:bodyPr/>
        <a:lstStyle/>
        <a:p>
          <a:endParaRPr lang="en-US"/>
        </a:p>
      </dgm:t>
    </dgm:pt>
    <dgm:pt modelId="{A83299B4-8DA8-49BA-85F6-41EE2C9C2F68}">
      <dgm:prSet phldrT="[Text]"/>
      <dgm:spPr/>
      <dgm:t>
        <a:bodyPr/>
        <a:lstStyle/>
        <a:p>
          <a:r>
            <a:rPr lang="en-US"/>
            <a:t>Dashboard</a:t>
          </a:r>
        </a:p>
      </dgm:t>
    </dgm:pt>
    <dgm:pt modelId="{9C585B0A-0614-4444-9FD8-EADD226898BC}" type="parTrans" cxnId="{78499D5C-F259-498A-A2E4-2C518B8DD15D}">
      <dgm:prSet/>
      <dgm:spPr/>
      <dgm:t>
        <a:bodyPr/>
        <a:lstStyle/>
        <a:p>
          <a:endParaRPr lang="en-US"/>
        </a:p>
      </dgm:t>
    </dgm:pt>
    <dgm:pt modelId="{01815C69-5EF7-4108-8DC5-6DF91184C6E3}" type="sibTrans" cxnId="{78499D5C-F259-498A-A2E4-2C518B8DD15D}">
      <dgm:prSet/>
      <dgm:spPr/>
      <dgm:t>
        <a:bodyPr/>
        <a:lstStyle/>
        <a:p>
          <a:endParaRPr lang="en-US"/>
        </a:p>
      </dgm:t>
    </dgm:pt>
    <dgm:pt modelId="{2FA77CEA-0CA1-441F-9A3F-50EF0862F00A}">
      <dgm:prSet phldrT="[Text]"/>
      <dgm:spPr/>
      <dgm:t>
        <a:bodyPr/>
        <a:lstStyle/>
        <a:p>
          <a:r>
            <a:rPr lang="en-US"/>
            <a:t>      Source Control</a:t>
          </a:r>
        </a:p>
      </dgm:t>
    </dgm:pt>
    <dgm:pt modelId="{66069DE0-ACF6-417C-9F4D-D03ABCCB86B6}" type="parTrans" cxnId="{D9A49C23-DD79-4D26-AF04-2CC1FF79F5D5}">
      <dgm:prSet/>
      <dgm:spPr/>
      <dgm:t>
        <a:bodyPr/>
        <a:lstStyle/>
        <a:p>
          <a:endParaRPr lang="en-US"/>
        </a:p>
      </dgm:t>
    </dgm:pt>
    <dgm:pt modelId="{8E9CB733-247C-42E3-844F-39713FB928AA}" type="sibTrans" cxnId="{D9A49C23-DD79-4D26-AF04-2CC1FF79F5D5}">
      <dgm:prSet/>
      <dgm:spPr/>
      <dgm:t>
        <a:bodyPr/>
        <a:lstStyle/>
        <a:p>
          <a:endParaRPr lang="en-US"/>
        </a:p>
      </dgm:t>
    </dgm:pt>
    <dgm:pt modelId="{37D45AD9-99AB-41A9-9485-14C2CE76EE6E}">
      <dgm:prSet phldrT="[Text]"/>
      <dgm:spPr/>
      <dgm:t>
        <a:bodyPr/>
        <a:lstStyle/>
        <a:p>
          <a:r>
            <a:rPr lang="en-US"/>
            <a:t>Git</a:t>
          </a:r>
        </a:p>
      </dgm:t>
    </dgm:pt>
    <dgm:pt modelId="{C988283A-159A-4D68-A069-8E6C78607CCC}" type="parTrans" cxnId="{1330D91F-7213-4507-9ED2-9043C5B70E3F}">
      <dgm:prSet/>
      <dgm:spPr/>
      <dgm:t>
        <a:bodyPr/>
        <a:lstStyle/>
        <a:p>
          <a:endParaRPr lang="en-US"/>
        </a:p>
      </dgm:t>
    </dgm:pt>
    <dgm:pt modelId="{E74627E5-F12C-4C9E-854F-A5A1CFE95816}" type="sibTrans" cxnId="{1330D91F-7213-4507-9ED2-9043C5B70E3F}">
      <dgm:prSet/>
      <dgm:spPr/>
      <dgm:t>
        <a:bodyPr/>
        <a:lstStyle/>
        <a:p>
          <a:endParaRPr lang="en-US"/>
        </a:p>
      </dgm:t>
    </dgm:pt>
    <dgm:pt modelId="{10D039FD-E779-4EC4-9CF1-48ED89074231}">
      <dgm:prSet phldrT="[Text]"/>
      <dgm:spPr/>
      <dgm:t>
        <a:bodyPr/>
        <a:lstStyle/>
        <a:p>
          <a:r>
            <a:rPr lang="en-US" err="1"/>
            <a:t>Github</a:t>
          </a:r>
          <a:endParaRPr lang="en-US"/>
        </a:p>
      </dgm:t>
    </dgm:pt>
    <dgm:pt modelId="{68A511D0-BC2B-4A2F-8D32-342AFAFD6DAD}" type="parTrans" cxnId="{70DE59EC-8583-4B8A-A925-51D976CD0980}">
      <dgm:prSet/>
      <dgm:spPr/>
      <dgm:t>
        <a:bodyPr/>
        <a:lstStyle/>
        <a:p>
          <a:endParaRPr lang="en-US"/>
        </a:p>
      </dgm:t>
    </dgm:pt>
    <dgm:pt modelId="{CB850080-AE8E-40BC-A655-F97924F90004}" type="sibTrans" cxnId="{70DE59EC-8583-4B8A-A925-51D976CD0980}">
      <dgm:prSet/>
      <dgm:spPr/>
      <dgm:t>
        <a:bodyPr/>
        <a:lstStyle/>
        <a:p>
          <a:endParaRPr lang="en-US"/>
        </a:p>
      </dgm:t>
    </dgm:pt>
    <dgm:pt modelId="{AB67B05C-B0C0-40C5-AC47-75CCBA6F8477}">
      <dgm:prSet phldrT="[Text]"/>
      <dgm:spPr/>
      <dgm:t>
        <a:bodyPr/>
        <a:lstStyle/>
        <a:p>
          <a:r>
            <a:rPr lang="en-US"/>
            <a:t>Test</a:t>
          </a:r>
        </a:p>
      </dgm:t>
    </dgm:pt>
    <dgm:pt modelId="{0FFC2B03-6731-4700-B3E7-16ADFAD5DCD7}" type="parTrans" cxnId="{B41431AD-C1CF-41C4-B58A-2191179AACB3}">
      <dgm:prSet/>
      <dgm:spPr/>
      <dgm:t>
        <a:bodyPr/>
        <a:lstStyle/>
        <a:p>
          <a:endParaRPr lang="en-US"/>
        </a:p>
      </dgm:t>
    </dgm:pt>
    <dgm:pt modelId="{1F1B2A0F-F069-4830-BBD8-2CBC9AE92B07}" type="sibTrans" cxnId="{B41431AD-C1CF-41C4-B58A-2191179AACB3}">
      <dgm:prSet/>
      <dgm:spPr/>
      <dgm:t>
        <a:bodyPr/>
        <a:lstStyle/>
        <a:p>
          <a:endParaRPr lang="en-US"/>
        </a:p>
      </dgm:t>
    </dgm:pt>
    <dgm:pt modelId="{267249D8-1ABD-444C-829E-C2423F543BA1}">
      <dgm:prSet phldrT="[Text]"/>
      <dgm:spPr/>
      <dgm:t>
        <a:bodyPr/>
        <a:lstStyle/>
        <a:p>
          <a:r>
            <a:rPr lang="en-US"/>
            <a:t>Backlogs</a:t>
          </a:r>
        </a:p>
      </dgm:t>
    </dgm:pt>
    <dgm:pt modelId="{6641C632-822F-4324-A853-32453DEACE92}" type="parTrans" cxnId="{3A0EE279-1BD2-41A1-856D-3DBC200E8565}">
      <dgm:prSet/>
      <dgm:spPr/>
      <dgm:t>
        <a:bodyPr/>
        <a:lstStyle/>
        <a:p>
          <a:endParaRPr lang="en-US"/>
        </a:p>
      </dgm:t>
    </dgm:pt>
    <dgm:pt modelId="{F505BDB4-6CA1-4A39-9D85-92835CD0A13C}" type="sibTrans" cxnId="{3A0EE279-1BD2-41A1-856D-3DBC200E8565}">
      <dgm:prSet/>
      <dgm:spPr/>
      <dgm:t>
        <a:bodyPr/>
        <a:lstStyle/>
        <a:p>
          <a:endParaRPr lang="en-US"/>
        </a:p>
      </dgm:t>
    </dgm:pt>
    <dgm:pt modelId="{AB3696EE-0815-44E3-9D9E-DDB3F4BFE155}">
      <dgm:prSet phldrT="[Text]"/>
      <dgm:spPr/>
      <dgm:t>
        <a:bodyPr/>
        <a:lstStyle/>
        <a:p>
          <a:r>
            <a:rPr lang="en-US"/>
            <a:t>TFVC</a:t>
          </a:r>
        </a:p>
      </dgm:t>
    </dgm:pt>
    <dgm:pt modelId="{AFF519C1-7A0F-47A4-AAD4-2896EF239675}" type="parTrans" cxnId="{048D014E-8B84-4030-906D-6361BB8A064A}">
      <dgm:prSet/>
      <dgm:spPr/>
      <dgm:t>
        <a:bodyPr/>
        <a:lstStyle/>
        <a:p>
          <a:endParaRPr lang="en-US"/>
        </a:p>
      </dgm:t>
    </dgm:pt>
    <dgm:pt modelId="{D4F1CD77-7501-4E76-8EC9-A4FE23FA1723}" type="sibTrans" cxnId="{048D014E-8B84-4030-906D-6361BB8A064A}">
      <dgm:prSet/>
      <dgm:spPr/>
      <dgm:t>
        <a:bodyPr/>
        <a:lstStyle/>
        <a:p>
          <a:endParaRPr lang="en-US"/>
        </a:p>
      </dgm:t>
    </dgm:pt>
    <dgm:pt modelId="{1A46E86B-8C73-4200-A2FF-0879FAD9770F}">
      <dgm:prSet phldrT="[Text]"/>
      <dgm:spPr/>
      <dgm:t>
        <a:bodyPr/>
        <a:lstStyle/>
        <a:p>
          <a:r>
            <a:rPr lang="en-US"/>
            <a:t>Load testing</a:t>
          </a:r>
        </a:p>
      </dgm:t>
    </dgm:pt>
    <dgm:pt modelId="{35906CCF-0C17-4EA7-98C0-5DEC7BE29340}" type="parTrans" cxnId="{A8747F1E-5ED6-436D-8CB1-3EC1EFDDEF05}">
      <dgm:prSet/>
      <dgm:spPr/>
      <dgm:t>
        <a:bodyPr/>
        <a:lstStyle/>
        <a:p>
          <a:endParaRPr lang="en-US"/>
        </a:p>
      </dgm:t>
    </dgm:pt>
    <dgm:pt modelId="{5D9B81D3-1ED2-4355-B152-72012CDA2E5B}" type="sibTrans" cxnId="{A8747F1E-5ED6-436D-8CB1-3EC1EFDDEF05}">
      <dgm:prSet/>
      <dgm:spPr/>
      <dgm:t>
        <a:bodyPr/>
        <a:lstStyle/>
        <a:p>
          <a:endParaRPr lang="en-US"/>
        </a:p>
      </dgm:t>
    </dgm:pt>
    <dgm:pt modelId="{25423688-A25B-45E3-B8DA-3CF794DAA489}">
      <dgm:prSet phldrT="[Text]"/>
      <dgm:spPr/>
      <dgm:t>
        <a:bodyPr/>
        <a:lstStyle/>
        <a:p>
          <a:r>
            <a:rPr lang="en-US"/>
            <a:t>Continuous testing</a:t>
          </a:r>
        </a:p>
      </dgm:t>
    </dgm:pt>
    <dgm:pt modelId="{43836C0F-4174-480E-BA77-1580BCF67099}" type="parTrans" cxnId="{E61D5B1C-FACB-4D61-BB14-6CEB15A7E4F7}">
      <dgm:prSet/>
      <dgm:spPr/>
      <dgm:t>
        <a:bodyPr/>
        <a:lstStyle/>
        <a:p>
          <a:endParaRPr lang="en-US"/>
        </a:p>
      </dgm:t>
    </dgm:pt>
    <dgm:pt modelId="{383CBF79-5A6D-4B1F-99B7-84FF65A7A785}" type="sibTrans" cxnId="{E61D5B1C-FACB-4D61-BB14-6CEB15A7E4F7}">
      <dgm:prSet/>
      <dgm:spPr/>
      <dgm:t>
        <a:bodyPr/>
        <a:lstStyle/>
        <a:p>
          <a:endParaRPr lang="en-US"/>
        </a:p>
      </dgm:t>
    </dgm:pt>
    <dgm:pt modelId="{4A486EBE-7B4E-495B-969A-D15C84A83D1B}">
      <dgm:prSet phldrT="[Text]"/>
      <dgm:spPr/>
      <dgm:t>
        <a:bodyPr/>
        <a:lstStyle/>
        <a:p>
          <a:r>
            <a:rPr lang="en-US"/>
            <a:t>Manual test plans</a:t>
          </a:r>
        </a:p>
      </dgm:t>
    </dgm:pt>
    <dgm:pt modelId="{AC116CD1-32C1-4E0C-A5F2-6605A5550DF9}" type="parTrans" cxnId="{30D33BAB-2DAC-4858-A413-B983CA51BCFA}">
      <dgm:prSet/>
      <dgm:spPr/>
      <dgm:t>
        <a:bodyPr/>
        <a:lstStyle/>
        <a:p>
          <a:endParaRPr lang="en-US"/>
        </a:p>
      </dgm:t>
    </dgm:pt>
    <dgm:pt modelId="{4739DFE2-380E-4881-A84B-D71F63D66645}" type="sibTrans" cxnId="{30D33BAB-2DAC-4858-A413-B983CA51BCFA}">
      <dgm:prSet/>
      <dgm:spPr/>
      <dgm:t>
        <a:bodyPr/>
        <a:lstStyle/>
        <a:p>
          <a:endParaRPr lang="en-US"/>
        </a:p>
      </dgm:t>
    </dgm:pt>
    <dgm:pt modelId="{90406130-FDB6-49D4-BABF-F7C757A0E755}" type="pres">
      <dgm:prSet presAssocID="{915A6AE7-4F2B-4C1A-A770-74C66BA28BFA}" presName="Name0" presStyleCnt="0">
        <dgm:presLayoutVars>
          <dgm:dir/>
          <dgm:animLvl val="lvl"/>
          <dgm:resizeHandles val="exact"/>
        </dgm:presLayoutVars>
      </dgm:prSet>
      <dgm:spPr/>
    </dgm:pt>
    <dgm:pt modelId="{5B164E18-813F-48B5-A22E-9D4F1C74B94D}" type="pres">
      <dgm:prSet presAssocID="{3C7A842B-2DE2-4C7D-ADF8-C8387D586633}" presName="composite" presStyleCnt="0"/>
      <dgm:spPr/>
    </dgm:pt>
    <dgm:pt modelId="{CBFD9B8F-A042-48AF-83E1-B073ECB6B84C}" type="pres">
      <dgm:prSet presAssocID="{3C7A842B-2DE2-4C7D-ADF8-C8387D586633}" presName="parTx" presStyleLbl="alignNode1" presStyleIdx="0" presStyleCnt="3">
        <dgm:presLayoutVars>
          <dgm:chMax val="0"/>
          <dgm:chPref val="0"/>
          <dgm:bulletEnabled val="1"/>
        </dgm:presLayoutVars>
      </dgm:prSet>
      <dgm:spPr/>
    </dgm:pt>
    <dgm:pt modelId="{599B9EDF-2BFD-4BEF-B552-CB5FD5EC597E}" type="pres">
      <dgm:prSet presAssocID="{3C7A842B-2DE2-4C7D-ADF8-C8387D586633}" presName="desTx" presStyleLbl="alignAccFollowNode1" presStyleIdx="0" presStyleCnt="3">
        <dgm:presLayoutVars>
          <dgm:bulletEnabled val="1"/>
        </dgm:presLayoutVars>
      </dgm:prSet>
      <dgm:spPr/>
    </dgm:pt>
    <dgm:pt modelId="{08F67BB0-6186-48CB-8837-82381AF519CF}" type="pres">
      <dgm:prSet presAssocID="{755A0572-CF7D-44F7-A2B5-BA92AD21A5B1}" presName="space" presStyleCnt="0"/>
      <dgm:spPr/>
    </dgm:pt>
    <dgm:pt modelId="{57BA0125-AC7E-4638-99E1-A06ADB513485}" type="pres">
      <dgm:prSet presAssocID="{2FA77CEA-0CA1-441F-9A3F-50EF0862F00A}" presName="composite" presStyleCnt="0"/>
      <dgm:spPr/>
    </dgm:pt>
    <dgm:pt modelId="{0F0743B9-76B9-4417-96BA-4B29AAEFE2C0}" type="pres">
      <dgm:prSet presAssocID="{2FA77CEA-0CA1-441F-9A3F-50EF0862F00A}" presName="parTx" presStyleLbl="alignNode1" presStyleIdx="1" presStyleCnt="3">
        <dgm:presLayoutVars>
          <dgm:chMax val="0"/>
          <dgm:chPref val="0"/>
          <dgm:bulletEnabled val="1"/>
        </dgm:presLayoutVars>
      </dgm:prSet>
      <dgm:spPr/>
    </dgm:pt>
    <dgm:pt modelId="{26561F3C-0483-4170-A4DD-98DC09E93992}" type="pres">
      <dgm:prSet presAssocID="{2FA77CEA-0CA1-441F-9A3F-50EF0862F00A}" presName="desTx" presStyleLbl="alignAccFollowNode1" presStyleIdx="1" presStyleCnt="3">
        <dgm:presLayoutVars>
          <dgm:bulletEnabled val="1"/>
        </dgm:presLayoutVars>
      </dgm:prSet>
      <dgm:spPr/>
    </dgm:pt>
    <dgm:pt modelId="{85114204-B670-4E93-9FCC-60A21BFBC7E2}" type="pres">
      <dgm:prSet presAssocID="{8E9CB733-247C-42E3-844F-39713FB928AA}" presName="space" presStyleCnt="0"/>
      <dgm:spPr/>
    </dgm:pt>
    <dgm:pt modelId="{567B6A1E-8D8E-4861-85FB-16B5D9E90B31}" type="pres">
      <dgm:prSet presAssocID="{AB67B05C-B0C0-40C5-AC47-75CCBA6F8477}" presName="composite" presStyleCnt="0"/>
      <dgm:spPr/>
    </dgm:pt>
    <dgm:pt modelId="{E0BB3C78-FDAA-4658-807F-CA3B842D013A}" type="pres">
      <dgm:prSet presAssocID="{AB67B05C-B0C0-40C5-AC47-75CCBA6F8477}" presName="parTx" presStyleLbl="alignNode1" presStyleIdx="2" presStyleCnt="3">
        <dgm:presLayoutVars>
          <dgm:chMax val="0"/>
          <dgm:chPref val="0"/>
          <dgm:bulletEnabled val="1"/>
        </dgm:presLayoutVars>
      </dgm:prSet>
      <dgm:spPr/>
    </dgm:pt>
    <dgm:pt modelId="{3E649BBE-5438-4860-AA42-0BE953632007}" type="pres">
      <dgm:prSet presAssocID="{AB67B05C-B0C0-40C5-AC47-75CCBA6F8477}" presName="desTx" presStyleLbl="alignAccFollowNode1" presStyleIdx="2" presStyleCnt="3">
        <dgm:presLayoutVars>
          <dgm:bulletEnabled val="1"/>
        </dgm:presLayoutVars>
      </dgm:prSet>
      <dgm:spPr/>
    </dgm:pt>
  </dgm:ptLst>
  <dgm:cxnLst>
    <dgm:cxn modelId="{6741D20A-15F8-4EB5-9A3E-D6F5F20A3640}" type="presOf" srcId="{1A46E86B-8C73-4200-A2FF-0879FAD9770F}" destId="{3E649BBE-5438-4860-AA42-0BE953632007}" srcOrd="0" destOrd="0" presId="urn:microsoft.com/office/officeart/2005/8/layout/hList1"/>
    <dgm:cxn modelId="{909D3F0F-5C5B-4843-9E5D-1292EFF15F50}" srcId="{915A6AE7-4F2B-4C1A-A770-74C66BA28BFA}" destId="{3C7A842B-2DE2-4C7D-ADF8-C8387D586633}" srcOrd="0" destOrd="0" parTransId="{9C535356-0D30-43F5-BFF5-8E9EF8D76521}" sibTransId="{755A0572-CF7D-44F7-A2B5-BA92AD21A5B1}"/>
    <dgm:cxn modelId="{E61D5B1C-FACB-4D61-BB14-6CEB15A7E4F7}" srcId="{AB67B05C-B0C0-40C5-AC47-75CCBA6F8477}" destId="{25423688-A25B-45E3-B8DA-3CF794DAA489}" srcOrd="1" destOrd="0" parTransId="{43836C0F-4174-480E-BA77-1580BCF67099}" sibTransId="{383CBF79-5A6D-4B1F-99B7-84FF65A7A785}"/>
    <dgm:cxn modelId="{A8747F1E-5ED6-436D-8CB1-3EC1EFDDEF05}" srcId="{AB67B05C-B0C0-40C5-AC47-75CCBA6F8477}" destId="{1A46E86B-8C73-4200-A2FF-0879FAD9770F}" srcOrd="0" destOrd="0" parTransId="{35906CCF-0C17-4EA7-98C0-5DEC7BE29340}" sibTransId="{5D9B81D3-1ED2-4355-B152-72012CDA2E5B}"/>
    <dgm:cxn modelId="{1330D91F-7213-4507-9ED2-9043C5B70E3F}" srcId="{2FA77CEA-0CA1-441F-9A3F-50EF0862F00A}" destId="{37D45AD9-99AB-41A9-9485-14C2CE76EE6E}" srcOrd="0" destOrd="0" parTransId="{C988283A-159A-4D68-A069-8E6C78607CCC}" sibTransId="{E74627E5-F12C-4C9E-854F-A5A1CFE95816}"/>
    <dgm:cxn modelId="{D9A49C23-DD79-4D26-AF04-2CC1FF79F5D5}" srcId="{915A6AE7-4F2B-4C1A-A770-74C66BA28BFA}" destId="{2FA77CEA-0CA1-441F-9A3F-50EF0862F00A}" srcOrd="1" destOrd="0" parTransId="{66069DE0-ACF6-417C-9F4D-D03ABCCB86B6}" sibTransId="{8E9CB733-247C-42E3-844F-39713FB928AA}"/>
    <dgm:cxn modelId="{7FE00231-E2EB-45BF-875C-D792D2345C41}" type="presOf" srcId="{3C7A842B-2DE2-4C7D-ADF8-C8387D586633}" destId="{CBFD9B8F-A042-48AF-83E1-B073ECB6B84C}" srcOrd="0" destOrd="0" presId="urn:microsoft.com/office/officeart/2005/8/layout/hList1"/>
    <dgm:cxn modelId="{16CC3C40-9FE7-4661-8AE0-B7D342614AD8}" type="presOf" srcId="{2FA77CEA-0CA1-441F-9A3F-50EF0862F00A}" destId="{0F0743B9-76B9-4417-96BA-4B29AAEFE2C0}" srcOrd="0" destOrd="0" presId="urn:microsoft.com/office/officeart/2005/8/layout/hList1"/>
    <dgm:cxn modelId="{78499D5C-F259-498A-A2E4-2C518B8DD15D}" srcId="{3C7A842B-2DE2-4C7D-ADF8-C8387D586633}" destId="{A83299B4-8DA8-49BA-85F6-41EE2C9C2F68}" srcOrd="2" destOrd="0" parTransId="{9C585B0A-0614-4444-9FD8-EADD226898BC}" sibTransId="{01815C69-5EF7-4108-8DC5-6DF91184C6E3}"/>
    <dgm:cxn modelId="{4E6EBE61-E13E-4D4C-87CC-41B4103E741F}" type="presOf" srcId="{4A486EBE-7B4E-495B-969A-D15C84A83D1B}" destId="{3E649BBE-5438-4860-AA42-0BE953632007}" srcOrd="0" destOrd="2" presId="urn:microsoft.com/office/officeart/2005/8/layout/hList1"/>
    <dgm:cxn modelId="{361CB042-BD3A-4646-97B7-3DCE8F6F76D8}" type="presOf" srcId="{37D45AD9-99AB-41A9-9485-14C2CE76EE6E}" destId="{26561F3C-0483-4170-A4DD-98DC09E93992}" srcOrd="0" destOrd="0" presId="urn:microsoft.com/office/officeart/2005/8/layout/hList1"/>
    <dgm:cxn modelId="{BAFE8364-2BA3-47D0-9B7F-486598DB8A6C}" type="presOf" srcId="{267249D8-1ABD-444C-829E-C2423F543BA1}" destId="{599B9EDF-2BFD-4BEF-B552-CB5FD5EC597E}" srcOrd="0" destOrd="1" presId="urn:microsoft.com/office/officeart/2005/8/layout/hList1"/>
    <dgm:cxn modelId="{6A14E866-5055-41D8-A16D-26242C552CF7}" type="presOf" srcId="{25423688-A25B-45E3-B8DA-3CF794DAA489}" destId="{3E649BBE-5438-4860-AA42-0BE953632007}" srcOrd="0" destOrd="1" presId="urn:microsoft.com/office/officeart/2005/8/layout/hList1"/>
    <dgm:cxn modelId="{048D014E-8B84-4030-906D-6361BB8A064A}" srcId="{2FA77CEA-0CA1-441F-9A3F-50EF0862F00A}" destId="{AB3696EE-0815-44E3-9D9E-DDB3F4BFE155}" srcOrd="1" destOrd="0" parTransId="{AFF519C1-7A0F-47A4-AAD4-2896EF239675}" sibTransId="{D4F1CD77-7501-4E76-8EC9-A4FE23FA1723}"/>
    <dgm:cxn modelId="{3A0EE279-1BD2-41A1-856D-3DBC200E8565}" srcId="{3C7A842B-2DE2-4C7D-ADF8-C8387D586633}" destId="{267249D8-1ABD-444C-829E-C2423F543BA1}" srcOrd="1" destOrd="0" parTransId="{6641C632-822F-4324-A853-32453DEACE92}" sibTransId="{F505BDB4-6CA1-4A39-9D85-92835CD0A13C}"/>
    <dgm:cxn modelId="{43B3237C-EF83-4F2C-98F3-92D6088CBBB1}" type="presOf" srcId="{10D039FD-E779-4EC4-9CF1-48ED89074231}" destId="{26561F3C-0483-4170-A4DD-98DC09E93992}" srcOrd="0" destOrd="2" presId="urn:microsoft.com/office/officeart/2005/8/layout/hList1"/>
    <dgm:cxn modelId="{E85885AA-4647-4510-9071-3696B454E1E9}" type="presOf" srcId="{AB3696EE-0815-44E3-9D9E-DDB3F4BFE155}" destId="{26561F3C-0483-4170-A4DD-98DC09E93992}" srcOrd="0" destOrd="1" presId="urn:microsoft.com/office/officeart/2005/8/layout/hList1"/>
    <dgm:cxn modelId="{30D33BAB-2DAC-4858-A413-B983CA51BCFA}" srcId="{AB67B05C-B0C0-40C5-AC47-75CCBA6F8477}" destId="{4A486EBE-7B4E-495B-969A-D15C84A83D1B}" srcOrd="2" destOrd="0" parTransId="{AC116CD1-32C1-4E0C-A5F2-6605A5550DF9}" sibTransId="{4739DFE2-380E-4881-A84B-D71F63D66645}"/>
    <dgm:cxn modelId="{B41431AD-C1CF-41C4-B58A-2191179AACB3}" srcId="{915A6AE7-4F2B-4C1A-A770-74C66BA28BFA}" destId="{AB67B05C-B0C0-40C5-AC47-75CCBA6F8477}" srcOrd="2" destOrd="0" parTransId="{0FFC2B03-6731-4700-B3E7-16ADFAD5DCD7}" sibTransId="{1F1B2A0F-F069-4830-BBD8-2CBC9AE92B07}"/>
    <dgm:cxn modelId="{2273FBBF-21D9-47DF-8037-51C23D19989A}" type="presOf" srcId="{84C9995C-DBA5-4326-9867-2F398FF5375C}" destId="{599B9EDF-2BFD-4BEF-B552-CB5FD5EC597E}" srcOrd="0" destOrd="0" presId="urn:microsoft.com/office/officeart/2005/8/layout/hList1"/>
    <dgm:cxn modelId="{43216AC5-A0FE-46DF-A6C2-1ECD6AB49626}" type="presOf" srcId="{AB67B05C-B0C0-40C5-AC47-75CCBA6F8477}" destId="{E0BB3C78-FDAA-4658-807F-CA3B842D013A}" srcOrd="0" destOrd="0" presId="urn:microsoft.com/office/officeart/2005/8/layout/hList1"/>
    <dgm:cxn modelId="{B6E127DE-4F45-4706-9788-0B3B7F0714AD}" srcId="{3C7A842B-2DE2-4C7D-ADF8-C8387D586633}" destId="{84C9995C-DBA5-4326-9867-2F398FF5375C}" srcOrd="0" destOrd="0" parTransId="{87F03E02-0EFE-473B-9ABD-D4A2F4565315}" sibTransId="{2417ED5A-A388-40EC-A061-5051690FA2F1}"/>
    <dgm:cxn modelId="{2DC39CE7-CA12-4DC9-885F-F8C473F73702}" type="presOf" srcId="{915A6AE7-4F2B-4C1A-A770-74C66BA28BFA}" destId="{90406130-FDB6-49D4-BABF-F7C757A0E755}" srcOrd="0" destOrd="0" presId="urn:microsoft.com/office/officeart/2005/8/layout/hList1"/>
    <dgm:cxn modelId="{6A220AEA-2692-4460-81EF-DECF39695D87}" type="presOf" srcId="{A83299B4-8DA8-49BA-85F6-41EE2C9C2F68}" destId="{599B9EDF-2BFD-4BEF-B552-CB5FD5EC597E}" srcOrd="0" destOrd="2" presId="urn:microsoft.com/office/officeart/2005/8/layout/hList1"/>
    <dgm:cxn modelId="{70DE59EC-8583-4B8A-A925-51D976CD0980}" srcId="{2FA77CEA-0CA1-441F-9A3F-50EF0862F00A}" destId="{10D039FD-E779-4EC4-9CF1-48ED89074231}" srcOrd="2" destOrd="0" parTransId="{68A511D0-BC2B-4A2F-8D32-342AFAFD6DAD}" sibTransId="{CB850080-AE8E-40BC-A655-F97924F90004}"/>
    <dgm:cxn modelId="{F6611501-F84E-40A1-A93E-FF71D3180BE0}" type="presParOf" srcId="{90406130-FDB6-49D4-BABF-F7C757A0E755}" destId="{5B164E18-813F-48B5-A22E-9D4F1C74B94D}" srcOrd="0" destOrd="0" presId="urn:microsoft.com/office/officeart/2005/8/layout/hList1"/>
    <dgm:cxn modelId="{7704A7DF-150D-43AC-A654-B96B4D5B1E0E}" type="presParOf" srcId="{5B164E18-813F-48B5-A22E-9D4F1C74B94D}" destId="{CBFD9B8F-A042-48AF-83E1-B073ECB6B84C}" srcOrd="0" destOrd="0" presId="urn:microsoft.com/office/officeart/2005/8/layout/hList1"/>
    <dgm:cxn modelId="{F280A3FC-EE53-4498-A20D-A07FB3B87969}" type="presParOf" srcId="{5B164E18-813F-48B5-A22E-9D4F1C74B94D}" destId="{599B9EDF-2BFD-4BEF-B552-CB5FD5EC597E}" srcOrd="1" destOrd="0" presId="urn:microsoft.com/office/officeart/2005/8/layout/hList1"/>
    <dgm:cxn modelId="{239A0969-C658-4B98-8F57-F4B30625CCF7}" type="presParOf" srcId="{90406130-FDB6-49D4-BABF-F7C757A0E755}" destId="{08F67BB0-6186-48CB-8837-82381AF519CF}" srcOrd="1" destOrd="0" presId="urn:microsoft.com/office/officeart/2005/8/layout/hList1"/>
    <dgm:cxn modelId="{F0CFB166-DAA3-43EA-BDB8-8365902B78CD}" type="presParOf" srcId="{90406130-FDB6-49D4-BABF-F7C757A0E755}" destId="{57BA0125-AC7E-4638-99E1-A06ADB513485}" srcOrd="2" destOrd="0" presId="urn:microsoft.com/office/officeart/2005/8/layout/hList1"/>
    <dgm:cxn modelId="{ECA5796C-8DD9-4555-A1E1-1A4DB30A811F}" type="presParOf" srcId="{57BA0125-AC7E-4638-99E1-A06ADB513485}" destId="{0F0743B9-76B9-4417-96BA-4B29AAEFE2C0}" srcOrd="0" destOrd="0" presId="urn:microsoft.com/office/officeart/2005/8/layout/hList1"/>
    <dgm:cxn modelId="{C4B1C142-4439-48E1-97F6-457158AE053F}" type="presParOf" srcId="{57BA0125-AC7E-4638-99E1-A06ADB513485}" destId="{26561F3C-0483-4170-A4DD-98DC09E93992}" srcOrd="1" destOrd="0" presId="urn:microsoft.com/office/officeart/2005/8/layout/hList1"/>
    <dgm:cxn modelId="{9F203AE8-5753-4954-AD77-E2C2DC43F477}" type="presParOf" srcId="{90406130-FDB6-49D4-BABF-F7C757A0E755}" destId="{85114204-B670-4E93-9FCC-60A21BFBC7E2}" srcOrd="3" destOrd="0" presId="urn:microsoft.com/office/officeart/2005/8/layout/hList1"/>
    <dgm:cxn modelId="{A7F94B7A-328A-44EA-B019-D12DECFA7B81}" type="presParOf" srcId="{90406130-FDB6-49D4-BABF-F7C757A0E755}" destId="{567B6A1E-8D8E-4861-85FB-16B5D9E90B31}" srcOrd="4" destOrd="0" presId="urn:microsoft.com/office/officeart/2005/8/layout/hList1"/>
    <dgm:cxn modelId="{3DFE6AB0-6B9D-4EBB-841B-49980E625DBB}" type="presParOf" srcId="{567B6A1E-8D8E-4861-85FB-16B5D9E90B31}" destId="{E0BB3C78-FDAA-4658-807F-CA3B842D013A}" srcOrd="0" destOrd="0" presId="urn:microsoft.com/office/officeart/2005/8/layout/hList1"/>
    <dgm:cxn modelId="{12353AB3-C3F8-4B54-8748-52D6E8FB3D23}" type="presParOf" srcId="{567B6A1E-8D8E-4861-85FB-16B5D9E90B31}" destId="{3E649BBE-5438-4860-AA42-0BE95363200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5A6AE7-4F2B-4C1A-A770-74C66BA28BF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3C7A842B-2DE2-4C7D-ADF8-C8387D586633}">
      <dgm:prSet phldrT="[Text]"/>
      <dgm:spPr/>
      <dgm:t>
        <a:bodyPr/>
        <a:lstStyle/>
        <a:p>
          <a:r>
            <a:rPr lang="en-US"/>
            <a:t>     Package </a:t>
          </a:r>
          <a:r>
            <a:rPr lang="en-US" err="1"/>
            <a:t>Mgmt</a:t>
          </a:r>
          <a:endParaRPr lang="en-US"/>
        </a:p>
      </dgm:t>
    </dgm:pt>
    <dgm:pt modelId="{9C535356-0D30-43F5-BFF5-8E9EF8D76521}" type="parTrans" cxnId="{909D3F0F-5C5B-4843-9E5D-1292EFF15F50}">
      <dgm:prSet/>
      <dgm:spPr/>
      <dgm:t>
        <a:bodyPr/>
        <a:lstStyle/>
        <a:p>
          <a:endParaRPr lang="en-US"/>
        </a:p>
      </dgm:t>
    </dgm:pt>
    <dgm:pt modelId="{755A0572-CF7D-44F7-A2B5-BA92AD21A5B1}" type="sibTrans" cxnId="{909D3F0F-5C5B-4843-9E5D-1292EFF15F50}">
      <dgm:prSet/>
      <dgm:spPr/>
      <dgm:t>
        <a:bodyPr/>
        <a:lstStyle/>
        <a:p>
          <a:endParaRPr lang="en-US"/>
        </a:p>
      </dgm:t>
    </dgm:pt>
    <dgm:pt modelId="{84C9995C-DBA5-4326-9867-2F398FF5375C}">
      <dgm:prSet phldrT="[Text]"/>
      <dgm:spPr/>
      <dgm:t>
        <a:bodyPr/>
        <a:lstStyle/>
        <a:p>
          <a:r>
            <a:rPr lang="en-US"/>
            <a:t>Continuous integration </a:t>
          </a:r>
        </a:p>
      </dgm:t>
    </dgm:pt>
    <dgm:pt modelId="{87F03E02-0EFE-473B-9ABD-D4A2F4565315}" type="parTrans" cxnId="{B6E127DE-4F45-4706-9788-0B3B7F0714AD}">
      <dgm:prSet/>
      <dgm:spPr/>
      <dgm:t>
        <a:bodyPr/>
        <a:lstStyle/>
        <a:p>
          <a:endParaRPr lang="en-US"/>
        </a:p>
      </dgm:t>
    </dgm:pt>
    <dgm:pt modelId="{2417ED5A-A388-40EC-A061-5051690FA2F1}" type="sibTrans" cxnId="{B6E127DE-4F45-4706-9788-0B3B7F0714AD}">
      <dgm:prSet/>
      <dgm:spPr/>
      <dgm:t>
        <a:bodyPr/>
        <a:lstStyle/>
        <a:p>
          <a:endParaRPr lang="en-US"/>
        </a:p>
      </dgm:t>
    </dgm:pt>
    <dgm:pt modelId="{A83299B4-8DA8-49BA-85F6-41EE2C9C2F68}">
      <dgm:prSet phldrT="[Text]"/>
      <dgm:spPr/>
      <dgm:t>
        <a:bodyPr/>
        <a:lstStyle/>
        <a:p>
          <a:r>
            <a:rPr lang="en-US"/>
            <a:t>Flexible pipelines</a:t>
          </a:r>
        </a:p>
      </dgm:t>
    </dgm:pt>
    <dgm:pt modelId="{9C585B0A-0614-4444-9FD8-EADD226898BC}" type="parTrans" cxnId="{78499D5C-F259-498A-A2E4-2C518B8DD15D}">
      <dgm:prSet/>
      <dgm:spPr/>
      <dgm:t>
        <a:bodyPr/>
        <a:lstStyle/>
        <a:p>
          <a:endParaRPr lang="en-US"/>
        </a:p>
      </dgm:t>
    </dgm:pt>
    <dgm:pt modelId="{01815C69-5EF7-4108-8DC5-6DF91184C6E3}" type="sibTrans" cxnId="{78499D5C-F259-498A-A2E4-2C518B8DD15D}">
      <dgm:prSet/>
      <dgm:spPr/>
      <dgm:t>
        <a:bodyPr/>
        <a:lstStyle/>
        <a:p>
          <a:endParaRPr lang="en-US"/>
        </a:p>
      </dgm:t>
    </dgm:pt>
    <dgm:pt modelId="{2FA77CEA-0CA1-441F-9A3F-50EF0862F00A}">
      <dgm:prSet phldrT="[Text]"/>
      <dgm:spPr/>
      <dgm:t>
        <a:bodyPr/>
        <a:lstStyle/>
        <a:p>
          <a:r>
            <a:rPr lang="en-US"/>
            <a:t>   Release</a:t>
          </a:r>
        </a:p>
      </dgm:t>
    </dgm:pt>
    <dgm:pt modelId="{66069DE0-ACF6-417C-9F4D-D03ABCCB86B6}" type="parTrans" cxnId="{D9A49C23-DD79-4D26-AF04-2CC1FF79F5D5}">
      <dgm:prSet/>
      <dgm:spPr/>
      <dgm:t>
        <a:bodyPr/>
        <a:lstStyle/>
        <a:p>
          <a:endParaRPr lang="en-US"/>
        </a:p>
      </dgm:t>
    </dgm:pt>
    <dgm:pt modelId="{8E9CB733-247C-42E3-844F-39713FB928AA}" type="sibTrans" cxnId="{D9A49C23-DD79-4D26-AF04-2CC1FF79F5D5}">
      <dgm:prSet/>
      <dgm:spPr/>
      <dgm:t>
        <a:bodyPr/>
        <a:lstStyle/>
        <a:p>
          <a:endParaRPr lang="en-US"/>
        </a:p>
      </dgm:t>
    </dgm:pt>
    <dgm:pt modelId="{37D45AD9-99AB-41A9-9485-14C2CE76EE6E}">
      <dgm:prSet phldrT="[Text]"/>
      <dgm:spPr/>
      <dgm:t>
        <a:bodyPr/>
        <a:lstStyle/>
        <a:p>
          <a:r>
            <a:rPr lang="en-US"/>
            <a:t>Automated deployments</a:t>
          </a:r>
        </a:p>
      </dgm:t>
    </dgm:pt>
    <dgm:pt modelId="{C988283A-159A-4D68-A069-8E6C78607CCC}" type="parTrans" cxnId="{1330D91F-7213-4507-9ED2-9043C5B70E3F}">
      <dgm:prSet/>
      <dgm:spPr/>
      <dgm:t>
        <a:bodyPr/>
        <a:lstStyle/>
        <a:p>
          <a:endParaRPr lang="en-US"/>
        </a:p>
      </dgm:t>
    </dgm:pt>
    <dgm:pt modelId="{E74627E5-F12C-4C9E-854F-A5A1CFE95816}" type="sibTrans" cxnId="{1330D91F-7213-4507-9ED2-9043C5B70E3F}">
      <dgm:prSet/>
      <dgm:spPr/>
      <dgm:t>
        <a:bodyPr/>
        <a:lstStyle/>
        <a:p>
          <a:endParaRPr lang="en-US"/>
        </a:p>
      </dgm:t>
    </dgm:pt>
    <dgm:pt modelId="{10D039FD-E779-4EC4-9CF1-48ED89074231}">
      <dgm:prSet phldrT="[Text]"/>
      <dgm:spPr/>
      <dgm:t>
        <a:bodyPr/>
        <a:lstStyle/>
        <a:p>
          <a:r>
            <a:rPr lang="en-US"/>
            <a:t>Extensions</a:t>
          </a:r>
        </a:p>
      </dgm:t>
    </dgm:pt>
    <dgm:pt modelId="{68A511D0-BC2B-4A2F-8D32-342AFAFD6DAD}" type="parTrans" cxnId="{70DE59EC-8583-4B8A-A925-51D976CD0980}">
      <dgm:prSet/>
      <dgm:spPr/>
      <dgm:t>
        <a:bodyPr/>
        <a:lstStyle/>
        <a:p>
          <a:endParaRPr lang="en-US"/>
        </a:p>
      </dgm:t>
    </dgm:pt>
    <dgm:pt modelId="{CB850080-AE8E-40BC-A655-F97924F90004}" type="sibTrans" cxnId="{70DE59EC-8583-4B8A-A925-51D976CD0980}">
      <dgm:prSet/>
      <dgm:spPr/>
      <dgm:t>
        <a:bodyPr/>
        <a:lstStyle/>
        <a:p>
          <a:endParaRPr lang="en-US"/>
        </a:p>
      </dgm:t>
    </dgm:pt>
    <dgm:pt modelId="{C651B938-E636-4B43-BBD6-F3837F8ADB82}">
      <dgm:prSet phldrT="[Text]"/>
      <dgm:spPr/>
      <dgm:t>
        <a:bodyPr/>
        <a:lstStyle/>
        <a:p>
          <a:r>
            <a:rPr lang="en-US"/>
            <a:t>   Build &amp; CI</a:t>
          </a:r>
        </a:p>
      </dgm:t>
    </dgm:pt>
    <dgm:pt modelId="{664D0001-9D21-4513-9F33-A6270E0881E5}" type="parTrans" cxnId="{38AA8F0F-7A13-4711-9A55-9C072A7EB01B}">
      <dgm:prSet/>
      <dgm:spPr/>
      <dgm:t>
        <a:bodyPr/>
        <a:lstStyle/>
        <a:p>
          <a:endParaRPr lang="en-US"/>
        </a:p>
      </dgm:t>
    </dgm:pt>
    <dgm:pt modelId="{44202A68-9B2E-4784-814A-B001CF51D2FC}" type="sibTrans" cxnId="{38AA8F0F-7A13-4711-9A55-9C072A7EB01B}">
      <dgm:prSet/>
      <dgm:spPr/>
      <dgm:t>
        <a:bodyPr/>
        <a:lstStyle/>
        <a:p>
          <a:endParaRPr lang="en-US"/>
        </a:p>
      </dgm:t>
    </dgm:pt>
    <dgm:pt modelId="{02DC916A-54F5-4CFF-B304-452C13360A94}">
      <dgm:prSet phldrT="[Text]"/>
      <dgm:spPr/>
      <dgm:t>
        <a:bodyPr/>
        <a:lstStyle/>
        <a:p>
          <a:r>
            <a:rPr lang="en-US"/>
            <a:t>Cloud hosted</a:t>
          </a:r>
        </a:p>
      </dgm:t>
    </dgm:pt>
    <dgm:pt modelId="{E4A69DB6-CF49-4691-A213-D1D92D42BC66}" type="parTrans" cxnId="{705E1BDD-3912-433B-B40E-098A2E187265}">
      <dgm:prSet/>
      <dgm:spPr/>
      <dgm:t>
        <a:bodyPr/>
        <a:lstStyle/>
        <a:p>
          <a:endParaRPr lang="en-US"/>
        </a:p>
      </dgm:t>
    </dgm:pt>
    <dgm:pt modelId="{0F1C06A0-3E2B-4BF2-9B79-C222E552ECD2}" type="sibTrans" cxnId="{705E1BDD-3912-433B-B40E-098A2E187265}">
      <dgm:prSet/>
      <dgm:spPr/>
      <dgm:t>
        <a:bodyPr/>
        <a:lstStyle/>
        <a:p>
          <a:endParaRPr lang="en-US"/>
        </a:p>
      </dgm:t>
    </dgm:pt>
    <dgm:pt modelId="{E9819B75-18B6-43AF-878B-CBFD21F954E8}">
      <dgm:prSet phldrT="[Text]"/>
      <dgm:spPr/>
      <dgm:t>
        <a:bodyPr/>
        <a:lstStyle/>
        <a:p>
          <a:r>
            <a:rPr lang="en-US" err="1"/>
            <a:t>NuGet</a:t>
          </a:r>
          <a:endParaRPr lang="en-US"/>
        </a:p>
      </dgm:t>
    </dgm:pt>
    <dgm:pt modelId="{45AF5F75-D8EC-414E-8E47-720CE49AF033}" type="parTrans" cxnId="{B0561FD4-5C18-433A-87B3-9BC911100A1D}">
      <dgm:prSet/>
      <dgm:spPr/>
      <dgm:t>
        <a:bodyPr/>
        <a:lstStyle/>
        <a:p>
          <a:endParaRPr lang="en-US"/>
        </a:p>
      </dgm:t>
    </dgm:pt>
    <dgm:pt modelId="{69DA0283-9EEE-4979-ADF6-9B971EAE0F03}" type="sibTrans" cxnId="{B0561FD4-5C18-433A-87B3-9BC911100A1D}">
      <dgm:prSet/>
      <dgm:spPr/>
      <dgm:t>
        <a:bodyPr/>
        <a:lstStyle/>
        <a:p>
          <a:endParaRPr lang="en-US"/>
        </a:p>
      </dgm:t>
    </dgm:pt>
    <dgm:pt modelId="{1F5BE414-C459-44F6-B9FF-52DEE5736A28}">
      <dgm:prSet phldrT="[Text]"/>
      <dgm:spPr/>
      <dgm:t>
        <a:bodyPr/>
        <a:lstStyle/>
        <a:p>
          <a:r>
            <a:rPr lang="en-US"/>
            <a:t>NPM</a:t>
          </a:r>
        </a:p>
      </dgm:t>
    </dgm:pt>
    <dgm:pt modelId="{87E7C702-F585-425F-AAF0-90A6A6D325D2}" type="parTrans" cxnId="{8C0B689C-A699-47A5-98BD-B1FAA648FBC6}">
      <dgm:prSet/>
      <dgm:spPr/>
      <dgm:t>
        <a:bodyPr/>
        <a:lstStyle/>
        <a:p>
          <a:endParaRPr lang="en-US"/>
        </a:p>
      </dgm:t>
    </dgm:pt>
    <dgm:pt modelId="{27257204-BB0E-4966-BA67-7379A16EC70B}" type="sibTrans" cxnId="{8C0B689C-A699-47A5-98BD-B1FAA648FBC6}">
      <dgm:prSet/>
      <dgm:spPr/>
      <dgm:t>
        <a:bodyPr/>
        <a:lstStyle/>
        <a:p>
          <a:endParaRPr lang="en-US"/>
        </a:p>
      </dgm:t>
    </dgm:pt>
    <dgm:pt modelId="{C0723C37-2587-4F22-AA76-B85A0612A9A8}">
      <dgm:prSet phldrT="[Text]"/>
      <dgm:spPr/>
      <dgm:t>
        <a:bodyPr/>
        <a:lstStyle/>
        <a:p>
          <a:r>
            <a:rPr lang="en-US"/>
            <a:t>Any language</a:t>
          </a:r>
        </a:p>
      </dgm:t>
    </dgm:pt>
    <dgm:pt modelId="{79FB0501-7B10-4B61-9CA1-1AA84AFACE5F}" type="parTrans" cxnId="{5ED01226-E59F-43EF-9FC3-508F9AABD16C}">
      <dgm:prSet/>
      <dgm:spPr/>
      <dgm:t>
        <a:bodyPr/>
        <a:lstStyle/>
        <a:p>
          <a:endParaRPr lang="en-US"/>
        </a:p>
      </dgm:t>
    </dgm:pt>
    <dgm:pt modelId="{B0CBF768-B62C-4DE8-8D03-6ED202DC0637}" type="sibTrans" cxnId="{5ED01226-E59F-43EF-9FC3-508F9AABD16C}">
      <dgm:prSet/>
      <dgm:spPr/>
      <dgm:t>
        <a:bodyPr/>
        <a:lstStyle/>
        <a:p>
          <a:endParaRPr lang="en-US"/>
        </a:p>
      </dgm:t>
    </dgm:pt>
    <dgm:pt modelId="{59AEAE44-4CB5-4EF8-A064-C3C49F58D4E7}">
      <dgm:prSet phldrT="[Text]"/>
      <dgm:spPr/>
      <dgm:t>
        <a:bodyPr/>
        <a:lstStyle/>
        <a:p>
          <a:r>
            <a:rPr lang="en-US"/>
            <a:t>Traceability</a:t>
          </a:r>
        </a:p>
      </dgm:t>
    </dgm:pt>
    <dgm:pt modelId="{234617A1-914A-4353-9EEB-4DB7B676CA54}" type="parTrans" cxnId="{49888523-E6A1-4814-BF86-9912FCB4E78D}">
      <dgm:prSet/>
      <dgm:spPr/>
      <dgm:t>
        <a:bodyPr/>
        <a:lstStyle/>
        <a:p>
          <a:endParaRPr lang="en-US"/>
        </a:p>
      </dgm:t>
    </dgm:pt>
    <dgm:pt modelId="{DA385E78-C914-429B-99EF-37F3301887AE}" type="sibTrans" cxnId="{49888523-E6A1-4814-BF86-9912FCB4E78D}">
      <dgm:prSet/>
      <dgm:spPr/>
      <dgm:t>
        <a:bodyPr/>
        <a:lstStyle/>
        <a:p>
          <a:endParaRPr lang="en-US"/>
        </a:p>
      </dgm:t>
    </dgm:pt>
    <dgm:pt modelId="{90406130-FDB6-49D4-BABF-F7C757A0E755}" type="pres">
      <dgm:prSet presAssocID="{915A6AE7-4F2B-4C1A-A770-74C66BA28BFA}" presName="Name0" presStyleCnt="0">
        <dgm:presLayoutVars>
          <dgm:dir/>
          <dgm:animLvl val="lvl"/>
          <dgm:resizeHandles val="exact"/>
        </dgm:presLayoutVars>
      </dgm:prSet>
      <dgm:spPr/>
    </dgm:pt>
    <dgm:pt modelId="{5B164E18-813F-48B5-A22E-9D4F1C74B94D}" type="pres">
      <dgm:prSet presAssocID="{3C7A842B-2DE2-4C7D-ADF8-C8387D586633}" presName="composite" presStyleCnt="0"/>
      <dgm:spPr/>
    </dgm:pt>
    <dgm:pt modelId="{CBFD9B8F-A042-48AF-83E1-B073ECB6B84C}" type="pres">
      <dgm:prSet presAssocID="{3C7A842B-2DE2-4C7D-ADF8-C8387D586633}" presName="parTx" presStyleLbl="alignNode1" presStyleIdx="0" presStyleCnt="3">
        <dgm:presLayoutVars>
          <dgm:chMax val="0"/>
          <dgm:chPref val="0"/>
          <dgm:bulletEnabled val="1"/>
        </dgm:presLayoutVars>
      </dgm:prSet>
      <dgm:spPr/>
    </dgm:pt>
    <dgm:pt modelId="{599B9EDF-2BFD-4BEF-B552-CB5FD5EC597E}" type="pres">
      <dgm:prSet presAssocID="{3C7A842B-2DE2-4C7D-ADF8-C8387D586633}" presName="desTx" presStyleLbl="alignAccFollowNode1" presStyleIdx="0" presStyleCnt="3">
        <dgm:presLayoutVars>
          <dgm:bulletEnabled val="1"/>
        </dgm:presLayoutVars>
      </dgm:prSet>
      <dgm:spPr/>
    </dgm:pt>
    <dgm:pt modelId="{08F67BB0-6186-48CB-8837-82381AF519CF}" type="pres">
      <dgm:prSet presAssocID="{755A0572-CF7D-44F7-A2B5-BA92AD21A5B1}" presName="space" presStyleCnt="0"/>
      <dgm:spPr/>
    </dgm:pt>
    <dgm:pt modelId="{2F77297F-DB7D-4467-BE52-DFC8CE4A1C26}" type="pres">
      <dgm:prSet presAssocID="{C651B938-E636-4B43-BBD6-F3837F8ADB82}" presName="composite" presStyleCnt="0"/>
      <dgm:spPr/>
    </dgm:pt>
    <dgm:pt modelId="{ADEA36E0-64E6-4BEE-AD42-DAB37DC21EDD}" type="pres">
      <dgm:prSet presAssocID="{C651B938-E636-4B43-BBD6-F3837F8ADB82}" presName="parTx" presStyleLbl="alignNode1" presStyleIdx="1" presStyleCnt="3">
        <dgm:presLayoutVars>
          <dgm:chMax val="0"/>
          <dgm:chPref val="0"/>
          <dgm:bulletEnabled val="1"/>
        </dgm:presLayoutVars>
      </dgm:prSet>
      <dgm:spPr/>
    </dgm:pt>
    <dgm:pt modelId="{F0F7EA4B-645E-4581-AD97-769433FA6554}" type="pres">
      <dgm:prSet presAssocID="{C651B938-E636-4B43-BBD6-F3837F8ADB82}" presName="desTx" presStyleLbl="alignAccFollowNode1" presStyleIdx="1" presStyleCnt="3">
        <dgm:presLayoutVars>
          <dgm:bulletEnabled val="1"/>
        </dgm:presLayoutVars>
      </dgm:prSet>
      <dgm:spPr/>
    </dgm:pt>
    <dgm:pt modelId="{67B853E0-A8C2-47B9-AEA8-172A7AC37267}" type="pres">
      <dgm:prSet presAssocID="{44202A68-9B2E-4784-814A-B001CF51D2FC}" presName="space" presStyleCnt="0"/>
      <dgm:spPr/>
    </dgm:pt>
    <dgm:pt modelId="{57BA0125-AC7E-4638-99E1-A06ADB513485}" type="pres">
      <dgm:prSet presAssocID="{2FA77CEA-0CA1-441F-9A3F-50EF0862F00A}" presName="composite" presStyleCnt="0"/>
      <dgm:spPr/>
    </dgm:pt>
    <dgm:pt modelId="{0F0743B9-76B9-4417-96BA-4B29AAEFE2C0}" type="pres">
      <dgm:prSet presAssocID="{2FA77CEA-0CA1-441F-9A3F-50EF0862F00A}" presName="parTx" presStyleLbl="alignNode1" presStyleIdx="2" presStyleCnt="3">
        <dgm:presLayoutVars>
          <dgm:chMax val="0"/>
          <dgm:chPref val="0"/>
          <dgm:bulletEnabled val="1"/>
        </dgm:presLayoutVars>
      </dgm:prSet>
      <dgm:spPr/>
    </dgm:pt>
    <dgm:pt modelId="{26561F3C-0483-4170-A4DD-98DC09E93992}" type="pres">
      <dgm:prSet presAssocID="{2FA77CEA-0CA1-441F-9A3F-50EF0862F00A}" presName="desTx" presStyleLbl="alignAccFollowNode1" presStyleIdx="2" presStyleCnt="3">
        <dgm:presLayoutVars>
          <dgm:bulletEnabled val="1"/>
        </dgm:presLayoutVars>
      </dgm:prSet>
      <dgm:spPr/>
    </dgm:pt>
  </dgm:ptLst>
  <dgm:cxnLst>
    <dgm:cxn modelId="{5EA0AF04-45B0-46BD-BAB1-9471766DCB19}" type="presOf" srcId="{E9819B75-18B6-43AF-878B-CBFD21F954E8}" destId="{599B9EDF-2BFD-4BEF-B552-CB5FD5EC597E}" srcOrd="0" destOrd="1" presId="urn:microsoft.com/office/officeart/2005/8/layout/hList1"/>
    <dgm:cxn modelId="{909D3F0F-5C5B-4843-9E5D-1292EFF15F50}" srcId="{915A6AE7-4F2B-4C1A-A770-74C66BA28BFA}" destId="{3C7A842B-2DE2-4C7D-ADF8-C8387D586633}" srcOrd="0" destOrd="0" parTransId="{9C535356-0D30-43F5-BFF5-8E9EF8D76521}" sibTransId="{755A0572-CF7D-44F7-A2B5-BA92AD21A5B1}"/>
    <dgm:cxn modelId="{38AA8F0F-7A13-4711-9A55-9C072A7EB01B}" srcId="{915A6AE7-4F2B-4C1A-A770-74C66BA28BFA}" destId="{C651B938-E636-4B43-BBD6-F3837F8ADB82}" srcOrd="1" destOrd="0" parTransId="{664D0001-9D21-4513-9F33-A6270E0881E5}" sibTransId="{44202A68-9B2E-4784-814A-B001CF51D2FC}"/>
    <dgm:cxn modelId="{1330D91F-7213-4507-9ED2-9043C5B70E3F}" srcId="{2FA77CEA-0CA1-441F-9A3F-50EF0862F00A}" destId="{37D45AD9-99AB-41A9-9485-14C2CE76EE6E}" srcOrd="0" destOrd="0" parTransId="{C988283A-159A-4D68-A069-8E6C78607CCC}" sibTransId="{E74627E5-F12C-4C9E-854F-A5A1CFE95816}"/>
    <dgm:cxn modelId="{49888523-E6A1-4814-BF86-9912FCB4E78D}" srcId="{2FA77CEA-0CA1-441F-9A3F-50EF0862F00A}" destId="{59AEAE44-4CB5-4EF8-A064-C3C49F58D4E7}" srcOrd="1" destOrd="0" parTransId="{234617A1-914A-4353-9EEB-4DB7B676CA54}" sibTransId="{DA385E78-C914-429B-99EF-37F3301887AE}"/>
    <dgm:cxn modelId="{D9A49C23-DD79-4D26-AF04-2CC1FF79F5D5}" srcId="{915A6AE7-4F2B-4C1A-A770-74C66BA28BFA}" destId="{2FA77CEA-0CA1-441F-9A3F-50EF0862F00A}" srcOrd="2" destOrd="0" parTransId="{66069DE0-ACF6-417C-9F4D-D03ABCCB86B6}" sibTransId="{8E9CB733-247C-42E3-844F-39713FB928AA}"/>
    <dgm:cxn modelId="{5ED01226-E59F-43EF-9FC3-508F9AABD16C}" srcId="{C651B938-E636-4B43-BBD6-F3837F8ADB82}" destId="{C0723C37-2587-4F22-AA76-B85A0612A9A8}" srcOrd="2" destOrd="0" parTransId="{79FB0501-7B10-4B61-9CA1-1AA84AFACE5F}" sibTransId="{B0CBF768-B62C-4DE8-8D03-6ED202DC0637}"/>
    <dgm:cxn modelId="{7FE00231-E2EB-45BF-875C-D792D2345C41}" type="presOf" srcId="{3C7A842B-2DE2-4C7D-ADF8-C8387D586633}" destId="{CBFD9B8F-A042-48AF-83E1-B073ECB6B84C}" srcOrd="0" destOrd="0" presId="urn:microsoft.com/office/officeart/2005/8/layout/hList1"/>
    <dgm:cxn modelId="{16CC3C40-9FE7-4661-8AE0-B7D342614AD8}" type="presOf" srcId="{2FA77CEA-0CA1-441F-9A3F-50EF0862F00A}" destId="{0F0743B9-76B9-4417-96BA-4B29AAEFE2C0}" srcOrd="0" destOrd="0" presId="urn:microsoft.com/office/officeart/2005/8/layout/hList1"/>
    <dgm:cxn modelId="{78499D5C-F259-498A-A2E4-2C518B8DD15D}" srcId="{C651B938-E636-4B43-BBD6-F3837F8ADB82}" destId="{A83299B4-8DA8-49BA-85F6-41EE2C9C2F68}" srcOrd="1" destOrd="0" parTransId="{9C585B0A-0614-4444-9FD8-EADD226898BC}" sibTransId="{01815C69-5EF7-4108-8DC5-6DF91184C6E3}"/>
    <dgm:cxn modelId="{361CB042-BD3A-4646-97B7-3DCE8F6F76D8}" type="presOf" srcId="{37D45AD9-99AB-41A9-9485-14C2CE76EE6E}" destId="{26561F3C-0483-4170-A4DD-98DC09E93992}" srcOrd="0" destOrd="0" presId="urn:microsoft.com/office/officeart/2005/8/layout/hList1"/>
    <dgm:cxn modelId="{83B98F43-D378-44A6-9817-E04B3F7731EC}" type="presOf" srcId="{02DC916A-54F5-4CFF-B304-452C13360A94}" destId="{599B9EDF-2BFD-4BEF-B552-CB5FD5EC597E}" srcOrd="0" destOrd="0" presId="urn:microsoft.com/office/officeart/2005/8/layout/hList1"/>
    <dgm:cxn modelId="{87216264-255D-4D2C-9F7F-F2CB76A1195D}" type="presOf" srcId="{59AEAE44-4CB5-4EF8-A064-C3C49F58D4E7}" destId="{26561F3C-0483-4170-A4DD-98DC09E93992}" srcOrd="0" destOrd="1" presId="urn:microsoft.com/office/officeart/2005/8/layout/hList1"/>
    <dgm:cxn modelId="{84EAB248-DDB8-4627-B883-ABCC04EF6AC5}" type="presOf" srcId="{C0723C37-2587-4F22-AA76-B85A0612A9A8}" destId="{F0F7EA4B-645E-4581-AD97-769433FA6554}" srcOrd="0" destOrd="2" presId="urn:microsoft.com/office/officeart/2005/8/layout/hList1"/>
    <dgm:cxn modelId="{BC35C76D-C14F-4D68-890A-FC41067E99F0}" type="presOf" srcId="{C651B938-E636-4B43-BBD6-F3837F8ADB82}" destId="{ADEA36E0-64E6-4BEE-AD42-DAB37DC21EDD}" srcOrd="0" destOrd="0" presId="urn:microsoft.com/office/officeart/2005/8/layout/hList1"/>
    <dgm:cxn modelId="{43B3237C-EF83-4F2C-98F3-92D6088CBBB1}" type="presOf" srcId="{10D039FD-E779-4EC4-9CF1-48ED89074231}" destId="{26561F3C-0483-4170-A4DD-98DC09E93992}" srcOrd="0" destOrd="2" presId="urn:microsoft.com/office/officeart/2005/8/layout/hList1"/>
    <dgm:cxn modelId="{16768292-19E4-4423-8772-8A4E4C4527BA}" type="presOf" srcId="{A83299B4-8DA8-49BA-85F6-41EE2C9C2F68}" destId="{F0F7EA4B-645E-4581-AD97-769433FA6554}" srcOrd="0" destOrd="1" presId="urn:microsoft.com/office/officeart/2005/8/layout/hList1"/>
    <dgm:cxn modelId="{8C0B689C-A699-47A5-98BD-B1FAA648FBC6}" srcId="{3C7A842B-2DE2-4C7D-ADF8-C8387D586633}" destId="{1F5BE414-C459-44F6-B9FF-52DEE5736A28}" srcOrd="2" destOrd="0" parTransId="{87E7C702-F585-425F-AAF0-90A6A6D325D2}" sibTransId="{27257204-BB0E-4966-BA67-7379A16EC70B}"/>
    <dgm:cxn modelId="{B0561FD4-5C18-433A-87B3-9BC911100A1D}" srcId="{3C7A842B-2DE2-4C7D-ADF8-C8387D586633}" destId="{E9819B75-18B6-43AF-878B-CBFD21F954E8}" srcOrd="1" destOrd="0" parTransId="{45AF5F75-D8EC-414E-8E47-720CE49AF033}" sibTransId="{69DA0283-9EEE-4979-ADF6-9B971EAE0F03}"/>
    <dgm:cxn modelId="{705E1BDD-3912-433B-B40E-098A2E187265}" srcId="{3C7A842B-2DE2-4C7D-ADF8-C8387D586633}" destId="{02DC916A-54F5-4CFF-B304-452C13360A94}" srcOrd="0" destOrd="0" parTransId="{E4A69DB6-CF49-4691-A213-D1D92D42BC66}" sibTransId="{0F1C06A0-3E2B-4BF2-9B79-C222E552ECD2}"/>
    <dgm:cxn modelId="{B6E127DE-4F45-4706-9788-0B3B7F0714AD}" srcId="{C651B938-E636-4B43-BBD6-F3837F8ADB82}" destId="{84C9995C-DBA5-4326-9867-2F398FF5375C}" srcOrd="0" destOrd="0" parTransId="{87F03E02-0EFE-473B-9ABD-D4A2F4565315}" sibTransId="{2417ED5A-A388-40EC-A061-5051690FA2F1}"/>
    <dgm:cxn modelId="{2DC39CE7-CA12-4DC9-885F-F8C473F73702}" type="presOf" srcId="{915A6AE7-4F2B-4C1A-A770-74C66BA28BFA}" destId="{90406130-FDB6-49D4-BABF-F7C757A0E755}" srcOrd="0" destOrd="0" presId="urn:microsoft.com/office/officeart/2005/8/layout/hList1"/>
    <dgm:cxn modelId="{C37528EA-2F56-4CF6-8CF9-00592F46B6E0}" type="presOf" srcId="{84C9995C-DBA5-4326-9867-2F398FF5375C}" destId="{F0F7EA4B-645E-4581-AD97-769433FA6554}" srcOrd="0" destOrd="0" presId="urn:microsoft.com/office/officeart/2005/8/layout/hList1"/>
    <dgm:cxn modelId="{70DE59EC-8583-4B8A-A925-51D976CD0980}" srcId="{2FA77CEA-0CA1-441F-9A3F-50EF0862F00A}" destId="{10D039FD-E779-4EC4-9CF1-48ED89074231}" srcOrd="2" destOrd="0" parTransId="{68A511D0-BC2B-4A2F-8D32-342AFAFD6DAD}" sibTransId="{CB850080-AE8E-40BC-A655-F97924F90004}"/>
    <dgm:cxn modelId="{F8B7A2FB-6C25-4084-AFB3-D5975CD0542B}" type="presOf" srcId="{1F5BE414-C459-44F6-B9FF-52DEE5736A28}" destId="{599B9EDF-2BFD-4BEF-B552-CB5FD5EC597E}" srcOrd="0" destOrd="2" presId="urn:microsoft.com/office/officeart/2005/8/layout/hList1"/>
    <dgm:cxn modelId="{F6611501-F84E-40A1-A93E-FF71D3180BE0}" type="presParOf" srcId="{90406130-FDB6-49D4-BABF-F7C757A0E755}" destId="{5B164E18-813F-48B5-A22E-9D4F1C74B94D}" srcOrd="0" destOrd="0" presId="urn:microsoft.com/office/officeart/2005/8/layout/hList1"/>
    <dgm:cxn modelId="{7704A7DF-150D-43AC-A654-B96B4D5B1E0E}" type="presParOf" srcId="{5B164E18-813F-48B5-A22E-9D4F1C74B94D}" destId="{CBFD9B8F-A042-48AF-83E1-B073ECB6B84C}" srcOrd="0" destOrd="0" presId="urn:microsoft.com/office/officeart/2005/8/layout/hList1"/>
    <dgm:cxn modelId="{F280A3FC-EE53-4498-A20D-A07FB3B87969}" type="presParOf" srcId="{5B164E18-813F-48B5-A22E-9D4F1C74B94D}" destId="{599B9EDF-2BFD-4BEF-B552-CB5FD5EC597E}" srcOrd="1" destOrd="0" presId="urn:microsoft.com/office/officeart/2005/8/layout/hList1"/>
    <dgm:cxn modelId="{239A0969-C658-4B98-8F57-F4B30625CCF7}" type="presParOf" srcId="{90406130-FDB6-49D4-BABF-F7C757A0E755}" destId="{08F67BB0-6186-48CB-8837-82381AF519CF}" srcOrd="1" destOrd="0" presId="urn:microsoft.com/office/officeart/2005/8/layout/hList1"/>
    <dgm:cxn modelId="{5CA52512-CF6B-4292-B324-6584690207C1}" type="presParOf" srcId="{90406130-FDB6-49D4-BABF-F7C757A0E755}" destId="{2F77297F-DB7D-4467-BE52-DFC8CE4A1C26}" srcOrd="2" destOrd="0" presId="urn:microsoft.com/office/officeart/2005/8/layout/hList1"/>
    <dgm:cxn modelId="{146EA112-9FA2-4F40-B15B-04C7E393D026}" type="presParOf" srcId="{2F77297F-DB7D-4467-BE52-DFC8CE4A1C26}" destId="{ADEA36E0-64E6-4BEE-AD42-DAB37DC21EDD}" srcOrd="0" destOrd="0" presId="urn:microsoft.com/office/officeart/2005/8/layout/hList1"/>
    <dgm:cxn modelId="{2B22A86B-6488-4A3D-9E09-480F49D29849}" type="presParOf" srcId="{2F77297F-DB7D-4467-BE52-DFC8CE4A1C26}" destId="{F0F7EA4B-645E-4581-AD97-769433FA6554}" srcOrd="1" destOrd="0" presId="urn:microsoft.com/office/officeart/2005/8/layout/hList1"/>
    <dgm:cxn modelId="{551AFA51-FAEC-45DE-98D2-900373C11E88}" type="presParOf" srcId="{90406130-FDB6-49D4-BABF-F7C757A0E755}" destId="{67B853E0-A8C2-47B9-AEA8-172A7AC37267}" srcOrd="3" destOrd="0" presId="urn:microsoft.com/office/officeart/2005/8/layout/hList1"/>
    <dgm:cxn modelId="{F0CFB166-DAA3-43EA-BDB8-8365902B78CD}" type="presParOf" srcId="{90406130-FDB6-49D4-BABF-F7C757A0E755}" destId="{57BA0125-AC7E-4638-99E1-A06ADB513485}" srcOrd="4" destOrd="0" presId="urn:microsoft.com/office/officeart/2005/8/layout/hList1"/>
    <dgm:cxn modelId="{ECA5796C-8DD9-4555-A1E1-1A4DB30A811F}" type="presParOf" srcId="{57BA0125-AC7E-4638-99E1-A06ADB513485}" destId="{0F0743B9-76B9-4417-96BA-4B29AAEFE2C0}" srcOrd="0" destOrd="0" presId="urn:microsoft.com/office/officeart/2005/8/layout/hList1"/>
    <dgm:cxn modelId="{C4B1C142-4439-48E1-97F6-457158AE053F}" type="presParOf" srcId="{57BA0125-AC7E-4638-99E1-A06ADB513485}" destId="{26561F3C-0483-4170-A4DD-98DC09E93992}"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4">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a:t>Visual Studio</a:t>
          </a:r>
        </a:p>
      </dsp:txBody>
      <dsp:txXfrm>
        <a:off x="417278" y="443104"/>
        <a:ext cx="1235231" cy="823487"/>
      </dsp:txXfrm>
    </dsp:sp>
    <dsp:sp modelId="{2C588BCE-CC18-4967-8702-B993E5636824}">
      <dsp:nvSpPr>
        <dsp:cNvPr id="0" name=""/>
        <dsp:cNvSpPr/>
      </dsp:nvSpPr>
      <dsp:spPr>
        <a:xfrm>
          <a:off x="1858381" y="443104"/>
          <a:ext cx="2058718" cy="823487"/>
        </a:xfrm>
        <a:prstGeom prst="chevron">
          <a:avLst/>
        </a:prstGeom>
        <a:solidFill>
          <a:schemeClr val="accent4">
            <a:alpha val="90000"/>
            <a:hueOff val="0"/>
            <a:satOff val="0"/>
            <a:lumOff val="0"/>
            <a:alphaOff val="-8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7336" rIns="0" bIns="17336" numCol="1" spcCol="1270" anchor="ctr" anchorCtr="0">
          <a:noAutofit/>
        </a:bodyPr>
        <a:lstStyle/>
        <a:p>
          <a:pPr marL="0" lvl="0" indent="0" algn="ctr" defTabSz="577850">
            <a:lnSpc>
              <a:spcPct val="90000"/>
            </a:lnSpc>
            <a:spcBef>
              <a:spcPct val="0"/>
            </a:spcBef>
            <a:spcAft>
              <a:spcPct val="35000"/>
            </a:spcAft>
            <a:buNone/>
          </a:pPr>
          <a:r>
            <a:rPr lang="en-US" sz="1300" b="1" kern="1200"/>
            <a:t>Team Foundation Version Control</a:t>
          </a:r>
        </a:p>
      </dsp:txBody>
      <dsp:txXfrm>
        <a:off x="2270125" y="443104"/>
        <a:ext cx="1235231" cy="823487"/>
      </dsp:txXfrm>
    </dsp:sp>
    <dsp:sp modelId="{B4831151-7A6C-4D1F-B71A-8C517E60ED6D}">
      <dsp:nvSpPr>
        <dsp:cNvPr id="0" name=""/>
        <dsp:cNvSpPr/>
      </dsp:nvSpPr>
      <dsp:spPr>
        <a:xfrm>
          <a:off x="3711228" y="443104"/>
          <a:ext cx="2058718" cy="823487"/>
        </a:xfrm>
        <a:prstGeom prst="chevron">
          <a:avLst/>
        </a:prstGeom>
        <a:solidFill>
          <a:schemeClr val="accent4">
            <a:alpha val="90000"/>
            <a:hueOff val="0"/>
            <a:satOff val="0"/>
            <a:lumOff val="0"/>
            <a:alphaOff val="-1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VS Team Services</a:t>
          </a:r>
        </a:p>
      </dsp:txBody>
      <dsp:txXfrm>
        <a:off x="4122972" y="443104"/>
        <a:ext cx="1235231" cy="823487"/>
      </dsp:txXfrm>
    </dsp:sp>
    <dsp:sp modelId="{88C299BB-0E1B-4A9A-853D-D3B97BE435E1}">
      <dsp:nvSpPr>
        <dsp:cNvPr id="0" name=""/>
        <dsp:cNvSpPr/>
      </dsp:nvSpPr>
      <dsp:spPr>
        <a:xfrm>
          <a:off x="5564075" y="443104"/>
          <a:ext cx="2058718" cy="823487"/>
        </a:xfrm>
        <a:prstGeom prst="chevron">
          <a:avLst/>
        </a:prstGeom>
        <a:solidFill>
          <a:schemeClr val="accent4">
            <a:alpha val="90000"/>
            <a:hueOff val="0"/>
            <a:satOff val="0"/>
            <a:lumOff val="0"/>
            <a:alphaOff val="-24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Azure Resource Manager</a:t>
          </a:r>
        </a:p>
      </dsp:txBody>
      <dsp:txXfrm>
        <a:off x="5975819" y="443104"/>
        <a:ext cx="1235231" cy="823487"/>
      </dsp:txXfrm>
    </dsp:sp>
    <dsp:sp modelId="{CBEA60FF-C53B-4A3F-B99D-A151A88E59F7}">
      <dsp:nvSpPr>
        <dsp:cNvPr id="0" name=""/>
        <dsp:cNvSpPr/>
      </dsp:nvSpPr>
      <dsp:spPr>
        <a:xfrm>
          <a:off x="7416922" y="443104"/>
          <a:ext cx="2058718" cy="823487"/>
        </a:xfrm>
        <a:prstGeom prst="chevron">
          <a:avLst/>
        </a:prstGeom>
        <a:solidFill>
          <a:schemeClr val="accent4">
            <a:alpha val="90000"/>
            <a:hueOff val="0"/>
            <a:satOff val="0"/>
            <a:lumOff val="0"/>
            <a:alphaOff val="-32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b="1" kern="1200"/>
            <a:t>Azure</a:t>
          </a:r>
        </a:p>
      </dsp:txBody>
      <dsp:txXfrm>
        <a:off x="7828666" y="443104"/>
        <a:ext cx="1235231" cy="823487"/>
      </dsp:txXfrm>
    </dsp:sp>
    <dsp:sp modelId="{F732AB74-57BC-440E-B6CA-6D3F8F40FA69}">
      <dsp:nvSpPr>
        <dsp:cNvPr id="0" name=""/>
        <dsp:cNvSpPr/>
      </dsp:nvSpPr>
      <dsp:spPr>
        <a:xfrm>
          <a:off x="9269768" y="443104"/>
          <a:ext cx="2058718" cy="823487"/>
        </a:xfrm>
        <a:prstGeom prst="chevron">
          <a:avLst/>
        </a:prstGeom>
        <a:solidFill>
          <a:schemeClr val="accent4">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Windows /</a:t>
          </a:r>
        </a:p>
        <a:p>
          <a:pPr marL="0" lvl="0" indent="0" algn="ctr" defTabSz="755650">
            <a:lnSpc>
              <a:spcPct val="90000"/>
            </a:lnSpc>
            <a:spcBef>
              <a:spcPct val="0"/>
            </a:spcBef>
            <a:spcAft>
              <a:spcPct val="35000"/>
            </a:spcAft>
            <a:buNone/>
          </a:pPr>
          <a:r>
            <a:rPr lang="en-US" sz="1700" b="1" kern="1200"/>
            <a:t>.NET</a:t>
          </a:r>
        </a:p>
      </dsp:txBody>
      <dsp:txXfrm>
        <a:off x="9681512" y="443104"/>
        <a:ext cx="1235231" cy="8234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Eclipse / Jira</a:t>
          </a:r>
        </a:p>
      </dsp:txBody>
      <dsp:txXfrm>
        <a:off x="417278" y="443104"/>
        <a:ext cx="1235231" cy="823487"/>
      </dsp:txXfrm>
    </dsp:sp>
    <dsp:sp modelId="{135D8788-8C83-45CD-BE78-15E6F0BBEDC3}">
      <dsp:nvSpPr>
        <dsp:cNvPr id="0" name=""/>
        <dsp:cNvSpPr/>
      </dsp:nvSpPr>
      <dsp:spPr>
        <a:xfrm>
          <a:off x="1858381" y="443104"/>
          <a:ext cx="2058718" cy="823487"/>
        </a:xfrm>
        <a:prstGeom prst="chevron">
          <a:avLst/>
        </a:prstGeom>
        <a:solidFill>
          <a:schemeClr val="accent2">
            <a:shade val="80000"/>
            <a:hueOff val="145295"/>
            <a:satOff val="-18794"/>
            <a:lumOff val="934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Git / Github</a:t>
          </a:r>
        </a:p>
      </dsp:txBody>
      <dsp:txXfrm>
        <a:off x="2270125" y="443104"/>
        <a:ext cx="1235231" cy="823487"/>
      </dsp:txXfrm>
    </dsp:sp>
    <dsp:sp modelId="{76138B72-4ABC-42DE-B34A-7F2ECDEC7FB8}">
      <dsp:nvSpPr>
        <dsp:cNvPr id="0" name=""/>
        <dsp:cNvSpPr/>
      </dsp:nvSpPr>
      <dsp:spPr>
        <a:xfrm>
          <a:off x="3711228" y="443104"/>
          <a:ext cx="2058718" cy="823487"/>
        </a:xfrm>
        <a:prstGeom prst="chevron">
          <a:avLst/>
        </a:prstGeom>
        <a:solidFill>
          <a:schemeClr val="accent2">
            <a:shade val="80000"/>
            <a:hueOff val="290591"/>
            <a:satOff val="-37588"/>
            <a:lumOff val="1868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Jenkins</a:t>
          </a:r>
        </a:p>
      </dsp:txBody>
      <dsp:txXfrm>
        <a:off x="4122972" y="443104"/>
        <a:ext cx="1235231" cy="823487"/>
      </dsp:txXfrm>
    </dsp:sp>
    <dsp:sp modelId="{36323BFE-BCE8-4CE7-9894-CF841DD2C721}">
      <dsp:nvSpPr>
        <dsp:cNvPr id="0" name=""/>
        <dsp:cNvSpPr/>
      </dsp:nvSpPr>
      <dsp:spPr>
        <a:xfrm>
          <a:off x="5564075" y="443104"/>
          <a:ext cx="2058718" cy="823487"/>
        </a:xfrm>
        <a:prstGeom prst="chevron">
          <a:avLst/>
        </a:prstGeom>
        <a:solidFill>
          <a:schemeClr val="accent2">
            <a:shade val="80000"/>
            <a:hueOff val="435886"/>
            <a:satOff val="-56381"/>
            <a:lumOff val="2802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Chef / Puppet</a:t>
          </a:r>
        </a:p>
      </dsp:txBody>
      <dsp:txXfrm>
        <a:off x="5975819" y="443104"/>
        <a:ext cx="1235231" cy="823487"/>
      </dsp:txXfrm>
    </dsp:sp>
    <dsp:sp modelId="{EA910D9F-AF87-4B57-9ABD-3E90AC52B2AA}">
      <dsp:nvSpPr>
        <dsp:cNvPr id="0" name=""/>
        <dsp:cNvSpPr/>
      </dsp:nvSpPr>
      <dsp:spPr>
        <a:xfrm>
          <a:off x="7416922" y="443104"/>
          <a:ext cx="2058718" cy="823487"/>
        </a:xfrm>
        <a:prstGeom prst="chevron">
          <a:avLst/>
        </a:prstGeom>
        <a:solidFill>
          <a:schemeClr val="accent2">
            <a:shade val="80000"/>
            <a:hueOff val="581181"/>
            <a:satOff val="-75175"/>
            <a:lumOff val="373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AWS</a:t>
          </a:r>
        </a:p>
      </dsp:txBody>
      <dsp:txXfrm>
        <a:off x="7828666" y="443104"/>
        <a:ext cx="1235231" cy="823487"/>
      </dsp:txXfrm>
    </dsp:sp>
    <dsp:sp modelId="{C7E484C5-4628-4E69-A8D7-220642FEFD3D}">
      <dsp:nvSpPr>
        <dsp:cNvPr id="0" name=""/>
        <dsp:cNvSpPr/>
      </dsp:nvSpPr>
      <dsp:spPr>
        <a:xfrm>
          <a:off x="9269768" y="443104"/>
          <a:ext cx="2058718" cy="823487"/>
        </a:xfrm>
        <a:prstGeom prst="chevron">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Linux Java/Node</a:t>
          </a:r>
        </a:p>
      </dsp:txBody>
      <dsp:txXfrm>
        <a:off x="9681512" y="443104"/>
        <a:ext cx="1235231" cy="8234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4">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a:t>Visual Studio</a:t>
          </a:r>
        </a:p>
      </dsp:txBody>
      <dsp:txXfrm>
        <a:off x="417278" y="443104"/>
        <a:ext cx="1235231" cy="823487"/>
      </dsp:txXfrm>
    </dsp:sp>
    <dsp:sp modelId="{2C588BCE-CC18-4967-8702-B993E5636824}">
      <dsp:nvSpPr>
        <dsp:cNvPr id="0" name=""/>
        <dsp:cNvSpPr/>
      </dsp:nvSpPr>
      <dsp:spPr>
        <a:xfrm>
          <a:off x="1858381" y="443104"/>
          <a:ext cx="2058718" cy="823487"/>
        </a:xfrm>
        <a:prstGeom prst="chevron">
          <a:avLst/>
        </a:prstGeom>
        <a:solidFill>
          <a:schemeClr val="accent4">
            <a:alpha val="90000"/>
            <a:hueOff val="0"/>
            <a:satOff val="0"/>
            <a:lumOff val="0"/>
            <a:alphaOff val="-8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7336" rIns="0" bIns="17336" numCol="1" spcCol="1270" anchor="ctr" anchorCtr="0">
          <a:noAutofit/>
        </a:bodyPr>
        <a:lstStyle/>
        <a:p>
          <a:pPr marL="0" lvl="0" indent="0" algn="ctr" defTabSz="577850">
            <a:lnSpc>
              <a:spcPct val="90000"/>
            </a:lnSpc>
            <a:spcBef>
              <a:spcPct val="0"/>
            </a:spcBef>
            <a:spcAft>
              <a:spcPct val="35000"/>
            </a:spcAft>
            <a:buNone/>
          </a:pPr>
          <a:r>
            <a:rPr lang="en-US" sz="1300" b="1" kern="1200"/>
            <a:t>Team Foundation Version Control</a:t>
          </a:r>
        </a:p>
      </dsp:txBody>
      <dsp:txXfrm>
        <a:off x="2270125" y="443104"/>
        <a:ext cx="1235231" cy="823487"/>
      </dsp:txXfrm>
    </dsp:sp>
    <dsp:sp modelId="{B4831151-7A6C-4D1F-B71A-8C517E60ED6D}">
      <dsp:nvSpPr>
        <dsp:cNvPr id="0" name=""/>
        <dsp:cNvSpPr/>
      </dsp:nvSpPr>
      <dsp:spPr>
        <a:xfrm>
          <a:off x="3711228" y="443104"/>
          <a:ext cx="2058718" cy="823487"/>
        </a:xfrm>
        <a:prstGeom prst="chevron">
          <a:avLst/>
        </a:prstGeom>
        <a:solidFill>
          <a:schemeClr val="accent4">
            <a:alpha val="90000"/>
            <a:hueOff val="0"/>
            <a:satOff val="0"/>
            <a:lumOff val="0"/>
            <a:alphaOff val="-1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VS Team Services</a:t>
          </a:r>
        </a:p>
      </dsp:txBody>
      <dsp:txXfrm>
        <a:off x="4122972" y="443104"/>
        <a:ext cx="1235231" cy="823487"/>
      </dsp:txXfrm>
    </dsp:sp>
    <dsp:sp modelId="{88C299BB-0E1B-4A9A-853D-D3B97BE435E1}">
      <dsp:nvSpPr>
        <dsp:cNvPr id="0" name=""/>
        <dsp:cNvSpPr/>
      </dsp:nvSpPr>
      <dsp:spPr>
        <a:xfrm>
          <a:off x="5564075" y="443104"/>
          <a:ext cx="2058718" cy="823487"/>
        </a:xfrm>
        <a:prstGeom prst="chevron">
          <a:avLst/>
        </a:prstGeom>
        <a:solidFill>
          <a:schemeClr val="accent4">
            <a:alpha val="90000"/>
            <a:hueOff val="0"/>
            <a:satOff val="0"/>
            <a:lumOff val="0"/>
            <a:alphaOff val="-24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Azure Resource Manager</a:t>
          </a:r>
        </a:p>
      </dsp:txBody>
      <dsp:txXfrm>
        <a:off x="5975819" y="443104"/>
        <a:ext cx="1235231" cy="823487"/>
      </dsp:txXfrm>
    </dsp:sp>
    <dsp:sp modelId="{CBEA60FF-C53B-4A3F-B99D-A151A88E59F7}">
      <dsp:nvSpPr>
        <dsp:cNvPr id="0" name=""/>
        <dsp:cNvSpPr/>
      </dsp:nvSpPr>
      <dsp:spPr>
        <a:xfrm>
          <a:off x="7416922" y="443104"/>
          <a:ext cx="2058718" cy="823487"/>
        </a:xfrm>
        <a:prstGeom prst="chevron">
          <a:avLst/>
        </a:prstGeom>
        <a:solidFill>
          <a:schemeClr val="accent4">
            <a:alpha val="90000"/>
            <a:hueOff val="0"/>
            <a:satOff val="0"/>
            <a:lumOff val="0"/>
            <a:alphaOff val="-32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b="1" kern="1200"/>
            <a:t>Azure</a:t>
          </a:r>
        </a:p>
      </dsp:txBody>
      <dsp:txXfrm>
        <a:off x="7828666" y="443104"/>
        <a:ext cx="1235231" cy="823487"/>
      </dsp:txXfrm>
    </dsp:sp>
    <dsp:sp modelId="{F732AB74-57BC-440E-B6CA-6D3F8F40FA69}">
      <dsp:nvSpPr>
        <dsp:cNvPr id="0" name=""/>
        <dsp:cNvSpPr/>
      </dsp:nvSpPr>
      <dsp:spPr>
        <a:xfrm>
          <a:off x="9269768" y="443104"/>
          <a:ext cx="2058718" cy="823487"/>
        </a:xfrm>
        <a:prstGeom prst="chevron">
          <a:avLst/>
        </a:prstGeom>
        <a:solidFill>
          <a:schemeClr val="accent4">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Windows /</a:t>
          </a:r>
        </a:p>
        <a:p>
          <a:pPr marL="0" lvl="0" indent="0" algn="ctr" defTabSz="755650">
            <a:lnSpc>
              <a:spcPct val="90000"/>
            </a:lnSpc>
            <a:spcBef>
              <a:spcPct val="0"/>
            </a:spcBef>
            <a:spcAft>
              <a:spcPct val="35000"/>
            </a:spcAft>
            <a:buNone/>
          </a:pPr>
          <a:r>
            <a:rPr lang="en-US" sz="1700" b="1" kern="1200"/>
            <a:t>.NET</a:t>
          </a:r>
        </a:p>
      </dsp:txBody>
      <dsp:txXfrm>
        <a:off x="9681512" y="443104"/>
        <a:ext cx="1235231" cy="8234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D9B8F-A042-48AF-83E1-B073ECB6B84C}">
      <dsp:nvSpPr>
        <dsp:cNvPr id="0" name=""/>
        <dsp:cNvSpPr/>
      </dsp:nvSpPr>
      <dsp:spPr>
        <a:xfrm>
          <a:off x="2590" y="62053"/>
          <a:ext cx="2526158" cy="576000"/>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   Agile Tools</a:t>
          </a:r>
        </a:p>
      </dsp:txBody>
      <dsp:txXfrm>
        <a:off x="2590" y="62053"/>
        <a:ext cx="2526158" cy="576000"/>
      </dsp:txXfrm>
    </dsp:sp>
    <dsp:sp modelId="{599B9EDF-2BFD-4BEF-B552-CB5FD5EC597E}">
      <dsp:nvSpPr>
        <dsp:cNvPr id="0" name=""/>
        <dsp:cNvSpPr/>
      </dsp:nvSpPr>
      <dsp:spPr>
        <a:xfrm>
          <a:off x="2590" y="638053"/>
          <a:ext cx="2526158" cy="1612687"/>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Kanban boards</a:t>
          </a:r>
        </a:p>
        <a:p>
          <a:pPr marL="228600" lvl="1" indent="-228600" algn="l" defTabSz="889000">
            <a:lnSpc>
              <a:spcPct val="90000"/>
            </a:lnSpc>
            <a:spcBef>
              <a:spcPct val="0"/>
            </a:spcBef>
            <a:spcAft>
              <a:spcPct val="15000"/>
            </a:spcAft>
            <a:buChar char="•"/>
          </a:pPr>
          <a:r>
            <a:rPr lang="en-US" sz="2000" kern="1200"/>
            <a:t>Backlogs</a:t>
          </a:r>
        </a:p>
        <a:p>
          <a:pPr marL="228600" lvl="1" indent="-228600" algn="l" defTabSz="889000">
            <a:lnSpc>
              <a:spcPct val="90000"/>
            </a:lnSpc>
            <a:spcBef>
              <a:spcPct val="0"/>
            </a:spcBef>
            <a:spcAft>
              <a:spcPct val="15000"/>
            </a:spcAft>
            <a:buChar char="•"/>
          </a:pPr>
          <a:r>
            <a:rPr lang="en-US" sz="2000" kern="1200"/>
            <a:t>Dashboard</a:t>
          </a:r>
        </a:p>
      </dsp:txBody>
      <dsp:txXfrm>
        <a:off x="2590" y="638053"/>
        <a:ext cx="2526158" cy="1612687"/>
      </dsp:txXfrm>
    </dsp:sp>
    <dsp:sp modelId="{0F0743B9-76B9-4417-96BA-4B29AAEFE2C0}">
      <dsp:nvSpPr>
        <dsp:cNvPr id="0" name=""/>
        <dsp:cNvSpPr/>
      </dsp:nvSpPr>
      <dsp:spPr>
        <a:xfrm>
          <a:off x="2882412" y="62053"/>
          <a:ext cx="2526158" cy="576000"/>
        </a:xfrm>
        <a:prstGeom prst="rect">
          <a:avLst/>
        </a:prstGeom>
        <a:solidFill>
          <a:schemeClr val="accent2">
            <a:hueOff val="-5994435"/>
            <a:satOff val="-455"/>
            <a:lumOff val="13431"/>
            <a:alphaOff val="0"/>
          </a:schemeClr>
        </a:solidFill>
        <a:ln w="10795" cap="flat" cmpd="sng" algn="ctr">
          <a:solidFill>
            <a:schemeClr val="accent2">
              <a:hueOff val="-5994435"/>
              <a:satOff val="-455"/>
              <a:lumOff val="1343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      Source Control</a:t>
          </a:r>
        </a:p>
      </dsp:txBody>
      <dsp:txXfrm>
        <a:off x="2882412" y="62053"/>
        <a:ext cx="2526158" cy="576000"/>
      </dsp:txXfrm>
    </dsp:sp>
    <dsp:sp modelId="{26561F3C-0483-4170-A4DD-98DC09E93992}">
      <dsp:nvSpPr>
        <dsp:cNvPr id="0" name=""/>
        <dsp:cNvSpPr/>
      </dsp:nvSpPr>
      <dsp:spPr>
        <a:xfrm>
          <a:off x="2882412" y="638053"/>
          <a:ext cx="2526158" cy="1612687"/>
        </a:xfrm>
        <a:prstGeom prst="rect">
          <a:avLst/>
        </a:prstGeom>
        <a:solidFill>
          <a:schemeClr val="accent2">
            <a:tint val="40000"/>
            <a:alpha val="90000"/>
            <a:hueOff val="-6744979"/>
            <a:satOff val="25508"/>
            <a:lumOff val="3159"/>
            <a:alphaOff val="0"/>
          </a:schemeClr>
        </a:solidFill>
        <a:ln w="10795" cap="flat" cmpd="sng" algn="ctr">
          <a:solidFill>
            <a:schemeClr val="accent2">
              <a:tint val="40000"/>
              <a:alpha val="90000"/>
              <a:hueOff val="-6744979"/>
              <a:satOff val="25508"/>
              <a:lumOff val="315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Git</a:t>
          </a:r>
        </a:p>
        <a:p>
          <a:pPr marL="228600" lvl="1" indent="-228600" algn="l" defTabSz="889000">
            <a:lnSpc>
              <a:spcPct val="90000"/>
            </a:lnSpc>
            <a:spcBef>
              <a:spcPct val="0"/>
            </a:spcBef>
            <a:spcAft>
              <a:spcPct val="15000"/>
            </a:spcAft>
            <a:buChar char="•"/>
          </a:pPr>
          <a:r>
            <a:rPr lang="en-US" sz="2000" kern="1200"/>
            <a:t>TFVC</a:t>
          </a:r>
        </a:p>
        <a:p>
          <a:pPr marL="228600" lvl="1" indent="-228600" algn="l" defTabSz="889000">
            <a:lnSpc>
              <a:spcPct val="90000"/>
            </a:lnSpc>
            <a:spcBef>
              <a:spcPct val="0"/>
            </a:spcBef>
            <a:spcAft>
              <a:spcPct val="15000"/>
            </a:spcAft>
            <a:buChar char="•"/>
          </a:pPr>
          <a:r>
            <a:rPr lang="en-US" sz="2000" kern="1200" err="1"/>
            <a:t>Github</a:t>
          </a:r>
          <a:endParaRPr lang="en-US" sz="2000" kern="1200"/>
        </a:p>
      </dsp:txBody>
      <dsp:txXfrm>
        <a:off x="2882412" y="638053"/>
        <a:ext cx="2526158" cy="1612687"/>
      </dsp:txXfrm>
    </dsp:sp>
    <dsp:sp modelId="{E0BB3C78-FDAA-4658-807F-CA3B842D013A}">
      <dsp:nvSpPr>
        <dsp:cNvPr id="0" name=""/>
        <dsp:cNvSpPr/>
      </dsp:nvSpPr>
      <dsp:spPr>
        <a:xfrm>
          <a:off x="5762233" y="62053"/>
          <a:ext cx="2526158" cy="576000"/>
        </a:xfrm>
        <a:prstGeom prst="rect">
          <a:avLst/>
        </a:prstGeom>
        <a:solidFill>
          <a:schemeClr val="accent2">
            <a:hueOff val="-11988871"/>
            <a:satOff val="-911"/>
            <a:lumOff val="26861"/>
            <a:alphaOff val="0"/>
          </a:schemeClr>
        </a:solidFill>
        <a:ln w="10795" cap="flat" cmpd="sng" algn="ctr">
          <a:solidFill>
            <a:schemeClr val="accent2">
              <a:hueOff val="-11988871"/>
              <a:satOff val="-911"/>
              <a:lumOff val="2686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Test</a:t>
          </a:r>
        </a:p>
      </dsp:txBody>
      <dsp:txXfrm>
        <a:off x="5762233" y="62053"/>
        <a:ext cx="2526158" cy="576000"/>
      </dsp:txXfrm>
    </dsp:sp>
    <dsp:sp modelId="{3E649BBE-5438-4860-AA42-0BE953632007}">
      <dsp:nvSpPr>
        <dsp:cNvPr id="0" name=""/>
        <dsp:cNvSpPr/>
      </dsp:nvSpPr>
      <dsp:spPr>
        <a:xfrm>
          <a:off x="5762233" y="638053"/>
          <a:ext cx="2526158" cy="1612687"/>
        </a:xfrm>
        <a:prstGeom prst="rect">
          <a:avLst/>
        </a:prstGeom>
        <a:solidFill>
          <a:schemeClr val="accent2">
            <a:tint val="40000"/>
            <a:alpha val="90000"/>
            <a:hueOff val="-13489958"/>
            <a:satOff val="51017"/>
            <a:lumOff val="6318"/>
            <a:alphaOff val="0"/>
          </a:schemeClr>
        </a:solidFill>
        <a:ln w="10795" cap="flat" cmpd="sng" algn="ctr">
          <a:solidFill>
            <a:schemeClr val="accent2">
              <a:tint val="40000"/>
              <a:alpha val="90000"/>
              <a:hueOff val="-13489958"/>
              <a:satOff val="51017"/>
              <a:lumOff val="631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Load testing</a:t>
          </a:r>
        </a:p>
        <a:p>
          <a:pPr marL="228600" lvl="1" indent="-228600" algn="l" defTabSz="889000">
            <a:lnSpc>
              <a:spcPct val="90000"/>
            </a:lnSpc>
            <a:spcBef>
              <a:spcPct val="0"/>
            </a:spcBef>
            <a:spcAft>
              <a:spcPct val="15000"/>
            </a:spcAft>
            <a:buChar char="•"/>
          </a:pPr>
          <a:r>
            <a:rPr lang="en-US" sz="2000" kern="1200"/>
            <a:t>Continuous testing</a:t>
          </a:r>
        </a:p>
        <a:p>
          <a:pPr marL="228600" lvl="1" indent="-228600" algn="l" defTabSz="889000">
            <a:lnSpc>
              <a:spcPct val="90000"/>
            </a:lnSpc>
            <a:spcBef>
              <a:spcPct val="0"/>
            </a:spcBef>
            <a:spcAft>
              <a:spcPct val="15000"/>
            </a:spcAft>
            <a:buChar char="•"/>
          </a:pPr>
          <a:r>
            <a:rPr lang="en-US" sz="2000" kern="1200"/>
            <a:t>Manual test plans</a:t>
          </a:r>
        </a:p>
      </dsp:txBody>
      <dsp:txXfrm>
        <a:off x="5762233" y="638053"/>
        <a:ext cx="2526158" cy="16126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D9B8F-A042-48AF-83E1-B073ECB6B84C}">
      <dsp:nvSpPr>
        <dsp:cNvPr id="0" name=""/>
        <dsp:cNvSpPr/>
      </dsp:nvSpPr>
      <dsp:spPr>
        <a:xfrm>
          <a:off x="2590" y="7336"/>
          <a:ext cx="2526158" cy="604800"/>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Package </a:t>
          </a:r>
          <a:r>
            <a:rPr lang="en-US" sz="2100" kern="1200" err="1"/>
            <a:t>Mgmt</a:t>
          </a:r>
          <a:endParaRPr lang="en-US" sz="2100" kern="1200"/>
        </a:p>
      </dsp:txBody>
      <dsp:txXfrm>
        <a:off x="2590" y="7336"/>
        <a:ext cx="2526158" cy="604800"/>
      </dsp:txXfrm>
    </dsp:sp>
    <dsp:sp modelId="{599B9EDF-2BFD-4BEF-B552-CB5FD5EC597E}">
      <dsp:nvSpPr>
        <dsp:cNvPr id="0" name=""/>
        <dsp:cNvSpPr/>
      </dsp:nvSpPr>
      <dsp:spPr>
        <a:xfrm>
          <a:off x="2590" y="612136"/>
          <a:ext cx="2526158" cy="1693321"/>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Cloud hosted</a:t>
          </a:r>
        </a:p>
        <a:p>
          <a:pPr marL="228600" lvl="1" indent="-228600" algn="l" defTabSz="933450">
            <a:lnSpc>
              <a:spcPct val="90000"/>
            </a:lnSpc>
            <a:spcBef>
              <a:spcPct val="0"/>
            </a:spcBef>
            <a:spcAft>
              <a:spcPct val="15000"/>
            </a:spcAft>
            <a:buChar char="•"/>
          </a:pPr>
          <a:r>
            <a:rPr lang="en-US" sz="2100" kern="1200" err="1"/>
            <a:t>NuGet</a:t>
          </a:r>
          <a:endParaRPr lang="en-US" sz="2100" kern="1200"/>
        </a:p>
        <a:p>
          <a:pPr marL="228600" lvl="1" indent="-228600" algn="l" defTabSz="933450">
            <a:lnSpc>
              <a:spcPct val="90000"/>
            </a:lnSpc>
            <a:spcBef>
              <a:spcPct val="0"/>
            </a:spcBef>
            <a:spcAft>
              <a:spcPct val="15000"/>
            </a:spcAft>
            <a:buChar char="•"/>
          </a:pPr>
          <a:r>
            <a:rPr lang="en-US" sz="2100" kern="1200"/>
            <a:t>NPM</a:t>
          </a:r>
        </a:p>
      </dsp:txBody>
      <dsp:txXfrm>
        <a:off x="2590" y="612136"/>
        <a:ext cx="2526158" cy="1693321"/>
      </dsp:txXfrm>
    </dsp:sp>
    <dsp:sp modelId="{ADEA36E0-64E6-4BEE-AD42-DAB37DC21EDD}">
      <dsp:nvSpPr>
        <dsp:cNvPr id="0" name=""/>
        <dsp:cNvSpPr/>
      </dsp:nvSpPr>
      <dsp:spPr>
        <a:xfrm>
          <a:off x="2882412" y="7336"/>
          <a:ext cx="2526158" cy="604800"/>
        </a:xfrm>
        <a:prstGeom prst="rect">
          <a:avLst/>
        </a:prstGeom>
        <a:solidFill>
          <a:schemeClr val="accent4">
            <a:hueOff val="-2867528"/>
            <a:satOff val="23684"/>
            <a:lumOff val="-5883"/>
            <a:alphaOff val="0"/>
          </a:schemeClr>
        </a:solidFill>
        <a:ln w="10795" cap="flat" cmpd="sng" algn="ctr">
          <a:solidFill>
            <a:schemeClr val="accent4">
              <a:hueOff val="-2867528"/>
              <a:satOff val="23684"/>
              <a:lumOff val="-588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Build &amp; CI</a:t>
          </a:r>
        </a:p>
      </dsp:txBody>
      <dsp:txXfrm>
        <a:off x="2882412" y="7336"/>
        <a:ext cx="2526158" cy="604800"/>
      </dsp:txXfrm>
    </dsp:sp>
    <dsp:sp modelId="{F0F7EA4B-645E-4581-AD97-769433FA6554}">
      <dsp:nvSpPr>
        <dsp:cNvPr id="0" name=""/>
        <dsp:cNvSpPr/>
      </dsp:nvSpPr>
      <dsp:spPr>
        <a:xfrm>
          <a:off x="2882412" y="612136"/>
          <a:ext cx="2526158" cy="1693321"/>
        </a:xfrm>
        <a:prstGeom prst="rect">
          <a:avLst/>
        </a:prstGeom>
        <a:solidFill>
          <a:schemeClr val="accent4">
            <a:tint val="40000"/>
            <a:alpha val="90000"/>
            <a:hueOff val="-2813660"/>
            <a:satOff val="-1423"/>
            <a:lumOff val="-479"/>
            <a:alphaOff val="0"/>
          </a:schemeClr>
        </a:solidFill>
        <a:ln w="10795" cap="flat" cmpd="sng" algn="ctr">
          <a:solidFill>
            <a:schemeClr val="accent4">
              <a:tint val="40000"/>
              <a:alpha val="90000"/>
              <a:hueOff val="-2813660"/>
              <a:satOff val="-1423"/>
              <a:lumOff val="-47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Continuous integration </a:t>
          </a:r>
        </a:p>
        <a:p>
          <a:pPr marL="228600" lvl="1" indent="-228600" algn="l" defTabSz="933450">
            <a:lnSpc>
              <a:spcPct val="90000"/>
            </a:lnSpc>
            <a:spcBef>
              <a:spcPct val="0"/>
            </a:spcBef>
            <a:spcAft>
              <a:spcPct val="15000"/>
            </a:spcAft>
            <a:buChar char="•"/>
          </a:pPr>
          <a:r>
            <a:rPr lang="en-US" sz="2100" kern="1200"/>
            <a:t>Flexible pipelines</a:t>
          </a:r>
        </a:p>
        <a:p>
          <a:pPr marL="228600" lvl="1" indent="-228600" algn="l" defTabSz="933450">
            <a:lnSpc>
              <a:spcPct val="90000"/>
            </a:lnSpc>
            <a:spcBef>
              <a:spcPct val="0"/>
            </a:spcBef>
            <a:spcAft>
              <a:spcPct val="15000"/>
            </a:spcAft>
            <a:buChar char="•"/>
          </a:pPr>
          <a:r>
            <a:rPr lang="en-US" sz="2100" kern="1200"/>
            <a:t>Any language</a:t>
          </a:r>
        </a:p>
      </dsp:txBody>
      <dsp:txXfrm>
        <a:off x="2882412" y="612136"/>
        <a:ext cx="2526158" cy="1693321"/>
      </dsp:txXfrm>
    </dsp:sp>
    <dsp:sp modelId="{0F0743B9-76B9-4417-96BA-4B29AAEFE2C0}">
      <dsp:nvSpPr>
        <dsp:cNvPr id="0" name=""/>
        <dsp:cNvSpPr/>
      </dsp:nvSpPr>
      <dsp:spPr>
        <a:xfrm>
          <a:off x="5762233" y="7336"/>
          <a:ext cx="2526158" cy="604800"/>
        </a:xfrm>
        <a:prstGeom prst="rect">
          <a:avLst/>
        </a:prstGeom>
        <a:solidFill>
          <a:schemeClr val="accent4">
            <a:hueOff val="-5735056"/>
            <a:satOff val="47367"/>
            <a:lumOff val="-11765"/>
            <a:alphaOff val="0"/>
          </a:schemeClr>
        </a:solidFill>
        <a:ln w="10795" cap="flat" cmpd="sng" algn="ctr">
          <a:solidFill>
            <a:schemeClr val="accent4">
              <a:hueOff val="-5735056"/>
              <a:satOff val="47367"/>
              <a:lumOff val="-1176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Release</a:t>
          </a:r>
        </a:p>
      </dsp:txBody>
      <dsp:txXfrm>
        <a:off x="5762233" y="7336"/>
        <a:ext cx="2526158" cy="604800"/>
      </dsp:txXfrm>
    </dsp:sp>
    <dsp:sp modelId="{26561F3C-0483-4170-A4DD-98DC09E93992}">
      <dsp:nvSpPr>
        <dsp:cNvPr id="0" name=""/>
        <dsp:cNvSpPr/>
      </dsp:nvSpPr>
      <dsp:spPr>
        <a:xfrm>
          <a:off x="5762233" y="612136"/>
          <a:ext cx="2526158" cy="1693321"/>
        </a:xfrm>
        <a:prstGeom prst="rect">
          <a:avLst/>
        </a:prstGeom>
        <a:solidFill>
          <a:schemeClr val="accent4">
            <a:tint val="40000"/>
            <a:alpha val="90000"/>
            <a:hueOff val="-5627320"/>
            <a:satOff val="-2845"/>
            <a:lumOff val="-957"/>
            <a:alphaOff val="0"/>
          </a:schemeClr>
        </a:solidFill>
        <a:ln w="10795" cap="flat" cmpd="sng" algn="ctr">
          <a:solidFill>
            <a:schemeClr val="accent4">
              <a:tint val="40000"/>
              <a:alpha val="90000"/>
              <a:hueOff val="-5627320"/>
              <a:satOff val="-2845"/>
              <a:lumOff val="-9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Automated deployments</a:t>
          </a:r>
        </a:p>
        <a:p>
          <a:pPr marL="228600" lvl="1" indent="-228600" algn="l" defTabSz="933450">
            <a:lnSpc>
              <a:spcPct val="90000"/>
            </a:lnSpc>
            <a:spcBef>
              <a:spcPct val="0"/>
            </a:spcBef>
            <a:spcAft>
              <a:spcPct val="15000"/>
            </a:spcAft>
            <a:buChar char="•"/>
          </a:pPr>
          <a:r>
            <a:rPr lang="en-US" sz="2100" kern="1200"/>
            <a:t>Traceability</a:t>
          </a:r>
        </a:p>
        <a:p>
          <a:pPr marL="228600" lvl="1" indent="-228600" algn="l" defTabSz="933450">
            <a:lnSpc>
              <a:spcPct val="90000"/>
            </a:lnSpc>
            <a:spcBef>
              <a:spcPct val="0"/>
            </a:spcBef>
            <a:spcAft>
              <a:spcPct val="15000"/>
            </a:spcAft>
            <a:buChar char="•"/>
          </a:pPr>
          <a:r>
            <a:rPr lang="en-US" sz="2100" kern="1200"/>
            <a:t>Extensions</a:t>
          </a:r>
        </a:p>
      </dsp:txBody>
      <dsp:txXfrm>
        <a:off x="5762233" y="612136"/>
        <a:ext cx="2526158" cy="1693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5/9/2018 10:28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5/9/2018 9:4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urn your idea into a new app, reimagine an existing system, or create a hybrid cloud application with confidence, no matter the platform or where you are on the journey to the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288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Develop breakthrough apps with built-in intelligence</a:t>
            </a:r>
          </a:p>
          <a:p>
            <a:r>
              <a:rPr lang="en-US" dirty="0"/>
              <a:t>Take advantage of a comprehensive set of services, infrastructure, and tools to build AI-powered experiences including bots that naturally interact with users and built-in advanced analytics tools, such as R, to make faster predictions.</a:t>
            </a:r>
          </a:p>
          <a:p>
            <a:r>
              <a:rPr lang="en-US" dirty="0"/>
              <a:t>Elastically scale storage and performance with </a:t>
            </a:r>
            <a:r>
              <a:rPr lang="en-US" dirty="0">
                <a:hlinkClick r:id="rId3"/>
              </a:rPr>
              <a:t>Azure Cosmos DB</a:t>
            </a:r>
            <a:r>
              <a:rPr lang="en-US" dirty="0"/>
              <a:t>, the first globally distributed database service that delivers horizontal scale-out with guaranteed single digit millisecond latency.</a:t>
            </a:r>
          </a:p>
          <a:p>
            <a:r>
              <a:rPr lang="en-US" dirty="0"/>
              <a:t>Rest assured with managed service capabilities such as built-in monitoring, threat detection, automatic patching, and backups.</a:t>
            </a:r>
          </a:p>
          <a:p>
            <a:endParaRPr lang="en-US" dirty="0"/>
          </a:p>
          <a:p>
            <a:r>
              <a:rPr lang="en-US" b="1" dirty="0"/>
              <a:t>Expand your possibilities with an open platform</a:t>
            </a:r>
          </a:p>
          <a:p>
            <a:r>
              <a:rPr lang="en-US" dirty="0"/>
              <a:t>Build apps for any scenario with familiar technologies of your choice and a comprehensive set of data engines such as PostgreSQL, MySQL, MongoDB and Hadoop.</a:t>
            </a:r>
          </a:p>
          <a:p>
            <a:r>
              <a:rPr lang="en-US" dirty="0"/>
              <a:t>Leverage advanced analytics and AI services and tools such as Spark, and </a:t>
            </a:r>
            <a:r>
              <a:rPr lang="en-US" dirty="0" err="1"/>
              <a:t>Jupyter</a:t>
            </a:r>
            <a:r>
              <a:rPr lang="en-US" dirty="0"/>
              <a:t> Notebooks.</a:t>
            </a:r>
          </a:p>
          <a:p>
            <a:endParaRPr lang="en-US" dirty="0"/>
          </a:p>
          <a:p>
            <a:r>
              <a:rPr lang="en-US" b="1" dirty="0"/>
              <a:t>Build and deploy custom AI models at scale</a:t>
            </a:r>
          </a:p>
          <a:p>
            <a:r>
              <a:rPr lang="en-US" dirty="0"/>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591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ust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262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788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Microsoft has one of the largest WW fiber networks, and is constantly expanding. We either own or operate the fiber, meaning Microsoft always controls the actual traffic. </a:t>
            </a:r>
          </a:p>
        </p:txBody>
      </p:sp>
      <p:sp>
        <p:nvSpPr>
          <p:cNvPr id="4" name="Slide Number Placeholder 3"/>
          <p:cNvSpPr>
            <a:spLocks noGrp="1"/>
          </p:cNvSpPr>
          <p:nvPr>
            <p:ph type="sldNum" sz="quarter" idx="10"/>
          </p:nvPr>
        </p:nvSpPr>
        <p:spPr/>
        <p:txBody>
          <a:bodyPr/>
          <a:lstStyle/>
          <a:p>
            <a:pPr marL="0" marR="0" lvl="0" indent="0" algn="r" defTabSz="909372" rtl="0" eaLnBrk="1" fontAlgn="auto" latinLnBrk="0" hangingPunct="1">
              <a:lnSpc>
                <a:spcPct val="100000"/>
              </a:lnSpc>
              <a:spcBef>
                <a:spcPts val="0"/>
              </a:spcBef>
              <a:spcAft>
                <a:spcPts val="0"/>
              </a:spcAft>
              <a:buClrTx/>
              <a:buSzTx/>
              <a:buFontTx/>
              <a:buNone/>
              <a:tabLst/>
              <a:defRPr/>
            </a:pPr>
            <a:fld id="{D1885A3C-47E3-4F47-B5F1-8B0C56D0A77B}" type="slidenum">
              <a:rPr kumimoji="0" lang="en-US" sz="12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0937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51530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72Tb per second of network bandwidth – 7000 HD blue ray DVD’s across the network every second</a:t>
            </a:r>
          </a:p>
          <a:p>
            <a:pPr marL="171450" indent="-171450">
              <a:buFontTx/>
              <a:buChar char="-"/>
            </a:pPr>
            <a:r>
              <a:rPr lang="en-US" dirty="0"/>
              <a:t>42 Azure regions now</a:t>
            </a:r>
          </a:p>
          <a:p>
            <a:pPr marL="171450" indent="-171450">
              <a:buFontTx/>
              <a:buChar char="-"/>
            </a:pPr>
            <a:r>
              <a:rPr lang="en-US" dirty="0"/>
              <a:t>We can deliver your data across millions of servers, </a:t>
            </a:r>
          </a:p>
          <a:p>
            <a:pPr marL="171450" indent="-171450">
              <a:buFontTx/>
              <a:buChar char="-"/>
            </a:pPr>
            <a:r>
              <a:rPr lang="en-US" dirty="0"/>
              <a:t>How does Microsoft decide where to put our datacenters – we take all of the elements of scale into account to ensure the entire ecosystem can support the growth of the cloud – </a:t>
            </a:r>
            <a:r>
              <a:rPr lang="en-US" dirty="0" err="1"/>
              <a:t>atency</a:t>
            </a:r>
            <a:endParaRPr lang="en-US" dirty="0"/>
          </a:p>
          <a:p>
            <a:pPr marL="171450" indent="-171450">
              <a:buFontTx/>
              <a:buChar char="-"/>
            </a:pPr>
            <a:r>
              <a:rPr lang="en-US" dirty="0"/>
              <a:t>We are not an </a:t>
            </a:r>
          </a:p>
          <a:p>
            <a:endParaRPr lang="en-US" dirty="0"/>
          </a:p>
          <a:p>
            <a:r>
              <a:rPr lang="en-US" dirty="0"/>
              <a:t>Over 100 datacenters</a:t>
            </a:r>
          </a:p>
          <a:p>
            <a:r>
              <a:rPr lang="en-US" dirty="0"/>
              <a:t>42 announced</a:t>
            </a:r>
            <a:r>
              <a:rPr lang="en-US" baseline="0" dirty="0"/>
              <a:t> </a:t>
            </a:r>
            <a:r>
              <a:rPr lang="en-US" dirty="0"/>
              <a:t>Azure regions </a:t>
            </a:r>
          </a:p>
          <a:p>
            <a:r>
              <a:rPr lang="en-US" dirty="0"/>
              <a:t>## edge nodes reducing latency and getting customers on to our managed network faster</a:t>
            </a:r>
          </a:p>
          <a:p>
            <a:r>
              <a:rPr lang="en-US" dirty="0"/>
              <a:t>Global dark fiber network ensuring performance, </a:t>
            </a:r>
            <a:r>
              <a:rPr lang="en-US" dirty="0" err="1"/>
              <a:t>QoS</a:t>
            </a:r>
            <a:r>
              <a:rPr lang="en-US" dirty="0"/>
              <a:t> and resilient connectivity</a:t>
            </a:r>
          </a:p>
          <a:p>
            <a:endParaRPr lang="en-US" dirty="0"/>
          </a:p>
          <a:p>
            <a:r>
              <a:rPr lang="en-US" dirty="0"/>
              <a:t>How do we select datacenter locations?</a:t>
            </a:r>
          </a:p>
          <a:p>
            <a:pPr marL="171450" indent="-171450">
              <a:buFontTx/>
              <a:buChar char="-"/>
            </a:pPr>
            <a:r>
              <a:rPr lang="en-US" dirty="0"/>
              <a:t>Proximity/Latency to customers (opportunity)</a:t>
            </a:r>
          </a:p>
          <a:p>
            <a:pPr marL="171450" indent="-171450">
              <a:buFontTx/>
              <a:buChar char="-"/>
            </a:pPr>
            <a:r>
              <a:rPr lang="en-US" dirty="0"/>
              <a:t>Energy (and climate/</a:t>
            </a:r>
            <a:r>
              <a:rPr lang="en-US" dirty="0" err="1"/>
              <a:t>pue</a:t>
            </a:r>
            <a:r>
              <a:rPr lang="en-US" dirty="0"/>
              <a:t>)</a:t>
            </a:r>
          </a:p>
          <a:p>
            <a:pPr marL="171450" indent="-171450">
              <a:buFontTx/>
              <a:buChar char="-"/>
            </a:pPr>
            <a:r>
              <a:rPr lang="en-US" dirty="0"/>
              <a:t>Network</a:t>
            </a:r>
          </a:p>
          <a:p>
            <a:pPr marL="171450" indent="-171450">
              <a:buFontTx/>
              <a:buChar char="-"/>
            </a:pPr>
            <a:r>
              <a:rPr lang="en-US" dirty="0"/>
              <a:t>Workforce (both operation and construction)</a:t>
            </a:r>
          </a:p>
          <a:p>
            <a:r>
              <a:rPr lang="en-US" b="0" dirty="0"/>
              <a:t>Hyperscale (emphasis on scale)</a:t>
            </a:r>
          </a:p>
          <a:p>
            <a:pPr marL="171450" indent="-171450">
              <a:buFontTx/>
              <a:buChar char="-"/>
            </a:pPr>
            <a:r>
              <a:rPr lang="en-US" dirty="0"/>
              <a:t>Only a </a:t>
            </a:r>
            <a:r>
              <a:rPr lang="en-US" b="1" dirty="0"/>
              <a:t>few companies </a:t>
            </a:r>
            <a:r>
              <a:rPr lang="en-US" dirty="0"/>
              <a:t>have the business need and opportunity to operate computing at a scale where you are no longer an IT shop, but </a:t>
            </a:r>
            <a:r>
              <a:rPr lang="en-US" b="1" dirty="0"/>
              <a:t>a global infrastructure supply chain</a:t>
            </a:r>
            <a:r>
              <a:rPr lang="en-US" dirty="0"/>
              <a:t>. The servers and network hardware become commodities and the special sauce is in the planning, execution and optimization of the service –</a:t>
            </a:r>
            <a:r>
              <a:rPr lang="en-US" b="1" dirty="0"/>
              <a:t>managing the illusion of infinite capacity. </a:t>
            </a:r>
          </a:p>
          <a:p>
            <a:pPr marL="0" indent="0">
              <a:buFontTx/>
              <a:buNone/>
            </a:pPr>
            <a:r>
              <a:rPr lang="en-US" b="0" dirty="0"/>
              <a:t>Global operations</a:t>
            </a:r>
          </a:p>
          <a:p>
            <a:pPr marL="171450" indent="-171450">
              <a:buFontTx/>
              <a:buChar char="-"/>
            </a:pPr>
            <a:r>
              <a:rPr lang="en-US" dirty="0"/>
              <a:t>This takes </a:t>
            </a:r>
            <a:r>
              <a:rPr lang="en-US" b="1" dirty="0"/>
              <a:t>knowing how to operate around the globe</a:t>
            </a:r>
            <a:r>
              <a:rPr lang="en-US" dirty="0"/>
              <a:t>, something that Microsoft has great experience in. We have operated international datacenters and networks for over 20 years and continue to grow our footprint outside the US. This is another cog in the supply chain – </a:t>
            </a:r>
            <a:r>
              <a:rPr lang="en-US" b="1" dirty="0"/>
              <a:t>standing up new infrastructure, offerings and business models </a:t>
            </a:r>
            <a:r>
              <a:rPr lang="en-US" dirty="0"/>
              <a:t>– operating ourselves or through partners in locations like </a:t>
            </a:r>
            <a:r>
              <a:rPr lang="en-US" b="1" dirty="0"/>
              <a:t>China</a:t>
            </a:r>
            <a:r>
              <a:rPr lang="en-US" dirty="0"/>
              <a:t> and </a:t>
            </a:r>
            <a:r>
              <a:rPr lang="en-US" b="1" dirty="0"/>
              <a:t>Germany</a:t>
            </a:r>
          </a:p>
          <a:p>
            <a:pPr marL="0" indent="0">
              <a:buFontTx/>
              <a:buNone/>
            </a:pPr>
            <a:r>
              <a:rPr lang="en-US" b="0" dirty="0"/>
              <a:t>Automation</a:t>
            </a:r>
          </a:p>
          <a:p>
            <a:pPr marL="171450" indent="-171450">
              <a:buFontTx/>
              <a:buChar char="-"/>
            </a:pPr>
            <a:r>
              <a:rPr lang="en-US" b="1" dirty="0"/>
              <a:t>Watching screens </a:t>
            </a:r>
            <a:r>
              <a:rPr lang="en-US" dirty="0"/>
              <a:t>and waiting for alerts or emails </a:t>
            </a:r>
            <a:r>
              <a:rPr lang="en-US" b="1" dirty="0"/>
              <a:t>is not sufficient </a:t>
            </a:r>
            <a:r>
              <a:rPr lang="en-US" dirty="0"/>
              <a:t>at our scale. We have had to become experts at automation - Some of our datacenter campuses are two miles (3km) long – </a:t>
            </a:r>
            <a:r>
              <a:rPr lang="en-US" b="1" dirty="0"/>
              <a:t>software can react to a problem much faster than a huma</a:t>
            </a:r>
            <a:r>
              <a:rPr lang="en-US" dirty="0"/>
              <a:t>n can</a:t>
            </a:r>
          </a:p>
          <a:p>
            <a:pPr marL="0" indent="0">
              <a:buFontTx/>
              <a:buNone/>
            </a:pPr>
            <a:r>
              <a:rPr lang="en-US" dirty="0"/>
              <a:t>Open Infrastructure</a:t>
            </a:r>
          </a:p>
          <a:p>
            <a:pPr marL="171450" indent="-171450">
              <a:buFontTx/>
              <a:buChar char="-"/>
            </a:pPr>
            <a:r>
              <a:rPr lang="en-US" dirty="0"/>
              <a:t>Pretty exciting that Microsoft is making a name for itself in the open source community lately. This includes our infrastructure – we have been </a:t>
            </a:r>
            <a:r>
              <a:rPr lang="en-US" b="1" dirty="0"/>
              <a:t>a key part of Open Compute since 2014</a:t>
            </a:r>
            <a:r>
              <a:rPr lang="en-US" dirty="0"/>
              <a:t>, starting with our </a:t>
            </a:r>
            <a:r>
              <a:rPr lang="en-US" b="1" dirty="0"/>
              <a:t>Open Cloud Server</a:t>
            </a:r>
            <a:r>
              <a:rPr lang="en-US" dirty="0"/>
              <a:t> design that </a:t>
            </a:r>
            <a:r>
              <a:rPr lang="en-US" b="1" dirty="0"/>
              <a:t>underpins Azure </a:t>
            </a:r>
            <a:r>
              <a:rPr lang="en-US" dirty="0"/>
              <a:t>and many other services at Microsoft. More recently, we shared the concept of our next generation hardware platform, Project Olympus, with OCP in 2016 and engaged with the community to tweak, improve and evolve the design to have even broader applicability and reach for many more companies. </a:t>
            </a:r>
          </a:p>
          <a:p>
            <a:pPr marL="171450" indent="-171450">
              <a:buFontTx/>
              <a:buChar char="-"/>
            </a:pPr>
            <a:r>
              <a:rPr lang="en-US" dirty="0"/>
              <a:t>On the </a:t>
            </a:r>
            <a:r>
              <a:rPr lang="en-US" b="1" dirty="0"/>
              <a:t>network</a:t>
            </a:r>
            <a:r>
              <a:rPr lang="en-US" dirty="0"/>
              <a:t> front, </a:t>
            </a:r>
            <a:r>
              <a:rPr lang="en-US" b="0" dirty="0"/>
              <a:t>Microsoft</a:t>
            </a:r>
            <a:r>
              <a:rPr lang="en-US" dirty="0"/>
              <a:t> contributed a </a:t>
            </a:r>
            <a:r>
              <a:rPr lang="en-US" b="1" dirty="0" err="1"/>
              <a:t>linux</a:t>
            </a:r>
            <a:r>
              <a:rPr lang="en-US" dirty="0"/>
              <a:t> based solution called </a:t>
            </a:r>
            <a:r>
              <a:rPr lang="en-US" b="1" dirty="0" err="1"/>
              <a:t>SoNIC</a:t>
            </a:r>
            <a:r>
              <a:rPr lang="en-US" dirty="0"/>
              <a:t> to OCP which make it easier to </a:t>
            </a:r>
            <a:r>
              <a:rPr lang="en-US" b="1" dirty="0"/>
              <a:t>take advantage of new hardware capabilities in SDN </a:t>
            </a:r>
            <a:r>
              <a:rPr lang="en-US" dirty="0"/>
              <a:t>implementations with common APIs and development frameworks. </a:t>
            </a:r>
          </a:p>
          <a:p>
            <a:pPr marL="0" indent="0">
              <a:buFontTx/>
              <a:buNone/>
            </a:pPr>
            <a:r>
              <a:rPr lang="en-US" dirty="0"/>
              <a:t>Resilient Services</a:t>
            </a:r>
          </a:p>
          <a:p>
            <a:pPr marL="171450" indent="-171450">
              <a:buFontTx/>
              <a:buChar char="-"/>
            </a:pPr>
            <a:r>
              <a:rPr lang="en-US" dirty="0"/>
              <a:t>Wrapped around all of this infrastructure is a culture of development and operation that values building services that are not only ‘available’ but also resilient. At the scale we operate, one in a million events happen with surprising regularity. Our services are designed with this in mind so that when failures do occur, software can route around the issue and self heal. </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670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540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4224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728743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912527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255556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a:solidFill>
                  <a:schemeClr val="tx1"/>
                </a:solidFill>
                <a:effectLst/>
                <a:latin typeface="+mn-lt"/>
                <a:ea typeface="+mn-ea"/>
                <a:cs typeface="+mn-cs"/>
              </a:rPr>
              <a:t>It’s shaping how</a:t>
            </a:r>
            <a:r>
              <a:rPr lang="en-US" sz="1200" kern="1200" baseline="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endParaRPr lang="en-US" sz="1200" b="1" kern="120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a:t>
            </a:r>
            <a:r>
              <a:rPr lang="en-US" sz="1200" i="1" kern="120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306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kern="1200">
                <a:solidFill>
                  <a:schemeClr val="tx1"/>
                </a:solidFill>
                <a:effectLst/>
                <a:latin typeface="Segoe UI Light" pitchFamily="34" charset="0"/>
                <a:ea typeface="+mn-ea"/>
                <a:cs typeface="+mn-cs"/>
              </a:rPr>
              <a:t>Classless inter-domain routing</a:t>
            </a:r>
            <a:r>
              <a:rPr lang="en-GB" sz="900" b="0" kern="1200">
                <a:solidFill>
                  <a:schemeClr val="tx1"/>
                </a:solidFill>
                <a:effectLst/>
                <a:latin typeface="Segoe UI Light" pitchFamily="34" charset="0"/>
                <a:ea typeface="+mn-ea"/>
                <a:cs typeface="+mn-cs"/>
              </a:rPr>
              <a:t> (</a:t>
            </a:r>
            <a:r>
              <a:rPr lang="en-GB" sz="900" b="1" kern="1200">
                <a:solidFill>
                  <a:schemeClr val="tx1"/>
                </a:solidFill>
                <a:effectLst/>
                <a:latin typeface="Segoe UI Light" pitchFamily="34" charset="0"/>
                <a:ea typeface="+mn-ea"/>
                <a:cs typeface="+mn-cs"/>
              </a:rPr>
              <a:t>CIDR</a:t>
            </a:r>
            <a:r>
              <a:rPr lang="en-GB" sz="900" b="0" kern="1200">
                <a:solidFill>
                  <a:schemeClr val="tx1"/>
                </a:solidFill>
                <a:effectLst/>
                <a:latin typeface="Segoe UI Light" pitchFamily="34" charset="0"/>
                <a:ea typeface="+mn-ea"/>
                <a:cs typeface="+mn-cs"/>
              </a:rPr>
              <a:t>)</a:t>
            </a:r>
            <a:endParaRPr lang="en-GB"/>
          </a:p>
          <a:p>
            <a:endParaRPr lang="en-GB"/>
          </a:p>
          <a:p>
            <a:r>
              <a:rPr lang="en-GB"/>
              <a:t>Address space for 10.4.0.0/20 is 10.4.0.0 – 10.4.15.255</a:t>
            </a:r>
          </a:p>
          <a:p>
            <a:endParaRPr lang="en-GB"/>
          </a:p>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7683275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359462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oad balancer rules for probes</a:t>
            </a:r>
          </a:p>
          <a:p>
            <a:r>
              <a:rPr lang="en-GB"/>
              <a:t>RDP port is 3389/UDP</a:t>
            </a:r>
          </a:p>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785587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984788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7532528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2006784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1259327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IP from external address range for that region</a:t>
            </a:r>
          </a:p>
          <a:p>
            <a:r>
              <a:rPr lang="en-GB"/>
              <a:t>May be reserved as well</a:t>
            </a:r>
          </a:p>
          <a:p>
            <a:r>
              <a:rPr lang="en-GB"/>
              <a:t>Public DNS name to fixed format for all public services</a:t>
            </a:r>
          </a:p>
          <a:p>
            <a:r>
              <a:rPr lang="en-GB"/>
              <a:t>Can use company public DNS with CNAME to redirec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8518117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532373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662442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 good place to give a personal story of how your customers are making their journey to the cloud]</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645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vnet-service-endpoints-in-azure-sql-database/</a:t>
            </a:r>
          </a:p>
          <a:p>
            <a:r>
              <a:rPr lang="en-US" dirty="0"/>
              <a:t>https://azure.microsoft.com/en-us/blog/announcing-virtual-network-integration-for-azure-storage-and-azure-sql/</a:t>
            </a:r>
          </a:p>
          <a:p>
            <a:r>
              <a:rPr lang="en-US" dirty="0"/>
              <a:t>https://azure.microsoft.com/en-us/blog/announcing-preview-of-azure-storage-firewalls-and-virtual-networks/</a:t>
            </a:r>
          </a:p>
          <a:p>
            <a:r>
              <a:rPr lang="en-US" dirty="0"/>
              <a:t>https://azure.microsoft.com/en-us/blog/azure-sql-database-vnet-service-endpoints-now-in-public-preview/</a:t>
            </a:r>
          </a:p>
          <a:p>
            <a:r>
              <a:rPr lang="en-US" dirty="0"/>
              <a:t>https://docs.microsoft.com/azure/virtual-network/virtual-network-service-endpoints-overview</a:t>
            </a:r>
          </a:p>
        </p:txBody>
      </p:sp>
    </p:spTree>
    <p:extLst>
      <p:ext uri="{BB962C8B-B14F-4D97-AF65-F5344CB8AC3E}">
        <p14:creationId xmlns:p14="http://schemas.microsoft.com/office/powerpoint/2010/main" val="12749707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https://azure.microsoft.com/roadmap/azure-dns-private-zon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docs.microsoft.com/en-us/azure/dns/private-dns-overview</a:t>
            </a:r>
          </a:p>
        </p:txBody>
      </p:sp>
    </p:spTree>
    <p:extLst>
      <p:ext uri="{BB962C8B-B14F-4D97-AF65-F5344CB8AC3E}">
        <p14:creationId xmlns:p14="http://schemas.microsoft.com/office/powerpoint/2010/main" val="3306590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create-vm-accelerated-networking </a:t>
            </a:r>
          </a:p>
          <a:p>
            <a:endParaRPr lang="en-US" dirty="0"/>
          </a:p>
        </p:txBody>
      </p:sp>
    </p:spTree>
    <p:extLst>
      <p:ext uri="{BB962C8B-B14F-4D97-AF65-F5344CB8AC3E}">
        <p14:creationId xmlns:p14="http://schemas.microsoft.com/office/powerpoint/2010/main" val="38678081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load-balancer-standard/</a:t>
            </a:r>
          </a:p>
          <a:p>
            <a:r>
              <a:rPr lang="en-US" sz="900" kern="1200" dirty="0">
                <a:solidFill>
                  <a:schemeClr val="tx1"/>
                </a:solidFill>
                <a:effectLst/>
                <a:latin typeface="Segoe UI Light" pitchFamily="34" charset="0"/>
                <a:ea typeface="+mn-ea"/>
                <a:cs typeface="+mn-cs"/>
              </a:rPr>
              <a:t>https://azure.microsoft.com/roadmap/azure-load-balancer-standard-ha-port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Load Balancer HA Ports is now in Public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ing announces the Public Preview of HA Ports. With this, customers can now configure a single Load Balancing rule to process traffic from all the Protocols and Ports. Salient points of this feature</a:t>
            </a:r>
          </a:p>
          <a:p>
            <a:pPr lvl="0"/>
            <a:r>
              <a:rPr lang="en-US" sz="900" b="1" kern="1200" dirty="0">
                <a:solidFill>
                  <a:schemeClr val="tx1"/>
                </a:solidFill>
                <a:effectLst/>
                <a:latin typeface="Segoe UI Light" pitchFamily="34" charset="0"/>
                <a:ea typeface="+mn-ea"/>
                <a:cs typeface="+mn-cs"/>
              </a:rPr>
              <a:t>All Traffic</a:t>
            </a:r>
            <a:r>
              <a:rPr lang="en-US" sz="900" kern="1200" dirty="0">
                <a:solidFill>
                  <a:schemeClr val="tx1"/>
                </a:solidFill>
                <a:effectLst/>
                <a:latin typeface="Segoe UI Light" pitchFamily="34" charset="0"/>
                <a:ea typeface="+mn-ea"/>
                <a:cs typeface="+mn-cs"/>
              </a:rPr>
              <a:t> - This new capability makes it easier to load balance the Virtual network traffic from multiple different sources on to the backend pool – irrespective of the port numbers.</a:t>
            </a:r>
          </a:p>
          <a:p>
            <a:pPr lvl="0"/>
            <a:r>
              <a:rPr lang="en-US" sz="900" b="1" kern="1200" dirty="0">
                <a:solidFill>
                  <a:schemeClr val="tx1"/>
                </a:solidFill>
                <a:effectLst/>
                <a:latin typeface="Segoe UI Light" pitchFamily="34" charset="0"/>
                <a:ea typeface="+mn-ea"/>
                <a:cs typeface="+mn-cs"/>
              </a:rPr>
              <a:t>Simpler Configuration</a:t>
            </a:r>
            <a:r>
              <a:rPr lang="en-US" sz="900" kern="1200" dirty="0">
                <a:solidFill>
                  <a:schemeClr val="tx1"/>
                </a:solidFill>
                <a:effectLst/>
                <a:latin typeface="Segoe UI Light" pitchFamily="34" charset="0"/>
                <a:ea typeface="+mn-ea"/>
                <a:cs typeface="+mn-cs"/>
              </a:rPr>
              <a:t> - By replacing multiple load balancing rules with a single rule, customers can now avoid the max rule limit, and reduce complexity of ARM templates.</a:t>
            </a:r>
          </a:p>
          <a:p>
            <a:pPr lvl="0"/>
            <a:r>
              <a:rPr lang="en-US" sz="900" b="1" kern="1200" dirty="0">
                <a:solidFill>
                  <a:schemeClr val="tx1"/>
                </a:solidFill>
                <a:effectLst/>
                <a:latin typeface="Segoe UI Light" pitchFamily="34" charset="0"/>
                <a:ea typeface="+mn-ea"/>
                <a:cs typeface="+mn-cs"/>
              </a:rPr>
              <a:t>NVA HA</a:t>
            </a:r>
            <a:r>
              <a:rPr lang="en-US" sz="900" kern="1200" dirty="0">
                <a:solidFill>
                  <a:schemeClr val="tx1"/>
                </a:solidFill>
                <a:effectLst/>
                <a:latin typeface="Segoe UI Light" pitchFamily="34" charset="0"/>
                <a:ea typeface="+mn-ea"/>
                <a:cs typeface="+mn-cs"/>
              </a:rPr>
              <a:t> – Appliances can be deployed in an N-Active Pool behind a load balancer by using the HA Ports, and can be made highly available and process all traffic.</a:t>
            </a:r>
          </a:p>
          <a:p>
            <a:pPr lvl="0"/>
            <a:r>
              <a:rPr lang="en-US" sz="900" b="1" kern="1200" dirty="0">
                <a:solidFill>
                  <a:schemeClr val="tx1"/>
                </a:solidFill>
                <a:effectLst/>
                <a:latin typeface="Segoe UI Light" pitchFamily="34" charset="0"/>
                <a:ea typeface="+mn-ea"/>
                <a:cs typeface="+mn-cs"/>
              </a:rPr>
              <a:t>Load balancing for Port Range</a:t>
            </a:r>
            <a:r>
              <a:rPr lang="en-US" sz="900" kern="1200" dirty="0">
                <a:solidFill>
                  <a:schemeClr val="tx1"/>
                </a:solidFill>
                <a:effectLst/>
                <a:latin typeface="Segoe UI Light" pitchFamily="34" charset="0"/>
                <a:ea typeface="+mn-ea"/>
                <a:cs typeface="+mn-cs"/>
              </a:rPr>
              <a:t> – this feature, combined with NSGs can be used for Load Balancing traffic for certain port ranges for custom applica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 Public Previe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allows you to create load balanced deployments with much greater scale, resiliency, and ease of use for all your Virtual Machine instances inside a Virtual Network.  Load Balancer Standard unlocks a wide range of scenarios and abilities, including: </a:t>
            </a:r>
          </a:p>
          <a:p>
            <a:pPr lvl="0"/>
            <a:r>
              <a:rPr lang="en-US" sz="900" kern="1200" dirty="0">
                <a:solidFill>
                  <a:schemeClr val="tx1"/>
                </a:solidFill>
                <a:effectLst/>
                <a:latin typeface="Segoe UI Light" pitchFamily="34" charset="0"/>
                <a:ea typeface="+mn-ea"/>
                <a:cs typeface="+mn-cs"/>
              </a:rPr>
              <a:t>Availability Zones with regionally resilient and zonal frontends, cross-zone load balancing for high availability scenarios to constrain to a zone or span multiple zones.</a:t>
            </a:r>
          </a:p>
          <a:p>
            <a:pPr lvl="0"/>
            <a:r>
              <a:rPr lang="en-US" sz="900" kern="1200" dirty="0">
                <a:solidFill>
                  <a:schemeClr val="tx1"/>
                </a:solidFill>
                <a:effectLst/>
                <a:latin typeface="Segoe UI Light" pitchFamily="34" charset="0"/>
                <a:ea typeface="+mn-ea"/>
                <a:cs typeface="+mn-cs"/>
              </a:rPr>
              <a:t>Any Virtual Machine instances in a Virtual Network, including 1000 instance VM Scale Sets.</a:t>
            </a:r>
          </a:p>
          <a:p>
            <a:pPr lvl="0"/>
            <a:r>
              <a:rPr lang="en-US" sz="900" kern="1200" dirty="0">
                <a:solidFill>
                  <a:schemeClr val="tx1"/>
                </a:solidFill>
                <a:effectLst/>
                <a:latin typeface="Segoe UI Light" pitchFamily="34" charset="0"/>
                <a:ea typeface="+mn-ea"/>
                <a:cs typeface="+mn-cs"/>
              </a:rPr>
              <a:t>Instance load balancing rules to internally load balance all TCP and UDP flows for scenarios including Network Virtual Appliance high availability.</a:t>
            </a:r>
          </a:p>
          <a:p>
            <a:pPr lvl="0"/>
            <a:r>
              <a:rPr lang="en-US" sz="900" kern="1200" dirty="0">
                <a:solidFill>
                  <a:schemeClr val="tx1"/>
                </a:solidFill>
                <a:effectLst/>
                <a:latin typeface="Segoe UI Light" pitchFamily="34" charset="0"/>
                <a:ea typeface="+mn-ea"/>
                <a:cs typeface="+mn-cs"/>
              </a:rPr>
              <a:t>Diagnostic insights including data plane health, per endpoint health probe status, and counters for packets, bytes, SYN packets, and outbound SNAT connec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4306161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1496595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186690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offers a </a:t>
            </a:r>
            <a:r>
              <a:rPr lang="en-US" baseline="0"/>
              <a:t>broad set of compute family that customers can take advantage from dev test to large database workloads</a:t>
            </a:r>
          </a:p>
          <a:p>
            <a:endParaRPr lang="en-US" baseline="0"/>
          </a:p>
        </p:txBody>
      </p:sp>
      <p:sp>
        <p:nvSpPr>
          <p:cNvPr id="4" name="Slide Number Placeholder 3"/>
          <p:cNvSpPr>
            <a:spLocks noGrp="1"/>
          </p:cNvSpPr>
          <p:nvPr>
            <p:ph type="sldNum" sz="quarter" idx="10"/>
          </p:nvPr>
        </p:nvSpPr>
        <p:spPr/>
        <p:txBody>
          <a:bodyPr/>
          <a:lstStyle/>
          <a:p>
            <a:fld id="{8F657078-6DF4-4B15-AEE7-8504F49DC1D1}" type="slidenum">
              <a:rPr lang="en-US" smtClean="0"/>
              <a:t>36</a:t>
            </a:fld>
            <a:endParaRPr lang="en-US"/>
          </a:p>
        </p:txBody>
      </p:sp>
    </p:spTree>
    <p:extLst>
      <p:ext uri="{BB962C8B-B14F-4D97-AF65-F5344CB8AC3E}">
        <p14:creationId xmlns:p14="http://schemas.microsoft.com/office/powerpoint/2010/main" val="29036459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B, Dv3, Ev3, L &amp; M Series.</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7</a:t>
            </a:fld>
            <a:endParaRPr lang="en-US"/>
          </a:p>
        </p:txBody>
      </p:sp>
    </p:spTree>
    <p:extLst>
      <p:ext uri="{BB962C8B-B14F-4D97-AF65-F5344CB8AC3E}">
        <p14:creationId xmlns:p14="http://schemas.microsoft.com/office/powerpoint/2010/main" val="4699737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N – GPU enabled</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H – High performanc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D, L and G have enhanced networking – Smart NIC with FPGA, so VM latency is down to 25 us.</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8</a:t>
            </a:fld>
            <a:endParaRPr lang="en-US"/>
          </a:p>
        </p:txBody>
      </p:sp>
    </p:spTree>
    <p:extLst>
      <p:ext uri="{BB962C8B-B14F-4D97-AF65-F5344CB8AC3E}">
        <p14:creationId xmlns:p14="http://schemas.microsoft.com/office/powerpoint/2010/main" val="4288814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04620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1555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o,</a:t>
            </a:r>
            <a:r>
              <a:rPr lang="en-US" baseline="0"/>
              <a:t> VMs are great</a:t>
            </a:r>
            <a:r>
              <a:rPr lang="is-IS" baseline="0"/>
              <a:t>… but managing a lot of them individually can be hard. </a:t>
            </a:r>
            <a:r>
              <a:rPr lang="en-US"/>
              <a:t>That’s where VM scale</a:t>
            </a:r>
            <a:r>
              <a:rPr lang="en-US" baseline="0"/>
              <a:t> sets comes in..</a:t>
            </a:r>
          </a:p>
          <a:p>
            <a:pPr marL="171450" indent="-171450">
              <a:buFontTx/>
              <a:buChar char="-"/>
            </a:pPr>
            <a:r>
              <a:rPr lang="en-US" baseline="0"/>
              <a:t>The goal here is to enable management of like VMs as a group and make it easy to scale them in/out based on demand.</a:t>
            </a:r>
          </a:p>
          <a:p>
            <a:pPr marL="171450" indent="-171450">
              <a:buFontTx/>
              <a:buChar char="-"/>
            </a:pPr>
            <a:endParaRPr lang="en-US" baseline="0"/>
          </a:p>
          <a:p>
            <a:r>
              <a:rPr lang="en-US"/>
              <a:t>Horizontal vs. vertical scale</a:t>
            </a:r>
          </a:p>
          <a:p>
            <a:r>
              <a:rPr lang="en-US"/>
              <a:t>Change the “capacity” property and redeploy</a:t>
            </a:r>
          </a:p>
          <a:p>
            <a:r>
              <a:rPr lang="en-US"/>
              <a:t>New VMs are spread across UDs, FDs, storage accounts</a:t>
            </a:r>
          </a:p>
          <a:p>
            <a:pPr marL="171450" indent="-171450">
              <a:buFontTx/>
              <a:buChar char="-"/>
            </a:pPr>
            <a:endParaRPr lang="en-US"/>
          </a:p>
          <a:p>
            <a:pPr marL="171450" indent="-171450">
              <a:buFontTx/>
              <a:buChar char="-"/>
            </a:pPr>
            <a:r>
              <a:rPr lang="en-US"/>
              <a:t>Define Max – Min VMs</a:t>
            </a:r>
          </a:p>
          <a:p>
            <a:pPr marL="171450" indent="-171450">
              <a:buFontTx/>
              <a:buChar char="-"/>
            </a:pPr>
            <a:r>
              <a:rPr lang="en-US"/>
              <a:t>Triggers and action rules</a:t>
            </a:r>
          </a:p>
          <a:p>
            <a:pPr marL="171450" indent="-171450">
              <a:buFontTx/>
              <a:buChar char="-"/>
            </a:pPr>
            <a:r>
              <a:rPr lang="en-US"/>
              <a:t>Standard audit / email notifications</a:t>
            </a:r>
          </a:p>
          <a:p>
            <a:pPr marL="171450" indent="-171450">
              <a:buFontTx/>
              <a:buChar char="-"/>
            </a:pPr>
            <a:r>
              <a:rPr lang="en-US"/>
              <a:t>Define web hooks for custom notifications and actions (e.g. runbook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9:4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289480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0" indent="0">
              <a:buFontTx/>
              <a:buNone/>
            </a:pPr>
            <a:r>
              <a:rPr lang="is-IS" b="1" baseline="0" dirty="0"/>
              <a:t>3 types of HPC </a:t>
            </a:r>
            <a:r>
              <a:rPr lang="is-IS" baseline="0" dirty="0"/>
              <a:t>in Azure:</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Custom Build </a:t>
            </a:r>
            <a:r>
              <a:rPr lang="en-GB" sz="900" kern="1200" dirty="0">
                <a:solidFill>
                  <a:schemeClr val="tx1"/>
                </a:solidFill>
                <a:effectLst/>
                <a:latin typeface="Segoe UI Light" pitchFamily="34" charset="0"/>
                <a:ea typeface="+mn-ea"/>
                <a:cs typeface="+mn-cs"/>
              </a:rPr>
              <a:t>– Manual configuration taking advantage of different workload managers, applications and specialised VM capabilities like GPU, high throughput back-end RDMA network.</a:t>
            </a:r>
          </a:p>
          <a:p>
            <a:pPr marL="171450" lvl="0" indent="-171450">
              <a:buFont typeface="Arial" panose="020B0604020202020204" pitchFamily="34" charset="0"/>
              <a:buChar char="•"/>
            </a:pPr>
            <a:r>
              <a:rPr lang="en-GB" sz="900" kern="1200" dirty="0">
                <a:solidFill>
                  <a:schemeClr val="tx1"/>
                </a:solidFill>
                <a:effectLst/>
                <a:latin typeface="Segoe UI Light" pitchFamily="34" charset="0"/>
                <a:ea typeface="+mn-ea"/>
                <a:cs typeface="+mn-cs"/>
              </a:rPr>
              <a:t>Big compute solutions as a service – Develop custom solutions using </a:t>
            </a:r>
            <a:r>
              <a:rPr lang="en-GB" sz="900" b="1" kern="1200" dirty="0">
                <a:solidFill>
                  <a:schemeClr val="tx1"/>
                </a:solidFill>
                <a:effectLst/>
                <a:latin typeface="Segoe UI Light" pitchFamily="34" charset="0"/>
                <a:ea typeface="+mn-ea"/>
                <a:cs typeface="+mn-cs"/>
              </a:rPr>
              <a:t>Azure Batch </a:t>
            </a:r>
            <a:r>
              <a:rPr lang="en-GB" sz="900" kern="1200" dirty="0">
                <a:solidFill>
                  <a:schemeClr val="tx1"/>
                </a:solidFill>
                <a:effectLst/>
                <a:latin typeface="Segoe UI Light" pitchFamily="34" charset="0"/>
                <a:ea typeface="+mn-ea"/>
                <a:cs typeface="+mn-cs"/>
              </a:rPr>
              <a:t>taking advantage out of box scheduling and scaling capability with options to use low priority </a:t>
            </a:r>
            <a:r>
              <a:rPr lang="en-GB" sz="900" kern="1200" dirty="0" err="1">
                <a:solidFill>
                  <a:schemeClr val="tx1"/>
                </a:solidFill>
                <a:effectLst/>
                <a:latin typeface="Segoe UI Light" pitchFamily="34" charset="0"/>
                <a:ea typeface="+mn-ea"/>
                <a:cs typeface="+mn-cs"/>
              </a:rPr>
              <a:t>vms</a:t>
            </a:r>
            <a:r>
              <a:rPr lang="en-GB" sz="900" kern="1200" dirty="0">
                <a:solidFill>
                  <a:schemeClr val="tx1"/>
                </a:solidFill>
                <a:effectLst/>
                <a:latin typeface="Segoe UI Light" pitchFamily="34" charset="0"/>
                <a:ea typeface="+mn-ea"/>
                <a:cs typeface="+mn-cs"/>
              </a:rPr>
              <a:t> to reduce the cost of computing.</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Marketplace Solutions</a:t>
            </a:r>
            <a:r>
              <a:rPr lang="en-GB" sz="900" kern="1200" dirty="0">
                <a:solidFill>
                  <a:schemeClr val="tx1"/>
                </a:solidFill>
                <a:effectLst/>
                <a:latin typeface="Segoe UI Light" pitchFamily="34" charset="0"/>
                <a:ea typeface="+mn-ea"/>
                <a:cs typeface="+mn-cs"/>
              </a:rPr>
              <a:t>: Use ready to deploy HPC solutions  offered  by different vendors.</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9/2018 9:44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41</a:t>
            </a:fld>
            <a:endParaRPr lang="en-US" altLang="en-US"/>
          </a:p>
        </p:txBody>
      </p:sp>
    </p:spTree>
    <p:extLst>
      <p:ext uri="{BB962C8B-B14F-4D97-AF65-F5344CB8AC3E}">
        <p14:creationId xmlns:p14="http://schemas.microsoft.com/office/powerpoint/2010/main" val="35932541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Running alongside</a:t>
            </a:r>
            <a:r>
              <a:rPr lang="en-US" baseline="0"/>
              <a:t> excitement in containers has been excitement about container orchestrators. </a:t>
            </a:r>
          </a:p>
          <a:p>
            <a:pPr marL="171450" indent="-171450">
              <a:buFontTx/>
              <a:buChar char="-"/>
            </a:pPr>
            <a:r>
              <a:rPr lang="en-US" baseline="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a:t>Two popular OSS orchestrators are DC/OS and Swarm. DC/OS is developed by Mesosphere and is based on the Apache </a:t>
            </a:r>
            <a:r>
              <a:rPr lang="en-US" baseline="0" err="1"/>
              <a:t>Mesos</a:t>
            </a:r>
            <a:r>
              <a:rPr lang="en-US" baseline="0"/>
              <a:t> scheduler, whereas Swarm is built by Docker Inc.</a:t>
            </a:r>
          </a:p>
          <a:p>
            <a:pPr marL="171450" indent="-171450">
              <a:buFontTx/>
              <a:buChar char="-"/>
            </a:pPr>
            <a:r>
              <a:rPr lang="en-US" baseline="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a:t>One important thing to note here is that EVERYTHING is OSS. You could easily take apps running on ACS and move them to another environment without changing anything you do.</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9:4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646910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marL="0"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9/2018 9:44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3</a:t>
            </a:fld>
            <a:endParaRPr lang="en-US" altLang="en-US" sz="1800" kern="0">
              <a:solidFill>
                <a:sysClr val="windowText" lastClr="000000"/>
              </a:solidFill>
            </a:endParaRPr>
          </a:p>
        </p:txBody>
      </p:sp>
    </p:spTree>
    <p:extLst>
      <p:ext uri="{BB962C8B-B14F-4D97-AF65-F5344CB8AC3E}">
        <p14:creationId xmlns:p14="http://schemas.microsoft.com/office/powerpoint/2010/main" val="32642221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Containers as Infrastructure: Getting started with Azure Container Instances: https://www.youtube.com/watch?v=2DazXdU2F_Q</a:t>
            </a:r>
          </a:p>
          <a:p>
            <a:endParaRPr lang="en-US" dirty="0"/>
          </a:p>
        </p:txBody>
      </p:sp>
    </p:spTree>
    <p:extLst>
      <p:ext uri="{BB962C8B-B14F-4D97-AF65-F5344CB8AC3E}">
        <p14:creationId xmlns:p14="http://schemas.microsoft.com/office/powerpoint/2010/main" val="6439009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announced Azure Reserved VM Instances (RIs) that will enable our customers to reserve virtual machines on Azure for 1 year or 3 year terms and provide significant cost savings. Key benefits include:</a:t>
            </a:r>
          </a:p>
          <a:p>
            <a:pPr lvl="0"/>
            <a:r>
              <a:rPr lang="en-US" sz="900" b="1" kern="1200" dirty="0">
                <a:solidFill>
                  <a:schemeClr val="tx1"/>
                </a:solidFill>
                <a:effectLst/>
                <a:latin typeface="Segoe UI Light" pitchFamily="34" charset="0"/>
                <a:ea typeface="+mn-ea"/>
                <a:cs typeface="+mn-cs"/>
              </a:rPr>
              <a:t>Cost savings</a:t>
            </a:r>
            <a:r>
              <a:rPr lang="en-US" sz="900" kern="1200" dirty="0">
                <a:solidFill>
                  <a:schemeClr val="tx1"/>
                </a:solidFill>
                <a:effectLst/>
                <a:latin typeface="Segoe UI Light" pitchFamily="34" charset="0"/>
                <a:ea typeface="+mn-ea"/>
                <a:cs typeface="+mn-cs"/>
              </a:rPr>
              <a:t>—customers can save up to 82% over pay as you go prices with RIs combined with Azure Hybrid Use Benefit (AHUB) for Windows VMs and up to 72% on all VMs. Customers can improve budgeting and forecasting because RIs are purchased in 1- and 3-year terms with a single up-front payment.</a:t>
            </a:r>
          </a:p>
          <a:p>
            <a:pPr lvl="0"/>
            <a:r>
              <a:rPr lang="en-US" sz="900" b="1" kern="1200" dirty="0">
                <a:solidFill>
                  <a:schemeClr val="tx1"/>
                </a:solidFill>
                <a:effectLst/>
                <a:latin typeface="Segoe UI Light" pitchFamily="34" charset="0"/>
                <a:ea typeface="+mn-ea"/>
                <a:cs typeface="+mn-cs"/>
              </a:rPr>
              <a:t>Simplicity and flexibility</a:t>
            </a:r>
            <a:r>
              <a:rPr lang="en-US" sz="900" kern="1200" dirty="0">
                <a:solidFill>
                  <a:schemeClr val="tx1"/>
                </a:solidFill>
                <a:effectLst/>
                <a:latin typeface="Segoe UI Light" pitchFamily="34" charset="0"/>
                <a:ea typeface="+mn-ea"/>
                <a:cs typeface="+mn-cs"/>
              </a:rPr>
              <a:t>—customers select only three items: region, VM series, and term, reducing purchasing complexity. If customers decide at any time during the term that they need to exchange or cancel reservations, that’s easy too.</a:t>
            </a:r>
          </a:p>
          <a:p>
            <a:pPr lvl="0"/>
            <a:r>
              <a:rPr lang="en-US" sz="900" b="1" kern="1200" dirty="0">
                <a:solidFill>
                  <a:schemeClr val="tx1"/>
                </a:solidFill>
                <a:effectLst/>
                <a:latin typeface="Segoe UI Light" pitchFamily="34" charset="0"/>
                <a:ea typeface="+mn-ea"/>
                <a:cs typeface="+mn-cs"/>
              </a:rPr>
              <a:t>Prioritized compute capacity</a:t>
            </a:r>
            <a:r>
              <a:rPr lang="en-US" sz="900" kern="1200" dirty="0">
                <a:solidFill>
                  <a:schemeClr val="tx1"/>
                </a:solidFill>
                <a:effectLst/>
                <a:latin typeface="Segoe UI Light" pitchFamily="34" charset="0"/>
                <a:ea typeface="+mn-ea"/>
                <a:cs typeface="+mn-cs"/>
              </a:rPr>
              <a:t>—customers request virtual machine capacity in their desired region or series to ensure the resources are available when—and where—they need them. Customers can now plan, implement, and execute against desired workloads by optimizing datacenter capacity around the globe.</a:t>
            </a:r>
          </a:p>
          <a:p>
            <a:r>
              <a:rPr lang="en-US" sz="900" kern="1200" dirty="0">
                <a:solidFill>
                  <a:schemeClr val="tx1"/>
                </a:solidFill>
                <a:effectLst/>
                <a:latin typeface="Segoe UI Light" pitchFamily="34" charset="0"/>
                <a:ea typeface="+mn-ea"/>
                <a:cs typeface="+mn-cs"/>
              </a:rPr>
              <a:t>Azure RIs are expected to become available for purchase before end of 2017</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solidFill>
                <a:schemeClr val="tx1"/>
              </a:soli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https://www.youtube.com/watch?v=DsEWCjgWNOo</a:t>
            </a:r>
          </a:p>
          <a:p>
            <a:endParaRPr lang="en-US" dirty="0"/>
          </a:p>
        </p:txBody>
      </p:sp>
    </p:spTree>
    <p:extLst>
      <p:ext uri="{BB962C8B-B14F-4D97-AF65-F5344CB8AC3E}">
        <p14:creationId xmlns:p14="http://schemas.microsoft.com/office/powerpoint/2010/main" val="1243847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2800" dirty="0"/>
              <a:t>In addition, to help you save more on VMs … RI</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dirty="0"/>
              <a:t>Cost and Governance</a:t>
            </a:r>
          </a:p>
          <a:p>
            <a:pPr marL="219429" indent="-457200" algn="l">
              <a:buFont typeface="Arial" panose="020B0604020202020204" pitchFamily="34" charset="0"/>
              <a:buChar char="•"/>
            </a:pPr>
            <a:r>
              <a:rPr lang="en-US" sz="2800" dirty="0" err="1">
                <a:solidFill>
                  <a:schemeClr val="bg1"/>
                </a:solidFill>
              </a:rPr>
              <a:t>Cloudyn</a:t>
            </a:r>
            <a:r>
              <a:rPr lang="en-US" sz="2800" dirty="0">
                <a:solidFill>
                  <a:schemeClr val="bg1"/>
                </a:solidFill>
              </a:rPr>
              <a:t> </a:t>
            </a:r>
            <a:r>
              <a:rPr lang="en-US" sz="2800" baseline="30000" dirty="0">
                <a:solidFill>
                  <a:srgbClr val="FFFF00"/>
                </a:solidFill>
              </a:rPr>
              <a:t>(NEW)</a:t>
            </a:r>
          </a:p>
          <a:p>
            <a:pPr marL="219429" indent="-457200" algn="l">
              <a:buFont typeface="Arial" panose="020B0604020202020204" pitchFamily="34" charset="0"/>
              <a:buChar char="•"/>
            </a:pPr>
            <a:r>
              <a:rPr lang="en-US" sz="2800" dirty="0">
                <a:solidFill>
                  <a:schemeClr val="bg1"/>
                </a:solidFill>
              </a:rPr>
              <a:t>Azure Advisor?</a:t>
            </a: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dirty="0"/>
              <a:t>Innovative Products and Services </a:t>
            </a:r>
          </a:p>
          <a:p>
            <a:pPr marL="219429" indent="-457200" algn="l">
              <a:buFont typeface="Arial" panose="020B0604020202020204" pitchFamily="34" charset="0"/>
              <a:buChar char="•"/>
            </a:pPr>
            <a:r>
              <a:rPr lang="en-US" sz="2800" dirty="0">
                <a:solidFill>
                  <a:schemeClr val="bg1"/>
                </a:solidFill>
              </a:rPr>
              <a:t>B-Series </a:t>
            </a:r>
            <a:r>
              <a:rPr lang="en-US" sz="2800" baseline="30000" dirty="0">
                <a:solidFill>
                  <a:srgbClr val="FFFF00"/>
                </a:solidFill>
              </a:rPr>
              <a:t>(NEW) </a:t>
            </a:r>
          </a:p>
          <a:p>
            <a:pPr marL="219429" indent="-457200" algn="l">
              <a:buFont typeface="Arial" panose="020B0604020202020204" pitchFamily="34" charset="0"/>
              <a:buChar char="•"/>
            </a:pPr>
            <a:r>
              <a:rPr lang="en-US" sz="2800" dirty="0">
                <a:solidFill>
                  <a:schemeClr val="bg1"/>
                </a:solidFill>
              </a:rPr>
              <a:t>Low priority VMs</a:t>
            </a:r>
          </a:p>
          <a:p>
            <a:pPr marL="219429" indent="-457200" algn="l">
              <a:buFont typeface="Arial" panose="020B0604020202020204" pitchFamily="34" charset="0"/>
              <a:buChar char="•"/>
            </a:pPr>
            <a:r>
              <a:rPr lang="en-US" sz="2800" dirty="0">
                <a:solidFill>
                  <a:schemeClr val="bg1"/>
                </a:solidFill>
              </a:rPr>
              <a:t>Per minute billing</a:t>
            </a:r>
          </a:p>
          <a:p>
            <a:pPr marL="219429" indent="-457200" algn="l">
              <a:buFont typeface="Arial" panose="020B0604020202020204" pitchFamily="34" charset="0"/>
              <a:buChar char="•"/>
            </a:pPr>
            <a:r>
              <a:rPr lang="en-US" sz="2800" dirty="0">
                <a:solidFill>
                  <a:schemeClr val="bg1"/>
                </a:solidFill>
              </a:rPr>
              <a:t>Auto shutdown</a:t>
            </a:r>
          </a:p>
          <a:p>
            <a:pPr marL="219429" indent="-457200" algn="l">
              <a:buFont typeface="Arial" panose="020B0604020202020204" pitchFamily="34" charset="0"/>
              <a:buChar char="•"/>
            </a:pPr>
            <a:r>
              <a:rPr lang="en-US" sz="2800" dirty="0">
                <a:solidFill>
                  <a:schemeClr val="bg1"/>
                </a:solidFill>
              </a:rPr>
              <a:t>Archival Storage</a:t>
            </a:r>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dirty="0"/>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dirty="0"/>
              <a:t>Compelling</a:t>
            </a:r>
            <a:r>
              <a:rPr lang="en-US" sz="2800" baseline="0" dirty="0"/>
              <a:t> Offers </a:t>
            </a:r>
          </a:p>
          <a:p>
            <a:pPr marL="219429" indent="-457200" algn="l">
              <a:buFont typeface="Arial" panose="020B0604020202020204" pitchFamily="34" charset="0"/>
              <a:buChar char="•"/>
            </a:pPr>
            <a:r>
              <a:rPr lang="en-US" sz="2800" dirty="0">
                <a:solidFill>
                  <a:schemeClr val="bg1"/>
                </a:solidFill>
              </a:rPr>
              <a:t>Azure Hybrid Benefit</a:t>
            </a:r>
          </a:p>
          <a:p>
            <a:pPr marL="219429" indent="-457200" algn="l">
              <a:buFont typeface="Arial" panose="020B0604020202020204" pitchFamily="34" charset="0"/>
              <a:buChar char="•"/>
            </a:pPr>
            <a:r>
              <a:rPr lang="en-US" sz="2800" dirty="0">
                <a:solidFill>
                  <a:schemeClr val="bg1"/>
                </a:solidFill>
              </a:rPr>
              <a:t>License Mobility</a:t>
            </a:r>
          </a:p>
          <a:p>
            <a:pPr marL="219429" indent="-457200" algn="l">
              <a:buFont typeface="Arial" panose="020B0604020202020204" pitchFamily="34" charset="0"/>
              <a:buChar char="•"/>
            </a:pPr>
            <a:r>
              <a:rPr lang="en-US" sz="2800" dirty="0">
                <a:solidFill>
                  <a:schemeClr val="bg1"/>
                </a:solidFill>
              </a:rPr>
              <a:t>MSDN Benefits?</a:t>
            </a:r>
          </a:p>
          <a:p>
            <a:pPr marL="219429" indent="-457200" algn="l">
              <a:buFont typeface="Arial" panose="020B0604020202020204" pitchFamily="34" charset="0"/>
              <a:buChar char="•"/>
            </a:pPr>
            <a:r>
              <a:rPr lang="en-US" sz="2800" dirty="0">
                <a:solidFill>
                  <a:schemeClr val="bg1"/>
                </a:solidFill>
              </a:rPr>
              <a:t>Free Tier/Account? </a:t>
            </a:r>
            <a:r>
              <a:rPr lang="en-US" sz="2800" baseline="30000" dirty="0">
                <a:solidFill>
                  <a:srgbClr val="FFFF00"/>
                </a:solidFill>
              </a:rPr>
              <a:t>(NEW)</a:t>
            </a:r>
            <a:endParaRPr lang="en-US" sz="2800" baseline="0" dirty="0"/>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baseline="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baseline="0" dirty="0"/>
              <a:t>Price Match Commitment</a:t>
            </a:r>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2800" dirty="0">
                <a:solidFill>
                  <a:schemeClr val="bg1"/>
                </a:solidFill>
              </a:rPr>
              <a:t>Take price of the equation on commodity services</a:t>
            </a:r>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dirty="0"/>
          </a:p>
          <a:p>
            <a:pPr marL="0" indent="0">
              <a:buFont typeface="+mj-lt"/>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64085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announced the public preview of Azure Availability Zones in two regions with more being added in the coming months. We’re building upon our existing regions with Availability Zones to provide a comprehensive set of high-availability and disaster recovery capabilities to meet the most demanding business continuity needs of your customers.</a:t>
            </a:r>
          </a:p>
          <a:p>
            <a:r>
              <a:rPr lang="en-US" sz="900" kern="1200" dirty="0">
                <a:solidFill>
                  <a:schemeClr val="tx1"/>
                </a:solidFill>
                <a:effectLst/>
                <a:latin typeface="Segoe UI Light" pitchFamily="34" charset="0"/>
                <a:ea typeface="+mn-ea"/>
                <a:cs typeface="+mn-cs"/>
              </a:rPr>
              <a:t>Availability Zones are fault-isolated locations within an Azure region, providing redundant power, cooling, and networking. Availability Zones allow your customers to run mission critical applications with high availability and fault tolerance to data center failures. We will be offering a financially backed 99.99% SLA for Virtual Machines deployed in two or more zones within a region when it is generally available.</a:t>
            </a:r>
          </a:p>
          <a:p>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ryiNkqYCcY4</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DXOTJPZzP6Q</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endParaRPr lang="en-US" dirty="0"/>
          </a:p>
        </p:txBody>
      </p:sp>
    </p:spTree>
    <p:extLst>
      <p:ext uri="{BB962C8B-B14F-4D97-AF65-F5344CB8AC3E}">
        <p14:creationId xmlns:p14="http://schemas.microsoft.com/office/powerpoint/2010/main" val="40408632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oud</a:t>
            </a:r>
            <a:r>
              <a:rPr lang="en-US" baseline="0"/>
              <a:t> services and cloud usage are broadly defined as existing across infrastructure services or IaaS and higher layer platform services or PaaS. The Azure Storage services span both categories. </a:t>
            </a:r>
          </a:p>
          <a:p>
            <a:endParaRPr lang="en-US" baseline="0"/>
          </a:p>
          <a:p>
            <a:r>
              <a:rPr lang="en-US" baseline="0"/>
              <a:t>On the IaaS side we provide single instance storage for VMs in the form of our Disks service and SMB shared storage which we call Azure Files.</a:t>
            </a:r>
          </a:p>
          <a:p>
            <a:endParaRPr lang="en-US" baseline="0"/>
          </a:p>
          <a:p>
            <a:r>
              <a:rPr lang="en-US" baseline="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a:p>
        </p:txBody>
      </p:sp>
      <p:sp>
        <p:nvSpPr>
          <p:cNvPr id="4" name="Header Placeholder 3"/>
          <p:cNvSpPr>
            <a:spLocks noGrp="1"/>
          </p:cNvSpPr>
          <p:nvPr>
            <p:ph type="hdr" sz="quarter" idx="10"/>
          </p:nvPr>
        </p:nvSpPr>
        <p:spPr/>
        <p:txBody>
          <a:bodyPr/>
          <a:lstStyle/>
          <a:p>
            <a:r>
              <a:rPr lang="en-US"/>
              <a:t>Microsoft Build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40422278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fr-FR" dirty="0"/>
              <a:t>https://azure.microsoft.com/roadmap/azure-file-sync/</a:t>
            </a:r>
          </a:p>
          <a:p>
            <a:r>
              <a:rPr lang="fr-FR" dirty="0"/>
              <a:t>https://azure.microsoft.com/en-us/blog/announcing-the-public-preview-for-azure-file-sync/</a:t>
            </a:r>
          </a:p>
          <a:p>
            <a:r>
              <a:rPr lang="fr-FR" dirty="0"/>
              <a:t>Microsoft Azure File Sync: https://www.youtube.com/watch?v=r26jWDGF_rg</a:t>
            </a:r>
          </a:p>
          <a:p>
            <a:endParaRPr lang="fr-FR" dirty="0"/>
          </a:p>
          <a:p>
            <a:r>
              <a:rPr lang="en-US" sz="900" b="1" kern="1200" dirty="0">
                <a:solidFill>
                  <a:schemeClr val="tx1"/>
                </a:solidFill>
                <a:effectLst/>
                <a:latin typeface="Segoe UI Light" pitchFamily="34" charset="0"/>
                <a:ea typeface="+mn-ea"/>
                <a:cs typeface="+mn-cs"/>
              </a:rPr>
              <a:t>Azure File Sync Public Preview Field Announcement</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File Sync is a new capability of Azure Files that allows customers to easily synchronize existing directories and files from Windows Server 2012R2 and 2016 to Azure Files. The public preview blog announcement will be released on September 25th. See for blog post. Azure File Sync provides the following scenarios to our customer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Multi-site sync and access – Azure File Sync synchronizes between Azure File Shares and Windows Servers. Customers with branches that require the same files to be accessed across these servers can use Azure File Sync to keep them consistent via a fully managed cloud service.</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oud tiering (server becomes cache) – Servers that are low on capacity can benefit from Azure File Sync cloud-tiering feature where less recently used data is removed from the local server and then recalled when an application or user accesses the file. This allows the local server to provide the same application compatibility and performance while increasing the storage capacity and simplifying management.</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Integrated server data backup – Azure File Sync works with Azure Backup to provide integrated backup and restoration. In the example of a branch office deployment instead of backing up each branch office file server, instead, use Azure Backup to backup the Azure File Share to safeguard the data. Azure File snapshots are supported where an entire share or a specific file version can be retrieved for point-in-time recovery.</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Direct cloud data access – Moving a workload (lift and shift) can be done with sync to allow both on premise and cloud access to the same data during the migration. This can allow portions of the workload to be moved into the cloud.</a:t>
            </a:r>
            <a:endParaRPr lang="en-US" sz="105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ublic Preview Structure</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zure File Sync public preview will launch in US West, West Europe, Southeast Asia, and Australia East. After public preview launch we will add other public regions based on demand. The public preview launches with the following restrictions:</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loud-Cloud sync is not supported but is being developed. Cloud to cloud sync allows 2 or more Azure File shares to also be in the same sync group.  One common use case would be to provide a new type of replication across regions that offers read/write access to multiple regions. A second use case would be to optimize a replication latency where servers exist in multiple region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Azure Files LRS and GRS is supported. GRS will provide a copy of the data that can be used in the case of region failover. Should a region failover occur, the Azure File Sync deployment would have to be recreated using the ‘copy’ of the data from the backup region.</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urrent limits for Azure File Sync (if any of these are blocking, please do contact xsyncpm@microsoft.com as these will increase through time) </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torage Sync Service objects per subscription:          15</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ync Groups per Storage Sync Service:                      3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Registered Servers per Storage Sync Service: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Cloud Endpoints per Sync Group:                               1</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rver Endpoints per Sync Group: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Items (files &amp; directories) per Sync Group:                4M</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Max File Size:                                                              500GB</a:t>
            </a:r>
            <a:endParaRPr lang="en-US" sz="1050" kern="1200" dirty="0">
              <a:solidFill>
                <a:schemeClr val="tx1"/>
              </a:solidFill>
              <a:effectLst/>
              <a:latin typeface="Segoe UI Light" pitchFamily="34" charset="0"/>
              <a:ea typeface="+mn-ea"/>
              <a:cs typeface="+mn-cs"/>
            </a:endParaRPr>
          </a:p>
          <a:p>
            <a:endParaRPr lang="fr-FR" dirty="0"/>
          </a:p>
        </p:txBody>
      </p:sp>
    </p:spTree>
    <p:extLst>
      <p:ext uri="{BB962C8B-B14F-4D97-AF65-F5344CB8AC3E}">
        <p14:creationId xmlns:p14="http://schemas.microsoft.com/office/powerpoint/2010/main" val="3720059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38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azure-data-box/</a:t>
            </a:r>
          </a:p>
          <a:p>
            <a:r>
              <a:rPr lang="en-US" dirty="0"/>
              <a:t>https://azure.microsoft.com/en-us/blog/announcing-the-preview-for-the-azure-data-box-achievements-will-be-unlock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nnouncing the limited preview of Azure Data Box</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re excited to announce the limited preview of Azure Data Box. The Azure Data Box is a secure, ruggedized, tamper resistant appliance created by Microsoft to help customers transfer large amounts of data into Azure Storage. Customers can order the Data Box through the Azure portal. The Data Box can connect to a customer’s networks via DHCP or customer supplied IP address. Customers can copy data to the Azure Data Box using the SMB 3.0 protocol and encrypt it using 256-bit AES encryption keys. When returned to Microsoft, customers can store their data in Azure Blob or Files storage and the device is erased after data upload. Partners can also use the Azure Data Box to help their customers with large Azure Data transfer projects. Availability for the preview will be limited US regions but we encourage all interested customers to express interest in participating.</a:t>
            </a:r>
          </a:p>
          <a:p>
            <a:r>
              <a:rPr lang="en-US" sz="900" kern="1200" dirty="0">
                <a:solidFill>
                  <a:schemeClr val="tx1"/>
                </a:solidFill>
                <a:effectLst/>
                <a:latin typeface="Segoe UI Light" pitchFamily="34" charset="0"/>
                <a:ea typeface="+mn-ea"/>
                <a:cs typeface="+mn-cs"/>
              </a:rPr>
              <a:t>Key points:</a:t>
            </a:r>
          </a:p>
          <a:p>
            <a:pPr lvl="0"/>
            <a:r>
              <a:rPr lang="en-US" sz="900" kern="1200" dirty="0">
                <a:solidFill>
                  <a:schemeClr val="tx1"/>
                </a:solidFill>
                <a:effectLst/>
                <a:latin typeface="Segoe UI Light" pitchFamily="34" charset="0"/>
                <a:ea typeface="+mn-ea"/>
                <a:cs typeface="+mn-cs"/>
              </a:rPr>
              <a:t>Limited inventory (Team will review each customer submission) </a:t>
            </a:r>
          </a:p>
          <a:p>
            <a:pPr lvl="0"/>
            <a:r>
              <a:rPr lang="en-US" sz="900" kern="1200" dirty="0">
                <a:solidFill>
                  <a:schemeClr val="tx1"/>
                </a:solidFill>
                <a:effectLst/>
                <a:latin typeface="Segoe UI Light" pitchFamily="34" charset="0"/>
                <a:ea typeface="+mn-ea"/>
                <a:cs typeface="+mn-cs"/>
              </a:rPr>
              <a:t>Early preview will use ‘proxy HW’ (Not final devices) while manufacturing ramps up for new devices </a:t>
            </a:r>
          </a:p>
          <a:p>
            <a:pPr lvl="0"/>
            <a:r>
              <a:rPr lang="en-US" sz="900" kern="1200" dirty="0">
                <a:solidFill>
                  <a:schemeClr val="tx1"/>
                </a:solidFill>
                <a:effectLst/>
                <a:latin typeface="Segoe UI Light" pitchFamily="34" charset="0"/>
                <a:ea typeface="+mn-ea"/>
                <a:cs typeface="+mn-cs"/>
              </a:rPr>
              <a:t>No charge to use devices during preview stages however normal storage charges apply for data</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20022082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Run through Availability Sets vs Availability Zone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Talk about UD (5) and FD (2)</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2 VMs in Availability Sets for 99.95% SLA</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baseline="0"/>
              <a:t>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Managed disks solves</a:t>
            </a:r>
            <a:r>
              <a:rPr lang="en-US" baseline="0"/>
              <a:t> the availability problem by ensuring the disks are created on physically separate stamps of storage when provisioned with VMs in an availability set. </a:t>
            </a:r>
            <a:endParaRPr lang="en-US"/>
          </a:p>
          <a:p>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51</a:t>
            </a:fld>
            <a:endParaRPr lang="en-US"/>
          </a:p>
        </p:txBody>
      </p:sp>
    </p:spTree>
    <p:extLst>
      <p:ext uri="{BB962C8B-B14F-4D97-AF65-F5344CB8AC3E}">
        <p14:creationId xmlns:p14="http://schemas.microsoft.com/office/powerpoint/2010/main" val="13091151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19275360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9:44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56382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21859440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introducing-azure-policy/</a:t>
            </a:r>
          </a:p>
          <a:p>
            <a:r>
              <a:rPr lang="en-US" dirty="0"/>
              <a:t>http://azure.com/policy</a:t>
            </a:r>
          </a:p>
          <a:p>
            <a:r>
              <a:rPr lang="en-US" dirty="0"/>
              <a:t>Implement governance in Azure at scale with policy based management: https://www.youtube.com/watch?v=4umiAqJMTKM </a:t>
            </a:r>
          </a:p>
        </p:txBody>
      </p:sp>
    </p:spTree>
    <p:extLst>
      <p:ext uri="{BB962C8B-B14F-4D97-AF65-F5344CB8AC3E}">
        <p14:creationId xmlns:p14="http://schemas.microsoft.com/office/powerpoint/2010/main" val="7099313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22673793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9113642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1651496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azure-network-watcher-connectivity-check-for-express-route/</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Network Watcher Connectivity Check for Azure ExpressRoute -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 Watcher announces the preview of Connectivity Check for Express Route circuits. This advanced capability added to the existing connectivity check feature enable you to identify hybrid connectivity issues from your Azure Virtual Machine to an on-premise machine connected over an Azure ExpressRoute circuit.</a:t>
            </a:r>
          </a:p>
          <a:p>
            <a:pPr lvl="0"/>
            <a:r>
              <a:rPr lang="en-US" sz="900" kern="1200" dirty="0">
                <a:solidFill>
                  <a:schemeClr val="tx1"/>
                </a:solidFill>
                <a:effectLst/>
                <a:latin typeface="Segoe UI Light" pitchFamily="34" charset="0"/>
                <a:ea typeface="+mn-ea"/>
                <a:cs typeface="+mn-cs"/>
              </a:rPr>
              <a:t>Hop by hop information with latency from your source VM to destination on-premise machine connected over Express Route circuit.</a:t>
            </a:r>
          </a:p>
          <a:p>
            <a:pPr lvl="0"/>
            <a:r>
              <a:rPr lang="en-US" sz="900" kern="1200" dirty="0">
                <a:solidFill>
                  <a:schemeClr val="tx1"/>
                </a:solidFill>
                <a:effectLst/>
                <a:latin typeface="Segoe UI Light" pitchFamily="34" charset="0"/>
                <a:ea typeface="+mn-ea"/>
                <a:cs typeface="+mn-cs"/>
              </a:rPr>
              <a:t>Get insights into possible paths the packet can take between source and destination.</a:t>
            </a:r>
          </a:p>
          <a:p>
            <a:pPr lvl="0"/>
            <a:r>
              <a:rPr lang="en-US" sz="900" kern="1200" dirty="0">
                <a:solidFill>
                  <a:schemeClr val="tx1"/>
                </a:solidFill>
                <a:effectLst/>
                <a:latin typeface="Segoe UI Light" pitchFamily="34" charset="0"/>
                <a:ea typeface="+mn-ea"/>
                <a:cs typeface="+mn-cs"/>
              </a:rPr>
              <a:t>Identify potential configuration issues like traffic blocked by NSG or guest firewall, routes issues due to user defined or system routes, incomplete or missing Address Resolution Protocol (ARP) table entry, missing routes in the Express Route gateway for the destination.</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3453385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1836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hybrid using the agen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6449763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9: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936892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4689977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Objective:</a:t>
            </a:r>
          </a:p>
          <a:p>
            <a:r>
              <a:rPr lang="en-US" sz="1200"/>
              <a:t>Illustrate</a:t>
            </a:r>
            <a:r>
              <a:rPr lang="en-US" sz="1200" baseline="0"/>
              <a:t> the differences between IaaS, PaaS and SaaS in a more technical way</a:t>
            </a:r>
          </a:p>
          <a:p>
            <a:endParaRPr lang="en-US" sz="1200" baseline="0"/>
          </a:p>
          <a:p>
            <a:r>
              <a:rPr lang="en-US" sz="1200" b="1" baseline="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chart summarizes the balance of responsibility for both Microsoft and the customer. </a:t>
            </a:r>
            <a:endParaRPr lang="en-US"/>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315274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 to-do- </a:t>
            </a:r>
            <a:r>
              <a:rPr lang="en-US"/>
              <a:t>&lt;simplify this slide,</a:t>
            </a:r>
            <a:r>
              <a:rPr lang="en-US" baseline="0"/>
              <a:t> IaaS (simple VM) </a:t>
            </a:r>
            <a:r>
              <a:rPr lang="en-US"/>
              <a:t>and box around</a:t>
            </a:r>
            <a:r>
              <a:rPr lang="en-US" baseline="0"/>
              <a:t> App Service, Service Fabric, Cloud Services, Functions and SaaS&gt; </a:t>
            </a: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609231B-6AE0-4AC7-A80E-B091DE4408D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316398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4269985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16610376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300"/>
              </a:spcBef>
              <a:spcAft>
                <a:spcPts val="600"/>
              </a:spcAft>
              <a:buClrTx/>
              <a:buSzPct val="116000"/>
              <a:buFont typeface="+mj-lt"/>
              <a:buNone/>
              <a:tabLst/>
              <a:defRPr/>
            </a:pPr>
            <a:r>
              <a:rPr kumimoji="0" lang="en-US" sz="1050" b="0" i="0" u="none" strike="noStrike" kern="0" cap="none" spc="30" normalizeH="0" baseline="0" noProof="0">
                <a:ln>
                  <a:noFill/>
                </a:ln>
                <a:solidFill>
                  <a:srgbClr val="FFFFFF"/>
                </a:solidFill>
                <a:effectLst/>
                <a:uLnTx/>
                <a:uFillTx/>
              </a:rPr>
              <a:t>Main Point: </a:t>
            </a:r>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kumimoji="0" lang="en-US" sz="1050" b="0" i="0" u="none" strike="noStrike" kern="0" cap="none" spc="30" normalizeH="0" baseline="0" noProof="0">
                <a:ln>
                  <a:noFill/>
                </a:ln>
                <a:solidFill>
                  <a:srgbClr val="FFFFFF"/>
                </a:solidFill>
                <a:effectLst/>
                <a:uLnTx/>
                <a:uFillTx/>
              </a:rPr>
              <a:t>Telemetry is collected at each</a:t>
            </a:r>
            <a:r>
              <a:rPr kumimoji="0" lang="en-US" sz="1050" b="0" i="0" u="none" strike="noStrike" kern="0" cap="none" spc="0" normalizeH="0" baseline="0" noProof="0">
                <a:ln>
                  <a:noFill/>
                </a:ln>
                <a:solidFill>
                  <a:srgbClr val="FFFFFF"/>
                </a:solidFill>
                <a:effectLst/>
                <a:uLnTx/>
                <a:uFillTx/>
              </a:rPr>
              <a:t> </a:t>
            </a:r>
            <a:r>
              <a:rPr kumimoji="0" lang="en-US" sz="1050" b="0" i="0" u="none" strike="noStrike" kern="0" cap="none" spc="-40" normalizeH="0" baseline="0" noProof="0">
                <a:ln>
                  <a:noFill/>
                </a:ln>
                <a:solidFill>
                  <a:srgbClr val="FFFFFF"/>
                </a:solidFill>
                <a:effectLst/>
                <a:uLnTx/>
                <a:uFillTx/>
              </a:rPr>
              <a:t>tier: server backend, middleware,</a:t>
            </a:r>
            <a:r>
              <a:rPr kumimoji="0" lang="en-US" sz="1050" b="0" i="0" u="none" strike="noStrike" kern="0" cap="none" spc="0" normalizeH="0" baseline="0" noProof="0">
                <a:ln>
                  <a:noFill/>
                </a:ln>
                <a:solidFill>
                  <a:srgbClr val="FFFFFF"/>
                </a:solidFill>
                <a:effectLst/>
                <a:uLnTx/>
                <a:uFillTx/>
              </a:rPr>
              <a:t> web service &amp; browser</a:t>
            </a:r>
          </a:p>
          <a:p>
            <a:pPr marL="228600" lvl="0" indent="-228600" defTabSz="914400">
              <a:lnSpc>
                <a:spcPct val="120000"/>
              </a:lnSpc>
              <a:buFont typeface="+mj-lt"/>
              <a:buAutoNum type="arabicPeriod"/>
              <a:defRPr/>
            </a:pPr>
            <a:r>
              <a:rPr lang="en-US" sz="1050" kern="0" spc="-20"/>
              <a:t>Telemetry arrives in the cloud where</a:t>
            </a:r>
            <a:r>
              <a:rPr lang="en-US" sz="1050" kern="0"/>
              <a:t> </a:t>
            </a:r>
            <a:r>
              <a:rPr lang="en-US" sz="1050" kern="0" spc="-20"/>
              <a:t>it is stored &amp; processed with Machine Learning technology</a:t>
            </a:r>
            <a:endParaRPr lang="en-US" sz="1050" kern="0"/>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lang="en-US" sz="1050" kern="0"/>
              <a:t>Detect &amp; Diagnose problems in Azure Portal; Ask ad-hoc queries in Analytics; Integrate, Extend &amp; Customize</a:t>
            </a:r>
          </a:p>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1576728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0452611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071085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6977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a:t>
            </a:r>
            <a:r>
              <a:rPr lang="en-US" baseline="0"/>
              <a:t> is the whole (top level) Dev Ops story where Dev build </a:t>
            </a:r>
            <a:r>
              <a:rPr lang="en-US" baseline="0" err="1"/>
              <a:t>wounderful</a:t>
            </a:r>
            <a:r>
              <a:rPr lang="en-US" baseline="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err="1"/>
              <a:t>devs</a:t>
            </a:r>
            <a:r>
              <a:rPr lang="en-US" baseline="0"/>
              <a:t> can make updates.  Rinse and repeat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2167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6326143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264391982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re are many powerful best-of-breed point solutions – both OSS and commercial – available toda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se tools cover individual DevOps tasks or entire phases, and teams choose and integrate their preferred tools in order to get an end-to-end toolchain that works for 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is technology-agnostic.</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Doesn’t matter what tool, language or platform, VSTS can integrate and work with i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see VSTS being used more and more as an </a:t>
            </a: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ion platform</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or diverse toolchains – it enables end-to-end visibility and traceabil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have integrations and partners in the Marketplace for all popular OSS tools out the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works great as an integration platform that helps cut down on cost and effort of wiring together diverse tools from different sources or as a general value-add to existing OSS DevOps toolchains.</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61913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1457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2925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49525620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221347524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0469936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2866543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94299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All about responding</a:t>
            </a:r>
            <a:r>
              <a:rPr lang="en-US" baseline="0"/>
              <a:t> to events</a:t>
            </a:r>
          </a:p>
          <a:p>
            <a:pPr marL="171450" indent="-171450">
              <a:buFontTx/>
              <a:buChar char="-"/>
            </a:pPr>
            <a:r>
              <a:rPr lang="en-US" baseline="0"/>
              <a:t>An event happens – say a change in one of your storage accounts or there’s a merge happens in your GitHub repo..</a:t>
            </a:r>
          </a:p>
          <a:p>
            <a:pPr marL="171450" indent="-171450">
              <a:buFontTx/>
              <a:buChar char="-"/>
            </a:pPr>
            <a:r>
              <a:rPr lang="en-US" baseline="0"/>
              <a:t>You only pay when your code runs.</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9/2018 9:44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80</a:t>
            </a:fld>
            <a:endParaRPr lang="en-US" altLang="en-US"/>
          </a:p>
        </p:txBody>
      </p:sp>
    </p:spTree>
    <p:extLst>
      <p:ext uri="{BB962C8B-B14F-4D97-AF65-F5344CB8AC3E}">
        <p14:creationId xmlns:p14="http://schemas.microsoft.com/office/powerpoint/2010/main" val="26501909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53650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35875539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23934493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32"/>
              </a:spcAft>
            </a:pPr>
            <a:r>
              <a:rPr lang="en-US">
                <a:latin typeface="Segoe UI Light" panose="020B0502040204020203" pitchFamily="34" charset="0"/>
                <a:cs typeface="Segoe UI Light" panose="020B0502040204020203" pitchFamily="34" charset="0"/>
              </a:rPr>
              <a:t>Today we announced the Azure SQL DB Managed Instance feature.</a:t>
            </a:r>
          </a:p>
          <a:p>
            <a:pPr>
              <a:lnSpc>
                <a:spcPct val="90000"/>
              </a:lnSpc>
              <a:spcAft>
                <a:spcPts val="632"/>
              </a:spcAft>
            </a:pPr>
            <a:r>
              <a:rPr lang="en-US">
                <a:latin typeface="Segoe UI Light" panose="020B0502040204020203" pitchFamily="34" charset="0"/>
                <a:cs typeface="Segoe UI Light" panose="020B0502040204020203" pitchFamily="34" charset="0"/>
              </a:rPr>
              <a:t>It makes it easy to migrate a fleet of SQL Server Databases from on-premises to the cloud without application re-architecture. </a:t>
            </a:r>
          </a:p>
          <a:p>
            <a:pPr>
              <a:lnSpc>
                <a:spcPct val="90000"/>
              </a:lnSpc>
              <a:spcAft>
                <a:spcPts val="632"/>
              </a:spcAft>
            </a:pPr>
            <a:r>
              <a:rPr lang="en-US">
                <a:latin typeface="Segoe UI Light" panose="020B0502040204020203" pitchFamily="34" charset="0"/>
                <a:cs typeface="Segoe UI Light" panose="020B0502040204020203" pitchFamily="34" charset="0"/>
              </a:rPr>
              <a:t>Enables security policy with </a:t>
            </a:r>
            <a:r>
              <a:rPr lang="en-US" err="1">
                <a:latin typeface="Segoe UI Light" panose="020B0502040204020203" pitchFamily="34" charset="0"/>
                <a:cs typeface="Segoe UI Light" panose="020B0502040204020203" pitchFamily="34" charset="0"/>
              </a:rPr>
              <a:t>Vnet</a:t>
            </a:r>
            <a:r>
              <a:rPr lang="en-US">
                <a:latin typeface="Segoe UI Light" panose="020B0502040204020203" pitchFamily="34" charset="0"/>
                <a:cs typeface="Segoe UI Light" panose="020B0502040204020203" pitchFamily="34" charset="0"/>
              </a:rPr>
              <a:t> support</a:t>
            </a:r>
          </a:p>
          <a:p>
            <a:pPr>
              <a:lnSpc>
                <a:spcPct val="90000"/>
              </a:lnSpc>
              <a:spcAft>
                <a:spcPts val="632"/>
              </a:spcAft>
            </a:pPr>
            <a:r>
              <a:rPr lang="en-US">
                <a:latin typeface="Segoe UI Light" panose="020B0502040204020203" pitchFamily="34" charset="0"/>
                <a:cs typeface="Segoe UI Light" panose="020B0502040204020203" pitchFamily="34" charset="0"/>
              </a:rPr>
              <a:t>Near 100% </a:t>
            </a:r>
            <a:r>
              <a:rPr lang="en-US" err="1">
                <a:latin typeface="Segoe UI Light" panose="020B0502040204020203" pitchFamily="34" charset="0"/>
                <a:cs typeface="Segoe UI Light" panose="020B0502040204020203" pitchFamily="34" charset="0"/>
              </a:rPr>
              <a:t>compatibitility</a:t>
            </a:r>
            <a:r>
              <a:rPr lang="en-US">
                <a:latin typeface="Segoe UI Light" panose="020B0502040204020203" pitchFamily="34" charset="0"/>
                <a:cs typeface="Segoe UI Light" panose="020B0502040204020203" pitchFamily="34" charset="0"/>
              </a:rPr>
              <a:t> to SQL Server, with SQL Agent, 3-part names, </a:t>
            </a:r>
            <a:r>
              <a:rPr lang="en-US" err="1">
                <a:latin typeface="Segoe UI Light" panose="020B0502040204020203" pitchFamily="34" charset="0"/>
                <a:cs typeface="Segoe UI Light" panose="020B0502040204020203" pitchFamily="34" charset="0"/>
              </a:rPr>
              <a:t>DBMail</a:t>
            </a:r>
            <a:r>
              <a:rPr lang="en-US">
                <a:latin typeface="Segoe UI Light" panose="020B0502040204020203" pitchFamily="34" charset="0"/>
                <a:cs typeface="Segoe UI Light" panose="020B0502040204020203" pitchFamily="34" charset="0"/>
              </a:rPr>
              <a:t>, CDC, Service Broker</a:t>
            </a:r>
          </a:p>
          <a:p>
            <a:pPr>
              <a:lnSpc>
                <a:spcPct val="90000"/>
              </a:lnSpc>
              <a:spcAft>
                <a:spcPts val="632"/>
              </a:spcAft>
            </a:pPr>
            <a:r>
              <a:rPr lang="en-US">
                <a:latin typeface="Segoe UI Light" panose="020B0502040204020203" pitchFamily="34" charset="0"/>
                <a:cs typeface="Segoe UI Light" panose="020B0502040204020203" pitchFamily="34" charset="0"/>
              </a:rPr>
              <a:t>Now let’s hear from a developer like you about how they are using SQL Server.</a:t>
            </a:r>
          </a:p>
          <a:p>
            <a:pPr>
              <a:lnSpc>
                <a:spcPct val="90000"/>
              </a:lnSpc>
              <a:spcAft>
                <a:spcPts val="632"/>
              </a:spcAft>
            </a:pPr>
            <a:endParaRPr lang="en-US">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2925">
              <a:defRPr/>
            </a:pPr>
            <a:fld id="{D6FCFD6A-4BD9-4516-9E31-F047A5C70304}" type="slidenum">
              <a:rPr lang="en-US">
                <a:solidFill>
                  <a:prstClr val="black"/>
                </a:solidFill>
                <a:latin typeface="Calibri" panose="020F0502020204030204"/>
              </a:rPr>
              <a:pPr defTabSz="962925">
                <a:defRPr/>
              </a:pPr>
              <a:t>84</a:t>
            </a:fld>
            <a:endParaRPr lang="en-US">
              <a:solidFill>
                <a:prstClr val="black"/>
              </a:solidFill>
              <a:latin typeface="Calibri" panose="020F0502020204030204"/>
            </a:endParaRPr>
          </a:p>
        </p:txBody>
      </p:sp>
    </p:spTree>
    <p:extLst>
      <p:ext uri="{BB962C8B-B14F-4D97-AF65-F5344CB8AC3E}">
        <p14:creationId xmlns:p14="http://schemas.microsoft.com/office/powerpoint/2010/main" val="62645155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322488864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4107372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In the cloud, we have taken relational databases to a whole new level of simplicity and manageability. </a:t>
            </a:r>
          </a:p>
          <a:p>
            <a:r>
              <a:rPr lang="en-US" baseline="0"/>
              <a:t>We have a fully managed service that now supports the top three most popular databases in the world – SQL Server, and announced today, MySQL and PostgreSQL. </a:t>
            </a:r>
          </a:p>
          <a:p>
            <a:endParaRPr lang="en-US" baseline="0"/>
          </a:p>
          <a:p>
            <a:r>
              <a:rPr lang="en-US" baseline="0"/>
              <a:t>The Azure RDMS platform is intelligent, flexible and secure. </a:t>
            </a:r>
          </a:p>
          <a:p>
            <a:r>
              <a:rPr lang="en-US" baseline="0"/>
              <a:t>It’s built on top of the scalable Azure compute, storage fabric, and the Azure cloud that is available in more regions than any other clouds.</a:t>
            </a:r>
          </a:p>
          <a:p>
            <a:r>
              <a:rPr lang="en-US" baseline="0"/>
              <a:t>On this fabric, we deliver capabilities such as built-in HA, backup/restore services, full isolation for each databases with resource governance, monitoring and performance tuning and security advisors. </a:t>
            </a:r>
          </a:p>
          <a:p>
            <a:pPr defTabSz="948507"/>
            <a:r>
              <a:rPr lang="en-US">
                <a:solidFill>
                  <a:srgbClr val="FFFFFF"/>
                </a:solidFill>
                <a:cs typeface="Segoe UI" panose="020B0502040204020203" pitchFamily="34" charset="0"/>
              </a:rPr>
              <a:t>And the platform allows you to scale on the fly with no application downtime. </a:t>
            </a:r>
            <a:endParaRPr lang="en-US" baseline="0"/>
          </a:p>
          <a:p>
            <a:pPr defTabSz="948507">
              <a:defRPr/>
            </a:pPr>
            <a:r>
              <a:rPr lang="en-US" baseline="0"/>
              <a:t>For MySQL and PostgreSQL, we are using fully compatible community versions </a:t>
            </a:r>
            <a:r>
              <a:rPr lang="en-US"/>
              <a:t>with native tools, drivers and libraries.</a:t>
            </a:r>
          </a:p>
          <a:p>
            <a:endParaRPr lang="en-US" baseline="0"/>
          </a:p>
        </p:txBody>
      </p:sp>
      <p:sp>
        <p:nvSpPr>
          <p:cNvPr id="4" name="Slide Number Placeholder 3"/>
          <p:cNvSpPr>
            <a:spLocks noGrp="1"/>
          </p:cNvSpPr>
          <p:nvPr>
            <p:ph type="sldNum" sz="quarter" idx="10"/>
          </p:nvPr>
        </p:nvSpPr>
        <p:spPr/>
        <p:txBody>
          <a:bodyPr/>
          <a:lstStyle/>
          <a:p>
            <a:pPr defTabSz="967533">
              <a:defRPr/>
            </a:pPr>
            <a:fld id="{7D89A995-4568-46E8-8D9C-53A8C4B4CDE6}" type="slidenum">
              <a:rPr lang="en-US">
                <a:solidFill>
                  <a:prstClr val="black"/>
                </a:solidFill>
                <a:latin typeface="Segoe UI" pitchFamily="34" charset="0"/>
              </a:rPr>
              <a:pPr defTabSz="967533">
                <a:defRPr/>
              </a:pPr>
              <a:t>87</a:t>
            </a:fld>
            <a:endParaRPr lang="en-US">
              <a:solidFill>
                <a:prstClr val="black"/>
              </a:solidFill>
              <a:latin typeface="Segoe UI" pitchFamily="34" charset="0"/>
            </a:endParaRPr>
          </a:p>
        </p:txBody>
      </p:sp>
    </p:spTree>
    <p:extLst>
      <p:ext uri="{BB962C8B-B14F-4D97-AF65-F5344CB8AC3E}">
        <p14:creationId xmlns:p14="http://schemas.microsoft.com/office/powerpoint/2010/main" val="300982054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As for every major metric: availability, latency, throughput and consistency</a:t>
            </a:r>
          </a:p>
          <a:p>
            <a:r>
              <a:rPr lang="en-US"/>
              <a:t>Latency SLA – &lt;10ms for read, &lt; 15ms for (indexed) writes, at 99</a:t>
            </a:r>
            <a:r>
              <a:rPr lang="en-US" baseline="30000"/>
              <a:t>th</a:t>
            </a:r>
            <a:r>
              <a:rPr lang="en-US"/>
              <a:t> percentile anywhere in the world</a:t>
            </a:r>
          </a:p>
          <a:p>
            <a:r>
              <a:rPr lang="en-US"/>
              <a:t>Consistency – choice of strong, bounded staleness, consistent-prefix, session and eventual</a:t>
            </a:r>
          </a:p>
          <a:p>
            <a:r>
              <a:rPr lang="en-US"/>
              <a:t>APIs: SQL, JavaScript, Gremlin, MongoDB, Azure Table Storage with key-value, graph and document data supported</a:t>
            </a:r>
          </a:p>
          <a:p>
            <a:endParaRPr lang="en-US"/>
          </a:p>
          <a:p>
            <a:endParaRPr lang="en-US"/>
          </a:p>
          <a:p>
            <a:r>
              <a:rPr lang="en-US"/>
              <a:t>Imagine a horizontally scalable database that puts data everywhere your users are. </a:t>
            </a:r>
          </a:p>
          <a:p>
            <a:endParaRPr lang="en-US"/>
          </a:p>
          <a:p>
            <a:r>
              <a:rPr lang="en-US"/>
              <a:t>It seems intuitive, but most databases are still light years away from true turn-key global distribution.</a:t>
            </a:r>
          </a:p>
        </p:txBody>
      </p:sp>
      <p:sp>
        <p:nvSpPr>
          <p:cNvPr id="4" name="Header Placeholder 3"/>
          <p:cNvSpPr>
            <a:spLocks noGrp="1"/>
          </p:cNvSpPr>
          <p:nvPr>
            <p:ph type="hdr" sz="quarter" idx="10"/>
          </p:nvPr>
        </p:nvSpPr>
        <p:spPr/>
        <p:txBody>
          <a:bodyPr/>
          <a:lstStyle/>
          <a:p>
            <a:pPr defTabSz="948507">
              <a:defRPr/>
            </a:pPr>
            <a:endParaRPr lang="en-US" sz="1900" kern="0">
              <a:solidFill>
                <a:sysClr val="windowText" lastClr="000000"/>
              </a:solidFill>
              <a:latin typeface="Calibri"/>
            </a:endParaRPr>
          </a:p>
        </p:txBody>
      </p:sp>
      <p:sp>
        <p:nvSpPr>
          <p:cNvPr id="5" name="Footer Placeholder 4"/>
          <p:cNvSpPr>
            <a:spLocks noGrp="1"/>
          </p:cNvSpPr>
          <p:nvPr>
            <p:ph type="ftr" sz="quarter" idx="11"/>
          </p:nvPr>
        </p:nvSpPr>
        <p:spPr/>
        <p:txBody>
          <a:bodyPr/>
          <a:lstStyle/>
          <a:p>
            <a:pPr defTabSz="948195"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8507">
              <a:defRPr/>
            </a:pPr>
            <a:fld id="{23A5C127-CB05-47B6-8D1E-7BC74A68F508}" type="datetime8">
              <a:rPr lang="en-US" sz="1900" kern="0">
                <a:solidFill>
                  <a:sysClr val="windowText" lastClr="000000"/>
                </a:solidFill>
                <a:latin typeface="Calibri"/>
              </a:rPr>
              <a:pPr defTabSz="948507">
                <a:defRPr/>
              </a:pPr>
              <a:t>5/9/2018 9:44 AM</a:t>
            </a:fld>
            <a:endParaRPr lang="en-US" sz="1900" kern="0">
              <a:solidFill>
                <a:sysClr val="windowText" lastClr="000000"/>
              </a:solidFill>
              <a:latin typeface="Calibri"/>
            </a:endParaRPr>
          </a:p>
        </p:txBody>
      </p:sp>
      <p:sp>
        <p:nvSpPr>
          <p:cNvPr id="7" name="Slide Number Placeholder 6"/>
          <p:cNvSpPr>
            <a:spLocks noGrp="1"/>
          </p:cNvSpPr>
          <p:nvPr>
            <p:ph type="sldNum" sz="quarter" idx="13"/>
          </p:nvPr>
        </p:nvSpPr>
        <p:spPr/>
        <p:txBody>
          <a:bodyPr/>
          <a:lstStyle/>
          <a:p>
            <a:pPr defTabSz="948507">
              <a:defRPr/>
            </a:pPr>
            <a:fld id="{B4008EB6-D09E-4580-8CD6-DDB14511944F}" type="slidenum">
              <a:rPr lang="en-US" sz="1900" kern="0">
                <a:solidFill>
                  <a:sysClr val="windowText" lastClr="000000"/>
                </a:solidFill>
                <a:latin typeface="Calibri"/>
              </a:rPr>
              <a:pPr defTabSz="948507">
                <a:defRPr/>
              </a:pPr>
              <a:t>88</a:t>
            </a:fld>
            <a:endParaRPr lang="en-US" sz="1900" kern="0">
              <a:solidFill>
                <a:sysClr val="windowText" lastClr="000000"/>
              </a:solidFill>
              <a:latin typeface="Calibri"/>
            </a:endParaRPr>
          </a:p>
        </p:txBody>
      </p:sp>
    </p:spTree>
    <p:extLst>
      <p:ext uri="{BB962C8B-B14F-4D97-AF65-F5344CB8AC3E}">
        <p14:creationId xmlns:p14="http://schemas.microsoft.com/office/powerpoint/2010/main" val="26726934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4277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29114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Good quick demo at http:/captionbot.a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We’re going to dive into each one, starting with dat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7317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9:44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727975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a:p>
        </p:txBody>
      </p:sp>
    </p:spTree>
    <p:extLst>
      <p:ext uri="{BB962C8B-B14F-4D97-AF65-F5344CB8AC3E}">
        <p14:creationId xmlns:p14="http://schemas.microsoft.com/office/powerpoint/2010/main" val="47513066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121779802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29416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11D4B0C-B40C-4B38-86E4-2AFA7E1947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9028670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a:t>Introduce the two ways</a:t>
            </a:r>
            <a:r>
              <a:rPr lang="en-US" baseline="0"/>
              <a:t> to manage Azure services.</a:t>
            </a:r>
          </a:p>
          <a:p>
            <a:r>
              <a:rPr lang="en-US" baseline="0"/>
              <a:t>ASM has been around since 2009 and is getting long in the tooth.</a:t>
            </a:r>
          </a:p>
          <a:p>
            <a:r>
              <a:rPr lang="en-US" baseline="0"/>
              <a:t>ARM supports modern deployment practices. It is designed to be extensible to all current and future services.</a:t>
            </a:r>
          </a:p>
          <a:p>
            <a:endParaRPr lang="en-US" baseline="0"/>
          </a:p>
          <a:p>
            <a:pPr marL="0" indent="0">
              <a:buNone/>
            </a:pPr>
            <a:r>
              <a:rPr lang="en-GB"/>
              <a:t>Since we currently</a:t>
            </a:r>
            <a:r>
              <a:rPr lang="en-GB" baseline="0"/>
              <a:t> have two different APIs in use in Azure, we want to explain, although not very deeply, that in the CURRENT portal and V1/Classic, the resources are categorized and accessed via a REST API named ‘Service Management API’. Primarily, access to this portal and items in Azure through this API has been through the use of certificates and then later Microsoft has started adding the capability of using Azure AD through the use of Add-</a:t>
            </a:r>
            <a:r>
              <a:rPr lang="en-GB" baseline="0" err="1"/>
              <a:t>AzureAccount</a:t>
            </a:r>
            <a:r>
              <a:rPr lang="en-GB" baseline="0"/>
              <a:t>.</a:t>
            </a:r>
          </a:p>
          <a:p>
            <a:pPr marL="0" indent="0">
              <a:buNone/>
            </a:pPr>
            <a:endParaRPr lang="en-GB" baseline="0"/>
          </a:p>
          <a:p>
            <a:pPr marL="0" indent="0">
              <a:buNone/>
            </a:pPr>
            <a:r>
              <a:rPr lang="en-GB" baseline="0"/>
              <a:t>An IT Pro rarely, if ever, will use the API directly, although all other Azure tools do use the API. So, the programmatic aspect of this is not really relevant, but as of the ARM API, how the VMs are accessed has completely changed because of the different API.</a:t>
            </a:r>
          </a:p>
          <a:p>
            <a:pPr marL="0" indent="0">
              <a:buNone/>
            </a:pPr>
            <a:endParaRPr lang="en-GB" baseline="0"/>
          </a:p>
          <a:p>
            <a:pPr marL="0" indent="0">
              <a:buNone/>
            </a:pPr>
            <a:r>
              <a:rPr lang="en-GB" baseline="0"/>
              <a:t>NOTES</a:t>
            </a:r>
            <a:endParaRPr lang="en-GB"/>
          </a:p>
          <a:p>
            <a:r>
              <a:rPr lang="en-GB"/>
              <a:t>For now it’s not possible to upload a management</a:t>
            </a:r>
            <a:r>
              <a:rPr lang="en-GB" baseline="0"/>
              <a:t> certificate with the SMAPI (which makes sense as accessing the SMAPI requires a management certificate…). You instead have to upload it via the portal</a:t>
            </a:r>
          </a:p>
          <a:p>
            <a:r>
              <a:rPr lang="en-GB"/>
              <a:t>The subscription ID forms part of the URI,</a:t>
            </a:r>
            <a:r>
              <a:rPr lang="en-GB" baseline="0"/>
              <a:t> which is in line with the fact that the Subscription in the security boundary for the administration of the resources.</a:t>
            </a:r>
          </a:p>
          <a:p>
            <a:endParaRPr lang="en-GB" baseline="0"/>
          </a:p>
          <a:p>
            <a:endParaRPr lang="en-GB"/>
          </a:p>
          <a:p>
            <a:pPr marL="0" indent="0">
              <a:buNone/>
            </a:pPr>
            <a:endParaRPr lang="en-US"/>
          </a:p>
        </p:txBody>
      </p:sp>
      <p:sp>
        <p:nvSpPr>
          <p:cNvPr id="6" name="Date Placeholder 5"/>
          <p:cNvSpPr>
            <a:spLocks noGrp="1"/>
          </p:cNvSpPr>
          <p:nvPr>
            <p:ph type="dt" idx="12"/>
          </p:nvPr>
        </p:nvSpPr>
        <p:spPr>
          <a:xfrm>
            <a:off x="4023092" y="0"/>
            <a:ext cx="3077739" cy="468471"/>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a:ln>
                <a:noFill/>
              </a:ln>
              <a:solidFill>
                <a:sysClr val="windowText" lastClr="000000"/>
              </a:solidFill>
              <a:effectLst/>
              <a:uLnTx/>
              <a:uFillTx/>
            </a:endParaRPr>
          </a:p>
        </p:txBody>
      </p:sp>
      <p:sp>
        <p:nvSpPr>
          <p:cNvPr id="10" name="Footer Placeholder 9"/>
          <p:cNvSpPr>
            <a:spLocks noGrp="1"/>
          </p:cNvSpPr>
          <p:nvPr>
            <p:ph type="ftr" sz="quarter" idx="14"/>
          </p:nvPr>
        </p:nvSpPr>
        <p:spPr>
          <a:xfrm>
            <a:off x="0" y="8900954"/>
            <a:ext cx="6131803" cy="364740"/>
          </a:xfrm>
          <a:prstGeom prst="rect">
            <a:avLst/>
          </a:prstGeom>
        </p:spPr>
        <p:txBody>
          <a:bodyPr/>
          <a:lstStyle/>
          <a:p>
            <a:pPr marL="0" marR="0" lvl="0" indent="0" defTabSz="940882"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033819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018 9:4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1760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9: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406652408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018 9:44 AM</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5823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image" Target="../media/image19.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842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473317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9581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6403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19513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444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67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808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793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980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2775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554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r>
              <a:rPr lang="en-US">
                <a:solidFill>
                  <a:srgbClr val="505050"/>
                </a:solidFill>
              </a:rPr>
              <a:t>Data as of December 16, 2016</a:t>
            </a:r>
          </a:p>
        </p:txBody>
      </p:sp>
    </p:spTree>
    <p:extLst>
      <p:ext uri="{BB962C8B-B14F-4D97-AF65-F5344CB8AC3E}">
        <p14:creationId xmlns:p14="http://schemas.microsoft.com/office/powerpoint/2010/main" val="220032293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748814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18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308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540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0123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687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250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3240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8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9468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022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1430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5512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62805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5826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7938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22737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85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04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01996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61539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308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1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6119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4149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576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5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7570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37676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80546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3042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09093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444239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2167060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55147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79257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184985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50152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5177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23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104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4053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1057302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66680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5/9/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2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4497277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85614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907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8738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pic>
        <p:nvPicPr>
          <p:cNvPr id="13" name="Picture 12"/>
          <p:cNvPicPr>
            <a:picLocks noChangeAspect="1"/>
          </p:cNvPicPr>
          <p:nvPr userDrawn="1"/>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5965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69106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userDrawn="1"/>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2526103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Option 4">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121785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77098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3368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300090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94730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387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6656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9911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64799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265251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98376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1378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331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1005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2794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474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67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971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35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2841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0971836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0626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1" y="6461711"/>
            <a:ext cx="12436475"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303795" y="6094106"/>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338575" y="6351176"/>
            <a:ext cx="1824626" cy="773723"/>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86558" y="3919738"/>
            <a:ext cx="182438" cy="555555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686283" y="6822755"/>
            <a:ext cx="3820134" cy="16351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49681" y="5845557"/>
            <a:ext cx="7843864" cy="757825"/>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224377" y="6437658"/>
            <a:ext cx="709317" cy="266055"/>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536785" y="6745184"/>
            <a:ext cx="325590" cy="26605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89231" y="6735384"/>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431636" y="6597569"/>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6886" y="6994525"/>
            <a:ext cx="12870248"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91886" y="6209243"/>
            <a:ext cx="39188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511704"/>
            <a:ext cx="12436475" cy="9573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469063"/>
            <a:ext cx="12436475" cy="525462"/>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71510" y="6626059"/>
            <a:ext cx="936609" cy="206372"/>
          </a:xfrm>
          <a:prstGeom prst="rect">
            <a:avLst/>
          </a:prstGeom>
        </p:spPr>
      </p:pic>
    </p:spTree>
    <p:extLst>
      <p:ext uri="{BB962C8B-B14F-4D97-AF65-F5344CB8AC3E}">
        <p14:creationId xmlns:p14="http://schemas.microsoft.com/office/powerpoint/2010/main" val="2071492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875850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21636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75605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436696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30198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6538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543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661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3998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15271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2947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285012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774646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5692197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3279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42261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1984839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68492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43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936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6027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59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13530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7138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54229053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D95924-BB51-48E0-8B15-958CB38E3AA7}"/>
              </a:ext>
            </a:extLst>
          </p:cNvPr>
          <p:cNvSpPr/>
          <p:nvPr userDrawn="1"/>
        </p:nvSpPr>
        <p:spPr bwMode="auto">
          <a:xfrm rot="5400000" flipV="1">
            <a:off x="2714520" y="-2727430"/>
            <a:ext cx="6994525" cy="12449385"/>
          </a:xfrm>
          <a:prstGeom prst="rect">
            <a:avLst/>
          </a:prstGeom>
          <a:gradFill>
            <a:gsLst>
              <a:gs pos="0">
                <a:srgbClr val="000000">
                  <a:alpha val="20000"/>
                </a:srgbClr>
              </a:gs>
              <a:gs pos="26000">
                <a:srgbClr val="000000">
                  <a:alpha val="25000"/>
                </a:srgbClr>
              </a:gs>
              <a:gs pos="62000">
                <a:srgbClr val="000000">
                  <a:alpha val="0"/>
                </a:srgbClr>
              </a:gs>
            </a:gsLst>
            <a:lin ang="15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rgbClr val="D83B01">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grpSp>
        <p:nvGrpSpPr>
          <p:cNvPr id="9" name="Group 8">
            <a:extLst>
              <a:ext uri="{FF2B5EF4-FFF2-40B4-BE49-F238E27FC236}">
                <a16:creationId xmlns:a16="http://schemas.microsoft.com/office/drawing/2014/main" id="{8C3ACC32-7BED-4834-B064-37026A6EF299}"/>
              </a:ext>
            </a:extLst>
          </p:cNvPr>
          <p:cNvGrpSpPr/>
          <p:nvPr userDrawn="1"/>
        </p:nvGrpSpPr>
        <p:grpSpPr>
          <a:xfrm>
            <a:off x="9870766" y="444080"/>
            <a:ext cx="2127249" cy="455612"/>
            <a:chOff x="9759951" y="481013"/>
            <a:chExt cx="2127249" cy="455612"/>
          </a:xfrm>
        </p:grpSpPr>
        <p:sp>
          <p:nvSpPr>
            <p:cNvPr id="10" name="AutoShape 3">
              <a:extLst>
                <a:ext uri="{FF2B5EF4-FFF2-40B4-BE49-F238E27FC236}">
                  <a16:creationId xmlns:a16="http://schemas.microsoft.com/office/drawing/2014/main" id="{D4B2A583-878B-4F92-9B57-5F9FA4239269}"/>
                </a:ext>
              </a:extLst>
            </p:cNvPr>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a:extLst>
                <a:ext uri="{FF2B5EF4-FFF2-40B4-BE49-F238E27FC236}">
                  <a16:creationId xmlns:a16="http://schemas.microsoft.com/office/drawing/2014/main" id="{B3272615-FA4F-4D55-9015-AABF2A253EF9}"/>
                </a:ext>
              </a:extLst>
            </p:cNvPr>
            <p:cNvGrpSpPr/>
            <p:nvPr userDrawn="1"/>
          </p:nvGrpSpPr>
          <p:grpSpPr>
            <a:xfrm>
              <a:off x="10352088" y="552450"/>
              <a:ext cx="1535112" cy="296862"/>
              <a:chOff x="10352088" y="552450"/>
              <a:chExt cx="1535112" cy="296862"/>
            </a:xfrm>
            <a:solidFill>
              <a:schemeClr val="bg1"/>
            </a:solidFill>
          </p:grpSpPr>
          <p:sp>
            <p:nvSpPr>
              <p:cNvPr id="17" name="Freeform 5">
                <a:extLst>
                  <a:ext uri="{FF2B5EF4-FFF2-40B4-BE49-F238E27FC236}">
                    <a16:creationId xmlns:a16="http://schemas.microsoft.com/office/drawing/2014/main" id="{328548BB-D520-4ABE-AC39-23E083C099D7}"/>
                  </a:ext>
                </a:extLst>
              </p:cNvPr>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Rectangle 6">
                <a:extLst>
                  <a:ext uri="{FF2B5EF4-FFF2-40B4-BE49-F238E27FC236}">
                    <a16:creationId xmlns:a16="http://schemas.microsoft.com/office/drawing/2014/main" id="{4734BDD9-E6B0-4CCB-A341-8FFF579091E3}"/>
                  </a:ext>
                </a:extLst>
              </p:cNvPr>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7">
                <a:extLst>
                  <a:ext uri="{FF2B5EF4-FFF2-40B4-BE49-F238E27FC236}">
                    <a16:creationId xmlns:a16="http://schemas.microsoft.com/office/drawing/2014/main" id="{9E9DE016-4E24-4539-97C8-8956B9E45D04}"/>
                  </a:ext>
                </a:extLst>
              </p:cNvPr>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8">
                <a:extLst>
                  <a:ext uri="{FF2B5EF4-FFF2-40B4-BE49-F238E27FC236}">
                    <a16:creationId xmlns:a16="http://schemas.microsoft.com/office/drawing/2014/main" id="{F9BD1085-4E64-4BC8-BC67-FF75E4321D33}"/>
                  </a:ext>
                </a:extLst>
              </p:cNvPr>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9">
                <a:extLst>
                  <a:ext uri="{FF2B5EF4-FFF2-40B4-BE49-F238E27FC236}">
                    <a16:creationId xmlns:a16="http://schemas.microsoft.com/office/drawing/2014/main" id="{6BE19BE2-1E7A-4F04-B006-C8525E180134}"/>
                  </a:ext>
                </a:extLst>
              </p:cNvPr>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0">
                <a:extLst>
                  <a:ext uri="{FF2B5EF4-FFF2-40B4-BE49-F238E27FC236}">
                    <a16:creationId xmlns:a16="http://schemas.microsoft.com/office/drawing/2014/main" id="{1617790B-8291-4BBC-B75C-15426B7A8CFC}"/>
                  </a:ext>
                </a:extLst>
              </p:cNvPr>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Freeform 11">
                <a:extLst>
                  <a:ext uri="{FF2B5EF4-FFF2-40B4-BE49-F238E27FC236}">
                    <a16:creationId xmlns:a16="http://schemas.microsoft.com/office/drawing/2014/main" id="{B36129A8-3DF3-43A9-AB8F-507299929FE4}"/>
                  </a:ext>
                </a:extLst>
              </p:cNvPr>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Freeform 12">
                <a:extLst>
                  <a:ext uri="{FF2B5EF4-FFF2-40B4-BE49-F238E27FC236}">
                    <a16:creationId xmlns:a16="http://schemas.microsoft.com/office/drawing/2014/main" id="{28AE4D27-F2CD-497F-82FB-7D801A9C5FFD}"/>
                  </a:ext>
                </a:extLst>
              </p:cNvPr>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Freeform 13">
                <a:extLst>
                  <a:ext uri="{FF2B5EF4-FFF2-40B4-BE49-F238E27FC236}">
                    <a16:creationId xmlns:a16="http://schemas.microsoft.com/office/drawing/2014/main" id="{0A2586C7-E063-4E27-895B-1E247031FB3D}"/>
                  </a:ext>
                </a:extLst>
              </p:cNvPr>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a:extLst>
                <a:ext uri="{FF2B5EF4-FFF2-40B4-BE49-F238E27FC236}">
                  <a16:creationId xmlns:a16="http://schemas.microsoft.com/office/drawing/2014/main" id="{FD684FE3-0BFD-4855-91CF-CADBC2EFC14E}"/>
                </a:ext>
              </a:extLst>
            </p:cNvPr>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5">
              <a:extLst>
                <a:ext uri="{FF2B5EF4-FFF2-40B4-BE49-F238E27FC236}">
                  <a16:creationId xmlns:a16="http://schemas.microsoft.com/office/drawing/2014/main" id="{0118DB7E-15ED-46D0-92D4-8A1282E26584}"/>
                </a:ext>
              </a:extLst>
            </p:cNvPr>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6">
              <a:extLst>
                <a:ext uri="{FF2B5EF4-FFF2-40B4-BE49-F238E27FC236}">
                  <a16:creationId xmlns:a16="http://schemas.microsoft.com/office/drawing/2014/main" id="{1A0A91C4-0363-4688-AB8A-B5E1550480B2}"/>
                </a:ext>
              </a:extLst>
            </p:cNvPr>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Rectangle 17">
              <a:extLst>
                <a:ext uri="{FF2B5EF4-FFF2-40B4-BE49-F238E27FC236}">
                  <a16:creationId xmlns:a16="http://schemas.microsoft.com/office/drawing/2014/main" id="{0153EC32-D008-4CDC-BF56-07A820E4C503}"/>
                </a:ext>
              </a:extLst>
            </p:cNvPr>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Tree>
    <p:extLst>
      <p:ext uri="{BB962C8B-B14F-4D97-AF65-F5344CB8AC3E}">
        <p14:creationId xmlns:p14="http://schemas.microsoft.com/office/powerpoint/2010/main" val="299912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95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03390914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Tree>
    <p:extLst>
      <p:ext uri="{BB962C8B-B14F-4D97-AF65-F5344CB8AC3E}">
        <p14:creationId xmlns:p14="http://schemas.microsoft.com/office/powerpoint/2010/main" val="40203708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9724899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01283227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9499436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52681190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0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10" name="Text Placeholder 9"/>
          <p:cNvSpPr>
            <a:spLocks noGrp="1"/>
          </p:cNvSpPr>
          <p:nvPr>
            <p:ph type="body" sz="quarter" idx="12" hasCustomPrompt="1"/>
          </p:nvPr>
        </p:nvSpPr>
        <p:spPr>
          <a:xfrm>
            <a:off x="0" y="1257443"/>
            <a:ext cx="12436475" cy="5737082"/>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6460819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1139006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92228476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56044145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16508169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73362474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8323893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7611827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61851026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01257325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311379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75805707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97209294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551736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67151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671520"/>
            <a:ext cx="4169782" cy="432300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53140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3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00868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892109"/>
            <a:ext cx="4169782" cy="5102416"/>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453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2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53529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99509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12644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27164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2040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81123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86762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65806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6042888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229323990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32240645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22474911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34478464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42695009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4518589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680884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5/9/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2734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76504169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349561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114736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3670577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43808938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5844582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84312999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3148378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587801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4276251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grpSp>
        <p:nvGrpSpPr>
          <p:cNvPr id="11" name="Group 10"/>
          <p:cNvGrpSpPr>
            <a:grpSpLocks noChangeAspect="1"/>
          </p:cNvGrpSpPr>
          <p:nvPr userDrawn="1"/>
        </p:nvGrpSpPr>
        <p:grpSpPr bwMode="gray">
          <a:xfrm>
            <a:off x="457518" y="479425"/>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0264514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5898075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52091024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79719871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17861271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7617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5/9/2018</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29733615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174126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787513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147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34149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581213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626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8675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8823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5646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816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5774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8190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5509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752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09952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089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7748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056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2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1347356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571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7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a:gradFill>
                  <a:gsLst>
                    <a:gs pos="96653">
                      <a:schemeClr val="tx1"/>
                    </a:gs>
                    <a:gs pos="0">
                      <a:schemeClr val="tx1"/>
                    </a:gs>
                  </a:gsLst>
                  <a:lin ang="5400000" scaled="0"/>
                </a:gradFill>
                <a:latin typeface="+mj-lt"/>
              </a:rPr>
              <a:t>April 4–6, 2016</a:t>
            </a:r>
            <a:br>
              <a:rPr lang="en-US" sz="2400">
                <a:gradFill>
                  <a:gsLst>
                    <a:gs pos="96653">
                      <a:schemeClr val="tx1"/>
                    </a:gs>
                    <a:gs pos="0">
                      <a:schemeClr val="tx1"/>
                    </a:gs>
                  </a:gsLst>
                  <a:lin ang="5400000" scaled="0"/>
                </a:gradFill>
                <a:latin typeface="+mj-lt"/>
              </a:rPr>
            </a:br>
            <a:r>
              <a:rPr lang="en-US" sz="240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10358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7164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35251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6" name="Footer Placeholder 1"/>
          <p:cNvSpPr txBox="1">
            <a:spLocks/>
          </p:cNvSpPr>
          <p:nvPr userDrawn="1"/>
        </p:nvSpPr>
        <p:spPr>
          <a:xfrm>
            <a:off x="274637" y="6729115"/>
            <a:ext cx="12161838" cy="27285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24193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30542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9685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0836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818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066994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938326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794109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894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06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477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91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772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095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913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60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36495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1Application_Text">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5" name="Isosceles Triangle 24"/>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2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
        <p:nvSpPr>
          <p:cNvPr id="27"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52783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Application_Photo">
    <p:spTree>
      <p:nvGrpSpPr>
        <p:cNvPr id="1" name=""/>
        <p:cNvGrpSpPr/>
        <p:nvPr/>
      </p:nvGrpSpPr>
      <p:grpSpPr>
        <a:xfrm>
          <a:off x="0" y="0"/>
          <a:ext cx="0" cy="0"/>
          <a:chOff x="0" y="0"/>
          <a:chExt cx="0" cy="0"/>
        </a:xfrm>
      </p:grpSpPr>
      <p:grpSp>
        <p:nvGrpSpPr>
          <p:cNvPr id="25" name="Group 24"/>
          <p:cNvGrpSpPr/>
          <p:nvPr userDrawn="1"/>
        </p:nvGrpSpPr>
        <p:grpSpPr>
          <a:xfrm>
            <a:off x="9939268" y="124025"/>
            <a:ext cx="1995215" cy="656924"/>
            <a:chOff x="9743882" y="121604"/>
            <a:chExt cx="1955993" cy="644102"/>
          </a:xfrm>
        </p:grpSpPr>
        <p:sp>
          <p:nvSpPr>
            <p:cNvPr id="26" name="Rectangle 25"/>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7" name="Isosceles Triangle 26"/>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2"/>
          </p:nvPr>
        </p:nvSpPr>
        <p:spPr>
          <a:xfrm>
            <a:off x="4896862" y="295275"/>
            <a:ext cx="6218238" cy="6295288"/>
          </a:xfrm>
        </p:spPr>
        <p:txBody>
          <a:bodyPr>
            <a:noAutofit/>
          </a:bodyPr>
          <a:lstStyle>
            <a:lvl1pPr marL="0" indent="0" algn="ctr">
              <a:buNone/>
              <a:defRPr/>
            </a:lvl1pPr>
          </a:lstStyle>
          <a:p>
            <a:endParaRPr lang="en-US"/>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6"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413884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Data_Blank">
    <p:spTree>
      <p:nvGrpSpPr>
        <p:cNvPr id="1" name=""/>
        <p:cNvGrpSpPr/>
        <p:nvPr/>
      </p:nvGrpSpPr>
      <p:grpSpPr>
        <a:xfrm>
          <a:off x="0" y="0"/>
          <a:ext cx="0" cy="0"/>
          <a:chOff x="0" y="0"/>
          <a:chExt cx="0" cy="0"/>
        </a:xfrm>
      </p:grpSpPr>
      <p:grpSp>
        <p:nvGrpSpPr>
          <p:cNvPr id="9" name="Group 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8" name="Isosceles Triangle 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5"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533605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2Data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9" name="Content Placeholder 25"/>
          <p:cNvSpPr>
            <a:spLocks noGrp="1"/>
          </p:cNvSpPr>
          <p:nvPr>
            <p:ph sz="quarter" idx="14"/>
          </p:nvPr>
        </p:nvSpPr>
        <p:spPr>
          <a:xfrm>
            <a:off x="4677564" y="919650"/>
            <a:ext cx="7367114" cy="5670912"/>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1218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2Data_Photo">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20" name="Picture Placeholder 16"/>
          <p:cNvSpPr>
            <a:spLocks noGrp="1"/>
          </p:cNvSpPr>
          <p:nvPr>
            <p:ph type="pic" sz="quarter" idx="13"/>
          </p:nvPr>
        </p:nvSpPr>
        <p:spPr>
          <a:xfrm>
            <a:off x="4677564" y="919650"/>
            <a:ext cx="7367114" cy="5670912"/>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30600228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3Openness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66112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03Openness_Text">
    <p:spTree>
      <p:nvGrpSpPr>
        <p:cNvPr id="1" name=""/>
        <p:cNvGrpSpPr/>
        <p:nvPr/>
      </p:nvGrpSpPr>
      <p:grpSpPr>
        <a:xfrm>
          <a:off x="0" y="0"/>
          <a:ext cx="0" cy="0"/>
          <a:chOff x="0" y="0"/>
          <a:chExt cx="0" cy="0"/>
        </a:xfrm>
      </p:grpSpPr>
      <p:grpSp>
        <p:nvGrpSpPr>
          <p:cNvPr id="17" name="Group 16"/>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0195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3Openness_Photo">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298877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4Trust_Blank">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1" name="Isosceles Triangle 20"/>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522003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3226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4Trust_Photo">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139795708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slideLayout" Target="../slideLayouts/slideLayout249.xml"/><Relationship Id="rId21" Type="http://schemas.openxmlformats.org/officeDocument/2006/relationships/slideLayout" Target="../slideLayouts/slideLayout231.xml"/><Relationship Id="rId34" Type="http://schemas.openxmlformats.org/officeDocument/2006/relationships/slideLayout" Target="../slideLayouts/slideLayout244.xml"/><Relationship Id="rId42" Type="http://schemas.openxmlformats.org/officeDocument/2006/relationships/slideLayout" Target="../slideLayouts/slideLayout252.xml"/><Relationship Id="rId47" Type="http://schemas.openxmlformats.org/officeDocument/2006/relationships/slideLayout" Target="../slideLayouts/slideLayout257.xml"/><Relationship Id="rId50" Type="http://schemas.openxmlformats.org/officeDocument/2006/relationships/slideLayout" Target="../slideLayouts/slideLayout260.xml"/><Relationship Id="rId55" Type="http://schemas.openxmlformats.org/officeDocument/2006/relationships/slideLayout" Target="../slideLayouts/slideLayout265.xml"/><Relationship Id="rId7" Type="http://schemas.openxmlformats.org/officeDocument/2006/relationships/slideLayout" Target="../slideLayouts/slideLayout21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9" Type="http://schemas.openxmlformats.org/officeDocument/2006/relationships/slideLayout" Target="../slideLayouts/slideLayout239.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45" Type="http://schemas.openxmlformats.org/officeDocument/2006/relationships/slideLayout" Target="../slideLayouts/slideLayout255.xml"/><Relationship Id="rId53" Type="http://schemas.openxmlformats.org/officeDocument/2006/relationships/slideLayout" Target="../slideLayouts/slideLayout263.xml"/><Relationship Id="rId58" Type="http://schemas.openxmlformats.org/officeDocument/2006/relationships/theme" Target="../theme/theme10.xml"/><Relationship Id="rId5" Type="http://schemas.openxmlformats.org/officeDocument/2006/relationships/slideLayout" Target="../slideLayouts/slideLayout215.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48" Type="http://schemas.openxmlformats.org/officeDocument/2006/relationships/slideLayout" Target="../slideLayouts/slideLayout258.xml"/><Relationship Id="rId56" Type="http://schemas.openxmlformats.org/officeDocument/2006/relationships/slideLayout" Target="../slideLayouts/slideLayout266.xml"/><Relationship Id="rId8" Type="http://schemas.openxmlformats.org/officeDocument/2006/relationships/slideLayout" Target="../slideLayouts/slideLayout218.xml"/><Relationship Id="rId51" Type="http://schemas.openxmlformats.org/officeDocument/2006/relationships/slideLayout" Target="../slideLayouts/slideLayout261.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46" Type="http://schemas.openxmlformats.org/officeDocument/2006/relationships/slideLayout" Target="../slideLayouts/slideLayout256.xml"/><Relationship Id="rId20" Type="http://schemas.openxmlformats.org/officeDocument/2006/relationships/slideLayout" Target="../slideLayouts/slideLayout230.xml"/><Relationship Id="rId41" Type="http://schemas.openxmlformats.org/officeDocument/2006/relationships/slideLayout" Target="../slideLayouts/slideLayout251.xml"/><Relationship Id="rId54" Type="http://schemas.openxmlformats.org/officeDocument/2006/relationships/slideLayout" Target="../slideLayouts/slideLayout264.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49" Type="http://schemas.openxmlformats.org/officeDocument/2006/relationships/slideLayout" Target="../slideLayouts/slideLayout259.xml"/><Relationship Id="rId57" Type="http://schemas.openxmlformats.org/officeDocument/2006/relationships/slideLayout" Target="../slideLayouts/slideLayout267.xml"/><Relationship Id="rId10" Type="http://schemas.openxmlformats.org/officeDocument/2006/relationships/slideLayout" Target="../slideLayouts/slideLayout220.xml"/><Relationship Id="rId31" Type="http://schemas.openxmlformats.org/officeDocument/2006/relationships/slideLayout" Target="../slideLayouts/slideLayout241.xml"/><Relationship Id="rId44" Type="http://schemas.openxmlformats.org/officeDocument/2006/relationships/slideLayout" Target="../slideLayouts/slideLayout254.xml"/><Relationship Id="rId52" Type="http://schemas.openxmlformats.org/officeDocument/2006/relationships/slideLayout" Target="../slideLayouts/slideLayout2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png"/><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theme" Target="../theme/theme4.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image" Target="../media/image1.pn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image" Target="../media/image1.png"/><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45" r:id="rId24"/>
    <p:sldLayoutId id="21474843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5/9/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990713179"/>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 id="2147484473" r:id="rId23"/>
    <p:sldLayoutId id="2147484474" r:id="rId24"/>
    <p:sldLayoutId id="2147484475" r:id="rId25"/>
    <p:sldLayoutId id="2147484476" r:id="rId26"/>
    <p:sldLayoutId id="2147484477" r:id="rId27"/>
    <p:sldLayoutId id="2147484478" r:id="rId28"/>
    <p:sldLayoutId id="2147484479" r:id="rId29"/>
    <p:sldLayoutId id="2147484480" r:id="rId30"/>
    <p:sldLayoutId id="2147484481" r:id="rId31"/>
    <p:sldLayoutId id="2147484482" r:id="rId32"/>
    <p:sldLayoutId id="2147484483" r:id="rId33"/>
    <p:sldLayoutId id="2147484484" r:id="rId34"/>
    <p:sldLayoutId id="2147484485" r:id="rId35"/>
    <p:sldLayoutId id="2147484486" r:id="rId36"/>
    <p:sldLayoutId id="2147484487" r:id="rId37"/>
    <p:sldLayoutId id="2147484488" r:id="rId38"/>
    <p:sldLayoutId id="2147484489" r:id="rId39"/>
    <p:sldLayoutId id="2147484490" r:id="rId40"/>
    <p:sldLayoutId id="2147484491" r:id="rId41"/>
    <p:sldLayoutId id="2147484492" r:id="rId42"/>
    <p:sldLayoutId id="2147484493" r:id="rId43"/>
    <p:sldLayoutId id="2147484494" r:id="rId44"/>
    <p:sldLayoutId id="2147484495" r:id="rId45"/>
    <p:sldLayoutId id="2147484496" r:id="rId46"/>
    <p:sldLayoutId id="2147484497" r:id="rId47"/>
    <p:sldLayoutId id="2147484498" r:id="rId48"/>
    <p:sldLayoutId id="2147484499" r:id="rId49"/>
    <p:sldLayoutId id="2147484500" r:id="rId50"/>
    <p:sldLayoutId id="2147484501" r:id="rId51"/>
    <p:sldLayoutId id="2147484502" r:id="rId52"/>
    <p:sldLayoutId id="2147484503" r:id="rId53"/>
    <p:sldLayoutId id="2147484504" r:id="rId54"/>
    <p:sldLayoutId id="2147484505" r:id="rId55"/>
    <p:sldLayoutId id="2147484506" r:id="rId56"/>
    <p:sldLayoutId id="2147484507" r:id="rId57"/>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 id="2147484342" r:id="rId22"/>
    <p:sldLayoutId id="2147484343" r:id="rId23"/>
    <p:sldLayoutId id="214748434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944350"/>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8"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19" name="Footer Placeholder 1"/>
          <p:cNvSpPr txBox="1">
            <a:spLocks/>
          </p:cNvSpPr>
          <p:nvPr userDrawn="1"/>
        </p:nvSpPr>
        <p:spPr>
          <a:xfrm>
            <a:off x="274637" y="6721675"/>
            <a:ext cx="12161838" cy="272851"/>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accent5"/>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977210449"/>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99605534"/>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46422723"/>
      </p:ext>
    </p:extLst>
  </p:cSld>
  <p:clrMap bg1="dk1" tx1="lt1" bg2="dk2" tx2="lt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1765738"/>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 id="2147484416" r:id="rId20"/>
    <p:sldLayoutId id="2147484417" r:id="rId21"/>
    <p:sldLayoutId id="2147484418" r:id="rId22"/>
    <p:sldLayoutId id="2147484419" r:id="rId23"/>
    <p:sldLayoutId id="2147484420" r:id="rId24"/>
    <p:sldLayoutId id="2147484421" r:id="rId25"/>
    <p:sldLayoutId id="2147484422"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83702"/>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50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799058"/>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93.xml"/><Relationship Id="rId5" Type="http://schemas.openxmlformats.org/officeDocument/2006/relationships/image" Target="../media/image33.png"/><Relationship Id="rId4" Type="http://schemas.openxmlformats.org/officeDocument/2006/relationships/image" Target="../media/image32.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2.xml"/></Relationships>
</file>

<file path=ppt/slides/_rels/slide11.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0.png"/><Relationship Id="rId26" Type="http://schemas.openxmlformats.org/officeDocument/2006/relationships/image" Target="../media/image68.png"/><Relationship Id="rId39" Type="http://schemas.openxmlformats.org/officeDocument/2006/relationships/image" Target="../media/image81.png"/><Relationship Id="rId21" Type="http://schemas.openxmlformats.org/officeDocument/2006/relationships/image" Target="../media/image63.png"/><Relationship Id="rId34" Type="http://schemas.openxmlformats.org/officeDocument/2006/relationships/image" Target="../media/image76.png"/><Relationship Id="rId7" Type="http://schemas.openxmlformats.org/officeDocument/2006/relationships/image" Target="../media/image51.png"/><Relationship Id="rId12" Type="http://schemas.openxmlformats.org/officeDocument/2006/relationships/hyperlink" Target="http://www.asd.gov.au/infosec/irap/index.htm" TargetMode="External"/><Relationship Id="rId17" Type="http://schemas.openxmlformats.org/officeDocument/2006/relationships/image" Target="../media/image59.jpeg"/><Relationship Id="rId25" Type="http://schemas.openxmlformats.org/officeDocument/2006/relationships/image" Target="../media/image67.jpeg"/><Relationship Id="rId33" Type="http://schemas.openxmlformats.org/officeDocument/2006/relationships/image" Target="../media/image75.jpeg"/><Relationship Id="rId38" Type="http://schemas.openxmlformats.org/officeDocument/2006/relationships/image" Target="../media/image80.png"/><Relationship Id="rId2" Type="http://schemas.openxmlformats.org/officeDocument/2006/relationships/notesSlide" Target="../notesSlides/notesSlide11.xml"/><Relationship Id="rId16" Type="http://schemas.openxmlformats.org/officeDocument/2006/relationships/image" Target="../media/image58.jpeg"/><Relationship Id="rId20" Type="http://schemas.openxmlformats.org/officeDocument/2006/relationships/image" Target="../media/image62.png"/><Relationship Id="rId29" Type="http://schemas.openxmlformats.org/officeDocument/2006/relationships/image" Target="../media/image71.png"/><Relationship Id="rId1" Type="http://schemas.openxmlformats.org/officeDocument/2006/relationships/slideLayout" Target="../slideLayouts/slideLayout192.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5" Type="http://schemas.openxmlformats.org/officeDocument/2006/relationships/image" Target="../media/image49.jpeg"/><Relationship Id="rId15" Type="http://schemas.openxmlformats.org/officeDocument/2006/relationships/image" Target="../media/image57.jpeg"/><Relationship Id="rId23" Type="http://schemas.openxmlformats.org/officeDocument/2006/relationships/image" Target="../media/image65.jpeg"/><Relationship Id="rId28" Type="http://schemas.openxmlformats.org/officeDocument/2006/relationships/image" Target="../media/image70.jpeg"/><Relationship Id="rId36" Type="http://schemas.openxmlformats.org/officeDocument/2006/relationships/image" Target="../media/image78.jpeg"/><Relationship Id="rId10" Type="http://schemas.openxmlformats.org/officeDocument/2006/relationships/image" Target="../media/image54.png"/><Relationship Id="rId19" Type="http://schemas.openxmlformats.org/officeDocument/2006/relationships/image" Target="../media/image61.png"/><Relationship Id="rId31" Type="http://schemas.openxmlformats.org/officeDocument/2006/relationships/image" Target="../media/image73.pn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hyperlink" Target="https://www.fisc.or.jp/" TargetMode="External"/><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jpeg"/><Relationship Id="rId8" Type="http://schemas.openxmlformats.org/officeDocument/2006/relationships/image" Target="../media/image52.png"/><Relationship Id="rId3" Type="http://schemas.openxmlformats.org/officeDocument/2006/relationships/image" Target="../media/image4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2.xml"/></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214.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4.xml"/><Relationship Id="rId1" Type="http://schemas.openxmlformats.org/officeDocument/2006/relationships/slideLayout" Target="../slideLayouts/slideLayout210.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192.xml"/><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8.xml"/><Relationship Id="rId1" Type="http://schemas.openxmlformats.org/officeDocument/2006/relationships/slideLayout" Target="../slideLayouts/slideLayout197.xml"/></Relationships>
</file>

<file path=ppt/slides/_rels/slide19.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29.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29.xml"/><Relationship Id="rId4" Type="http://schemas.openxmlformats.org/officeDocument/2006/relationships/image" Target="../media/image103.svg"/></Relationships>
</file>

<file path=ppt/slides/_rels/slide2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1.xml"/><Relationship Id="rId1" Type="http://schemas.openxmlformats.org/officeDocument/2006/relationships/slideLayout" Target="../slideLayouts/slideLayout29.xml"/><Relationship Id="rId4" Type="http://schemas.openxmlformats.org/officeDocument/2006/relationships/image" Target="../media/image103.svg"/></Relationships>
</file>

<file path=ppt/slides/_rels/slide2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svg"/></Relationships>
</file>

<file path=ppt/slides/_rels/slide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28.xml"/><Relationship Id="rId5" Type="http://schemas.openxmlformats.org/officeDocument/2006/relationships/image" Target="../media/image91.png"/><Relationship Id="rId4" Type="http://schemas.openxmlformats.org/officeDocument/2006/relationships/image" Target="../media/image107.png"/></Relationships>
</file>

<file path=ppt/slides/_rels/slide24.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91.png"/><Relationship Id="rId7" Type="http://schemas.openxmlformats.org/officeDocument/2006/relationships/image" Target="../media/image106.png"/><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openxmlformats.org/officeDocument/2006/relationships/image" Target="../media/image107.png"/><Relationship Id="rId11" Type="http://schemas.microsoft.com/office/2007/relationships/hdphoto" Target="../media/hdphoto3.wdp"/><Relationship Id="rId5" Type="http://schemas.openxmlformats.org/officeDocument/2006/relationships/image" Target="../media/image109.png"/><Relationship Id="rId10" Type="http://schemas.openxmlformats.org/officeDocument/2006/relationships/image" Target="../media/image111.png"/><Relationship Id="rId4" Type="http://schemas.openxmlformats.org/officeDocument/2006/relationships/image" Target="../media/image108.png"/><Relationship Id="rId9" Type="http://schemas.microsoft.com/office/2007/relationships/hdphoto" Target="../media/hdphoto2.wdp"/></Relationships>
</file>

<file path=ppt/slides/_rels/slide25.xml.rels><?xml version="1.0" encoding="UTF-8" standalone="yes"?>
<Relationships xmlns="http://schemas.openxmlformats.org/package/2006/relationships"><Relationship Id="rId3" Type="http://schemas.openxmlformats.org/officeDocument/2006/relationships/image" Target="../media/image112.emf"/><Relationship Id="rId7" Type="http://schemas.microsoft.com/office/2007/relationships/hdphoto" Target="../media/hdphoto4.wdp"/><Relationship Id="rId2" Type="http://schemas.openxmlformats.org/officeDocument/2006/relationships/notesSlide" Target="../notesSlides/notesSlide25.xml"/><Relationship Id="rId1" Type="http://schemas.openxmlformats.org/officeDocument/2006/relationships/slideLayout" Target="../slideLayouts/slideLayout28.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07.png"/></Relationships>
</file>

<file path=ppt/slides/_rels/slide26.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02.png"/><Relationship Id="rId7" Type="http://schemas.openxmlformats.org/officeDocument/2006/relationships/image" Target="../media/image115.png"/><Relationship Id="rId2" Type="http://schemas.openxmlformats.org/officeDocument/2006/relationships/notesSlide" Target="../notesSlides/notesSlide26.xml"/><Relationship Id="rId1" Type="http://schemas.openxmlformats.org/officeDocument/2006/relationships/slideLayout" Target="../slideLayouts/slideLayout29.xml"/><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image" Target="../media/image101.svg"/><Relationship Id="rId4" Type="http://schemas.openxmlformats.org/officeDocument/2006/relationships/image" Target="../media/image103.svg"/><Relationship Id="rId9" Type="http://schemas.openxmlformats.org/officeDocument/2006/relationships/image" Target="../media/image100.png"/></Relationships>
</file>

<file path=ppt/slides/_rels/slide27.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19.png"/><Relationship Id="rId3" Type="http://schemas.openxmlformats.org/officeDocument/2006/relationships/image" Target="../media/image102.png"/><Relationship Id="rId7" Type="http://schemas.openxmlformats.org/officeDocument/2006/relationships/image" Target="../media/image115.png"/><Relationship Id="rId12" Type="http://schemas.openxmlformats.org/officeDocument/2006/relationships/image" Target="../media/image118.svg"/><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image" Target="../media/image105.svg"/><Relationship Id="rId11" Type="http://schemas.openxmlformats.org/officeDocument/2006/relationships/image" Target="../media/image117.png"/><Relationship Id="rId5" Type="http://schemas.openxmlformats.org/officeDocument/2006/relationships/image" Target="../media/image104.png"/><Relationship Id="rId10" Type="http://schemas.openxmlformats.org/officeDocument/2006/relationships/image" Target="../media/image101.svg"/><Relationship Id="rId4" Type="http://schemas.openxmlformats.org/officeDocument/2006/relationships/image" Target="../media/image103.svg"/><Relationship Id="rId9" Type="http://schemas.openxmlformats.org/officeDocument/2006/relationships/image" Target="../media/image100.png"/><Relationship Id="rId14" Type="http://schemas.openxmlformats.org/officeDocument/2006/relationships/image" Target="../media/image120.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3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svg"/><Relationship Id="rId3" Type="http://schemas.openxmlformats.org/officeDocument/2006/relationships/image" Target="../media/image119.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35.xml"/><Relationship Id="rId1" Type="http://schemas.openxmlformats.org/officeDocument/2006/relationships/slideLayout" Target="../slideLayouts/slideLayout29.xml"/><Relationship Id="rId6" Type="http://schemas.openxmlformats.org/officeDocument/2006/relationships/image" Target="../media/image128.sv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svg"/><Relationship Id="rId4" Type="http://schemas.openxmlformats.org/officeDocument/2006/relationships/image" Target="../media/image120.svg"/><Relationship Id="rId9" Type="http://schemas.openxmlformats.org/officeDocument/2006/relationships/image" Target="../media/image131.png"/></Relationships>
</file>

<file path=ppt/slides/_rels/slide36.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36.xml"/><Relationship Id="rId1" Type="http://schemas.openxmlformats.org/officeDocument/2006/relationships/slideLayout" Target="../slideLayouts/slideLayout32.xml"/><Relationship Id="rId4" Type="http://schemas.openxmlformats.org/officeDocument/2006/relationships/image" Target="../media/image137.png"/></Relationships>
</file>

<file path=ppt/slides/_rels/slide3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32.xml"/><Relationship Id="rId5" Type="http://schemas.openxmlformats.org/officeDocument/2006/relationships/image" Target="../media/image136.emf"/><Relationship Id="rId4" Type="http://schemas.openxmlformats.org/officeDocument/2006/relationships/image" Target="../media/image138.png"/></Relationships>
</file>

<file path=ppt/slides/_rels/slide3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8.xml"/><Relationship Id="rId1" Type="http://schemas.openxmlformats.org/officeDocument/2006/relationships/slideLayout" Target="../slideLayouts/slideLayout32.xml"/><Relationship Id="rId4" Type="http://schemas.openxmlformats.org/officeDocument/2006/relationships/image" Target="../media/image13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0.xml"/></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0.xml"/><Relationship Id="rId1" Type="http://schemas.openxmlformats.org/officeDocument/2006/relationships/slideLayout" Target="../slideLayouts/slideLayout41.xml"/><Relationship Id="rId5" Type="http://schemas.openxmlformats.org/officeDocument/2006/relationships/image" Target="../media/image140.png"/><Relationship Id="rId4" Type="http://schemas.microsoft.com/office/2007/relationships/hdphoto" Target="../media/hdphoto5.wdp"/></Relationships>
</file>

<file path=ppt/slides/_rels/slide41.xml.rels><?xml version="1.0" encoding="UTF-8" standalone="yes"?>
<Relationships xmlns="http://schemas.openxmlformats.org/package/2006/relationships"><Relationship Id="rId8" Type="http://schemas.openxmlformats.org/officeDocument/2006/relationships/image" Target="../media/image146.emf"/><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41.xml"/><Relationship Id="rId1" Type="http://schemas.openxmlformats.org/officeDocument/2006/relationships/slideLayout" Target="../slideLayouts/slideLayout40.xml"/><Relationship Id="rId6" Type="http://schemas.openxmlformats.org/officeDocument/2006/relationships/image" Target="../media/image144.emf"/><Relationship Id="rId5" Type="http://schemas.openxmlformats.org/officeDocument/2006/relationships/image" Target="../media/image143.png"/><Relationship Id="rId4" Type="http://schemas.openxmlformats.org/officeDocument/2006/relationships/image" Target="../media/image142.png"/><Relationship Id="rId9" Type="http://schemas.openxmlformats.org/officeDocument/2006/relationships/image" Target="../media/image147.png"/></Relationships>
</file>

<file path=ppt/slides/_rels/slide42.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48.png"/><Relationship Id="rId7" Type="http://schemas.openxmlformats.org/officeDocument/2006/relationships/image" Target="../media/image132.svg"/><Relationship Id="rId2" Type="http://schemas.openxmlformats.org/officeDocument/2006/relationships/notesSlide" Target="../notesSlides/notesSlide42.xml"/><Relationship Id="rId1" Type="http://schemas.openxmlformats.org/officeDocument/2006/relationships/slideLayout" Target="../slideLayouts/slideLayout41.xml"/><Relationship Id="rId6" Type="http://schemas.openxmlformats.org/officeDocument/2006/relationships/image" Target="../media/image131.png"/><Relationship Id="rId5" Type="http://schemas.openxmlformats.org/officeDocument/2006/relationships/image" Target="../media/image150.png"/><Relationship Id="rId4" Type="http://schemas.openxmlformats.org/officeDocument/2006/relationships/image" Target="../media/image149.png"/></Relationships>
</file>

<file path=ppt/slides/_rels/slide43.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43.xml"/><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4.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3" Type="http://schemas.openxmlformats.org/officeDocument/2006/relationships/image" Target="../media/image154.emf"/><Relationship Id="rId2" Type="http://schemas.openxmlformats.org/officeDocument/2006/relationships/notesSlide" Target="../notesSlides/notesSlide47.xml"/><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7.xml"/></Relationships>
</file>

<file path=ppt/slides/_rels/slide4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2.xml"/></Relationships>
</file>

<file path=ppt/slides/_rels/slide5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1.xml"/><Relationship Id="rId1" Type="http://schemas.openxmlformats.org/officeDocument/2006/relationships/slideLayout" Target="../slideLayouts/slideLayout32.xml"/><Relationship Id="rId5" Type="http://schemas.openxmlformats.org/officeDocument/2006/relationships/image" Target="../media/image158.png"/><Relationship Id="rId4" Type="http://schemas.openxmlformats.org/officeDocument/2006/relationships/image" Target="../media/image108.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69.sv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168.png"/><Relationship Id="rId2" Type="http://schemas.openxmlformats.org/officeDocument/2006/relationships/notesSlide" Target="../notesSlides/notesSlide53.xml"/><Relationship Id="rId1" Type="http://schemas.openxmlformats.org/officeDocument/2006/relationships/slideLayout" Target="../slideLayouts/slideLayout17.xml"/><Relationship Id="rId6" Type="http://schemas.openxmlformats.org/officeDocument/2006/relationships/image" Target="../media/image162.svg"/><Relationship Id="rId11" Type="http://schemas.openxmlformats.org/officeDocument/2006/relationships/image" Target="../media/image167.png"/><Relationship Id="rId5" Type="http://schemas.openxmlformats.org/officeDocument/2006/relationships/image" Target="../media/image161.png"/><Relationship Id="rId15" Type="http://schemas.openxmlformats.org/officeDocument/2006/relationships/image" Target="../media/image171.sv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png"/><Relationship Id="rId14" Type="http://schemas.openxmlformats.org/officeDocument/2006/relationships/image" Target="../media/image170.png"/></Relationships>
</file>

<file path=ppt/slides/_rels/slide54.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180.png"/><Relationship Id="rId18" Type="http://schemas.openxmlformats.org/officeDocument/2006/relationships/image" Target="../media/image120.svg"/><Relationship Id="rId26" Type="http://schemas.openxmlformats.org/officeDocument/2006/relationships/image" Target="../media/image189.svg"/><Relationship Id="rId3" Type="http://schemas.openxmlformats.org/officeDocument/2006/relationships/image" Target="../media/image172.png"/><Relationship Id="rId21" Type="http://schemas.openxmlformats.org/officeDocument/2006/relationships/image" Target="../media/image184.png"/><Relationship Id="rId7" Type="http://schemas.openxmlformats.org/officeDocument/2006/relationships/image" Target="../media/image176.png"/><Relationship Id="rId12" Type="http://schemas.openxmlformats.org/officeDocument/2006/relationships/hyperlink" Target="https://docs.microsoft.com/en-us/azure/active-directory/role-based-access-control-custom-roles" TargetMode="External"/><Relationship Id="rId17" Type="http://schemas.openxmlformats.org/officeDocument/2006/relationships/image" Target="../media/image119.png"/><Relationship Id="rId25" Type="http://schemas.openxmlformats.org/officeDocument/2006/relationships/image" Target="../media/image188.png"/><Relationship Id="rId2" Type="http://schemas.openxmlformats.org/officeDocument/2006/relationships/notesSlide" Target="../notesSlides/notesSlide54.xml"/><Relationship Id="rId16" Type="http://schemas.openxmlformats.org/officeDocument/2006/relationships/image" Target="../media/image103.svg"/><Relationship Id="rId20" Type="http://schemas.openxmlformats.org/officeDocument/2006/relationships/image" Target="../media/image183.svg"/><Relationship Id="rId1" Type="http://schemas.openxmlformats.org/officeDocument/2006/relationships/slideLayout" Target="../slideLayouts/slideLayout29.xml"/><Relationship Id="rId6" Type="http://schemas.openxmlformats.org/officeDocument/2006/relationships/image" Target="../media/image175.svg"/><Relationship Id="rId11" Type="http://schemas.openxmlformats.org/officeDocument/2006/relationships/hyperlink" Target="https://docs.microsoft.com/en-us/azure/active-directory/role-based-access-built-in-roles#roles-in-azure" TargetMode="External"/><Relationship Id="rId24" Type="http://schemas.openxmlformats.org/officeDocument/2006/relationships/image" Target="../media/image187.svg"/><Relationship Id="rId5" Type="http://schemas.openxmlformats.org/officeDocument/2006/relationships/image" Target="../media/image174.png"/><Relationship Id="rId15" Type="http://schemas.openxmlformats.org/officeDocument/2006/relationships/image" Target="../media/image102.png"/><Relationship Id="rId23" Type="http://schemas.openxmlformats.org/officeDocument/2006/relationships/image" Target="../media/image186.png"/><Relationship Id="rId28" Type="http://schemas.openxmlformats.org/officeDocument/2006/relationships/image" Target="../media/image191.svg"/><Relationship Id="rId10" Type="http://schemas.openxmlformats.org/officeDocument/2006/relationships/image" Target="../media/image179.svg"/><Relationship Id="rId19" Type="http://schemas.openxmlformats.org/officeDocument/2006/relationships/image" Target="../media/image182.png"/><Relationship Id="rId4" Type="http://schemas.openxmlformats.org/officeDocument/2006/relationships/image" Target="../media/image173.svg"/><Relationship Id="rId9" Type="http://schemas.openxmlformats.org/officeDocument/2006/relationships/image" Target="../media/image178.png"/><Relationship Id="rId14" Type="http://schemas.openxmlformats.org/officeDocument/2006/relationships/image" Target="../media/image181.svg"/><Relationship Id="rId22" Type="http://schemas.openxmlformats.org/officeDocument/2006/relationships/image" Target="../media/image185.svg"/><Relationship Id="rId27" Type="http://schemas.openxmlformats.org/officeDocument/2006/relationships/image" Target="../media/image190.png"/></Relationships>
</file>

<file path=ppt/slides/_rels/slide55.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5.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93.png"/><Relationship Id="rId7" Type="http://schemas.openxmlformats.org/officeDocument/2006/relationships/image" Target="../media/image196.png"/><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image" Target="../media/image195.png"/><Relationship Id="rId5" Type="http://schemas.microsoft.com/office/2007/relationships/hdphoto" Target="../media/hdphoto6.wdp"/><Relationship Id="rId4" Type="http://schemas.openxmlformats.org/officeDocument/2006/relationships/image" Target="../media/image194.png"/></Relationships>
</file>

<file path=ppt/slides/_rels/slide5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3" Type="http://schemas.openxmlformats.org/officeDocument/2006/relationships/image" Target="../media/image200.jpg"/><Relationship Id="rId2" Type="http://schemas.openxmlformats.org/officeDocument/2006/relationships/notesSlide" Target="../notesSlides/notesSlide59.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92.xml"/></Relationships>
</file>

<file path=ppt/slides/_rels/slide6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60.xml"/><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62.xml"/><Relationship Id="rId1" Type="http://schemas.openxmlformats.org/officeDocument/2006/relationships/slideLayout" Target="../slideLayouts/slideLayout39.xml"/><Relationship Id="rId5" Type="http://schemas.openxmlformats.org/officeDocument/2006/relationships/image" Target="../media/image7.jpg"/><Relationship Id="rId4" Type="http://schemas.openxmlformats.org/officeDocument/2006/relationships/image" Target="../media/image203.jp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8" Type="http://schemas.openxmlformats.org/officeDocument/2006/relationships/image" Target="../media/image207.svg"/><Relationship Id="rId3" Type="http://schemas.openxmlformats.org/officeDocument/2006/relationships/image" Target="../media/image145.png"/><Relationship Id="rId7" Type="http://schemas.openxmlformats.org/officeDocument/2006/relationships/image" Target="../media/image206.png"/><Relationship Id="rId2" Type="http://schemas.openxmlformats.org/officeDocument/2006/relationships/notesSlide" Target="../notesSlides/notesSlide65.xml"/><Relationship Id="rId1" Type="http://schemas.openxmlformats.org/officeDocument/2006/relationships/slideLayout" Target="../slideLayouts/slideLayout29.xml"/><Relationship Id="rId6" Type="http://schemas.openxmlformats.org/officeDocument/2006/relationships/image" Target="../media/image205.png"/><Relationship Id="rId5" Type="http://schemas.openxmlformats.org/officeDocument/2006/relationships/image" Target="../media/image144.emf"/><Relationship Id="rId4" Type="http://schemas.openxmlformats.org/officeDocument/2006/relationships/image" Target="../media/image204.e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67.xml"/><Relationship Id="rId1" Type="http://schemas.openxmlformats.org/officeDocument/2006/relationships/slideLayout" Target="../slideLayouts/slideLayout40.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9.png"/><Relationship Id="rId9" Type="http://schemas.openxmlformats.org/officeDocument/2006/relationships/image" Target="../media/image21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xml"/></Relationships>
</file>

<file path=ppt/slides/_rels/slide69.xml.rels><?xml version="1.0" encoding="UTF-8" standalone="yes"?>
<Relationships xmlns="http://schemas.openxmlformats.org/package/2006/relationships"><Relationship Id="rId3" Type="http://schemas.openxmlformats.org/officeDocument/2006/relationships/image" Target="../media/image215.jpg"/><Relationship Id="rId2" Type="http://schemas.openxmlformats.org/officeDocument/2006/relationships/notesSlide" Target="../notesSlides/notesSlide69.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2.xml"/></Relationships>
</file>

<file path=ppt/slides/_rels/slide70.xml.rels><?xml version="1.0" encoding="UTF-8" standalone="yes"?>
<Relationships xmlns="http://schemas.openxmlformats.org/package/2006/relationships"><Relationship Id="rId8" Type="http://schemas.openxmlformats.org/officeDocument/2006/relationships/image" Target="../media/image221.png"/><Relationship Id="rId13" Type="http://schemas.openxmlformats.org/officeDocument/2006/relationships/image" Target="../media/image226.png"/><Relationship Id="rId18" Type="http://schemas.openxmlformats.org/officeDocument/2006/relationships/image" Target="../media/image231.emf"/><Relationship Id="rId3" Type="http://schemas.openxmlformats.org/officeDocument/2006/relationships/image" Target="../media/image216.png"/><Relationship Id="rId7" Type="http://schemas.openxmlformats.org/officeDocument/2006/relationships/image" Target="../media/image220.emf"/><Relationship Id="rId12" Type="http://schemas.openxmlformats.org/officeDocument/2006/relationships/image" Target="../media/image225.png"/><Relationship Id="rId17" Type="http://schemas.openxmlformats.org/officeDocument/2006/relationships/image" Target="../media/image230.emf"/><Relationship Id="rId2" Type="http://schemas.openxmlformats.org/officeDocument/2006/relationships/notesSlide" Target="../notesSlides/notesSlide70.xml"/><Relationship Id="rId16" Type="http://schemas.openxmlformats.org/officeDocument/2006/relationships/image" Target="../media/image229.png"/><Relationship Id="rId20" Type="http://schemas.openxmlformats.org/officeDocument/2006/relationships/image" Target="../media/image233.png"/><Relationship Id="rId1" Type="http://schemas.openxmlformats.org/officeDocument/2006/relationships/slideLayout" Target="../slideLayouts/slideLayout28.xml"/><Relationship Id="rId6" Type="http://schemas.openxmlformats.org/officeDocument/2006/relationships/image" Target="../media/image219.emf"/><Relationship Id="rId11" Type="http://schemas.openxmlformats.org/officeDocument/2006/relationships/image" Target="../media/image224.png"/><Relationship Id="rId5" Type="http://schemas.openxmlformats.org/officeDocument/2006/relationships/image" Target="../media/image218.emf"/><Relationship Id="rId15" Type="http://schemas.openxmlformats.org/officeDocument/2006/relationships/image" Target="../media/image228.emf"/><Relationship Id="rId10" Type="http://schemas.openxmlformats.org/officeDocument/2006/relationships/image" Target="../media/image223.emf"/><Relationship Id="rId19" Type="http://schemas.openxmlformats.org/officeDocument/2006/relationships/image" Target="../media/image232.png"/><Relationship Id="rId4" Type="http://schemas.openxmlformats.org/officeDocument/2006/relationships/image" Target="../media/image217.emf"/><Relationship Id="rId9" Type="http://schemas.openxmlformats.org/officeDocument/2006/relationships/image" Target="../media/image222.emf"/><Relationship Id="rId14" Type="http://schemas.openxmlformats.org/officeDocument/2006/relationships/image" Target="../media/image227.svg"/></Relationships>
</file>

<file path=ppt/slides/_rels/slide7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1.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2.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3.xml.rels><?xml version="1.0" encoding="UTF-8" standalone="yes"?>
<Relationships xmlns="http://schemas.openxmlformats.org/package/2006/relationships"><Relationship Id="rId13" Type="http://schemas.openxmlformats.org/officeDocument/2006/relationships/image" Target="../media/image243.png"/><Relationship Id="rId18" Type="http://schemas.openxmlformats.org/officeDocument/2006/relationships/image" Target="../media/image248.png"/><Relationship Id="rId26" Type="http://schemas.openxmlformats.org/officeDocument/2006/relationships/image" Target="../media/image256.jpg"/><Relationship Id="rId39" Type="http://schemas.openxmlformats.org/officeDocument/2006/relationships/image" Target="../media/image269.png"/><Relationship Id="rId21" Type="http://schemas.openxmlformats.org/officeDocument/2006/relationships/image" Target="../media/image251.png"/><Relationship Id="rId34" Type="http://schemas.openxmlformats.org/officeDocument/2006/relationships/image" Target="../media/image264.png"/><Relationship Id="rId7" Type="http://schemas.openxmlformats.org/officeDocument/2006/relationships/image" Target="../media/image238.png"/><Relationship Id="rId12" Type="http://schemas.openxmlformats.org/officeDocument/2006/relationships/image" Target="../media/image242.jpg"/><Relationship Id="rId17" Type="http://schemas.openxmlformats.org/officeDocument/2006/relationships/image" Target="../media/image247.jpg"/><Relationship Id="rId25" Type="http://schemas.openxmlformats.org/officeDocument/2006/relationships/image" Target="../media/image255.png"/><Relationship Id="rId33" Type="http://schemas.openxmlformats.org/officeDocument/2006/relationships/image" Target="../media/image263.svg"/><Relationship Id="rId38" Type="http://schemas.openxmlformats.org/officeDocument/2006/relationships/image" Target="../media/image268.png"/><Relationship Id="rId2" Type="http://schemas.openxmlformats.org/officeDocument/2006/relationships/notesSlide" Target="../notesSlides/notesSlide73.xml"/><Relationship Id="rId16" Type="http://schemas.openxmlformats.org/officeDocument/2006/relationships/image" Target="../media/image246.png"/><Relationship Id="rId20" Type="http://schemas.openxmlformats.org/officeDocument/2006/relationships/image" Target="../media/image250.png"/><Relationship Id="rId29" Type="http://schemas.openxmlformats.org/officeDocument/2006/relationships/image" Target="../media/image259.png"/><Relationship Id="rId1" Type="http://schemas.openxmlformats.org/officeDocument/2006/relationships/slideLayout" Target="../slideLayouts/slideLayout11.xml"/><Relationship Id="rId6" Type="http://schemas.openxmlformats.org/officeDocument/2006/relationships/image" Target="../media/image237.png"/><Relationship Id="rId11" Type="http://schemas.openxmlformats.org/officeDocument/2006/relationships/image" Target="../media/image241.png"/><Relationship Id="rId24" Type="http://schemas.openxmlformats.org/officeDocument/2006/relationships/image" Target="../media/image254.png"/><Relationship Id="rId32" Type="http://schemas.openxmlformats.org/officeDocument/2006/relationships/image" Target="../media/image262.png"/><Relationship Id="rId37" Type="http://schemas.openxmlformats.org/officeDocument/2006/relationships/image" Target="../media/image267.jpg"/><Relationship Id="rId5" Type="http://schemas.openxmlformats.org/officeDocument/2006/relationships/image" Target="../media/image236.png"/><Relationship Id="rId15" Type="http://schemas.openxmlformats.org/officeDocument/2006/relationships/image" Target="../media/image245.jpg"/><Relationship Id="rId23" Type="http://schemas.openxmlformats.org/officeDocument/2006/relationships/image" Target="../media/image253.png"/><Relationship Id="rId28" Type="http://schemas.openxmlformats.org/officeDocument/2006/relationships/image" Target="../media/image258.png"/><Relationship Id="rId36" Type="http://schemas.openxmlformats.org/officeDocument/2006/relationships/image" Target="../media/image266.jpg"/><Relationship Id="rId10" Type="http://schemas.openxmlformats.org/officeDocument/2006/relationships/image" Target="../media/image240.png"/><Relationship Id="rId19" Type="http://schemas.openxmlformats.org/officeDocument/2006/relationships/image" Target="../media/image249.png"/><Relationship Id="rId31" Type="http://schemas.openxmlformats.org/officeDocument/2006/relationships/image" Target="../media/image261.svg"/><Relationship Id="rId4" Type="http://schemas.openxmlformats.org/officeDocument/2006/relationships/image" Target="../media/image235.png"/><Relationship Id="rId9" Type="http://schemas.openxmlformats.org/officeDocument/2006/relationships/image" Target="../media/image239.png"/><Relationship Id="rId14" Type="http://schemas.openxmlformats.org/officeDocument/2006/relationships/image" Target="../media/image244.png"/><Relationship Id="rId22" Type="http://schemas.openxmlformats.org/officeDocument/2006/relationships/image" Target="../media/image252.png"/><Relationship Id="rId27" Type="http://schemas.openxmlformats.org/officeDocument/2006/relationships/image" Target="../media/image257.jpg"/><Relationship Id="rId30" Type="http://schemas.openxmlformats.org/officeDocument/2006/relationships/image" Target="../media/image260.png"/><Relationship Id="rId35" Type="http://schemas.openxmlformats.org/officeDocument/2006/relationships/image" Target="../media/image265.png"/><Relationship Id="rId8" Type="http://schemas.microsoft.com/office/2007/relationships/hdphoto" Target="../media/hdphoto7.wdp"/><Relationship Id="rId3" Type="http://schemas.openxmlformats.org/officeDocument/2006/relationships/image" Target="../media/image234.png"/></Relationships>
</file>

<file path=ppt/slides/_rels/slide74.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74.xml"/><Relationship Id="rId1" Type="http://schemas.openxmlformats.org/officeDocument/2006/relationships/slideLayout" Target="../slideLayouts/slideLayout123.xml"/></Relationships>
</file>

<file path=ppt/slides/_rels/slide75.xml.rels><?xml version="1.0" encoding="UTF-8" standalone="yes"?>
<Relationships xmlns="http://schemas.openxmlformats.org/package/2006/relationships"><Relationship Id="rId8" Type="http://schemas.openxmlformats.org/officeDocument/2006/relationships/image" Target="../media/image274.png"/><Relationship Id="rId13" Type="http://schemas.openxmlformats.org/officeDocument/2006/relationships/image" Target="../media/image278.png"/><Relationship Id="rId3" Type="http://schemas.openxmlformats.org/officeDocument/2006/relationships/image" Target="../media/image270.png"/><Relationship Id="rId7" Type="http://schemas.openxmlformats.org/officeDocument/2006/relationships/image" Target="../media/image273.png"/><Relationship Id="rId12" Type="http://schemas.openxmlformats.org/officeDocument/2006/relationships/image" Target="../media/image277.png"/><Relationship Id="rId2" Type="http://schemas.openxmlformats.org/officeDocument/2006/relationships/notesSlide" Target="../notesSlides/notesSlide75.xml"/><Relationship Id="rId1" Type="http://schemas.openxmlformats.org/officeDocument/2006/relationships/slideLayout" Target="../slideLayouts/slideLayout123.xml"/><Relationship Id="rId6" Type="http://schemas.openxmlformats.org/officeDocument/2006/relationships/image" Target="../media/image233.png"/><Relationship Id="rId11" Type="http://schemas.openxmlformats.org/officeDocument/2006/relationships/image" Target="../media/image276.png"/><Relationship Id="rId5" Type="http://schemas.openxmlformats.org/officeDocument/2006/relationships/image" Target="../media/image272.png"/><Relationship Id="rId15" Type="http://schemas.openxmlformats.org/officeDocument/2006/relationships/image" Target="../media/image279.png"/><Relationship Id="rId10" Type="http://schemas.openxmlformats.org/officeDocument/2006/relationships/image" Target="../media/image92.png"/><Relationship Id="rId4" Type="http://schemas.openxmlformats.org/officeDocument/2006/relationships/image" Target="../media/image271.png"/><Relationship Id="rId9" Type="http://schemas.openxmlformats.org/officeDocument/2006/relationships/image" Target="../media/image275.png"/><Relationship Id="rId14" Type="http://schemas.openxmlformats.org/officeDocument/2006/relationships/image" Target="../media/image166.png"/></Relationships>
</file>

<file path=ppt/slides/_rels/slide76.xml.rels><?xml version="1.0" encoding="UTF-8" standalone="yes"?>
<Relationships xmlns="http://schemas.openxmlformats.org/package/2006/relationships"><Relationship Id="rId8" Type="http://schemas.openxmlformats.org/officeDocument/2006/relationships/image" Target="../media/image285.svg"/><Relationship Id="rId13" Type="http://schemas.openxmlformats.org/officeDocument/2006/relationships/image" Target="../media/image290.png"/><Relationship Id="rId18" Type="http://schemas.openxmlformats.org/officeDocument/2006/relationships/image" Target="../media/image183.svg"/><Relationship Id="rId3" Type="http://schemas.openxmlformats.org/officeDocument/2006/relationships/image" Target="../media/image280.png"/><Relationship Id="rId21" Type="http://schemas.openxmlformats.org/officeDocument/2006/relationships/image" Target="../media/image295.png"/><Relationship Id="rId7" Type="http://schemas.openxmlformats.org/officeDocument/2006/relationships/image" Target="../media/image284.png"/><Relationship Id="rId12" Type="http://schemas.openxmlformats.org/officeDocument/2006/relationships/image" Target="../media/image289.svg"/><Relationship Id="rId17" Type="http://schemas.openxmlformats.org/officeDocument/2006/relationships/image" Target="../media/image182.png"/><Relationship Id="rId2" Type="http://schemas.openxmlformats.org/officeDocument/2006/relationships/notesSlide" Target="../notesSlides/notesSlide76.xml"/><Relationship Id="rId16" Type="http://schemas.microsoft.com/office/2007/relationships/hdphoto" Target="../media/hdphoto8.wdp"/><Relationship Id="rId20" Type="http://schemas.openxmlformats.org/officeDocument/2006/relationships/image" Target="../media/image294.svg"/><Relationship Id="rId1" Type="http://schemas.openxmlformats.org/officeDocument/2006/relationships/slideLayout" Target="../slideLayouts/slideLayout32.xml"/><Relationship Id="rId6" Type="http://schemas.openxmlformats.org/officeDocument/2006/relationships/image" Target="../media/image283.svg"/><Relationship Id="rId11" Type="http://schemas.openxmlformats.org/officeDocument/2006/relationships/image" Target="../media/image288.png"/><Relationship Id="rId5" Type="http://schemas.openxmlformats.org/officeDocument/2006/relationships/image" Target="../media/image282.png"/><Relationship Id="rId15" Type="http://schemas.openxmlformats.org/officeDocument/2006/relationships/image" Target="../media/image292.png"/><Relationship Id="rId10" Type="http://schemas.openxmlformats.org/officeDocument/2006/relationships/image" Target="../media/image287.svg"/><Relationship Id="rId19" Type="http://schemas.openxmlformats.org/officeDocument/2006/relationships/image" Target="../media/image293.png"/><Relationship Id="rId4" Type="http://schemas.openxmlformats.org/officeDocument/2006/relationships/image" Target="../media/image281.svg"/><Relationship Id="rId9" Type="http://schemas.openxmlformats.org/officeDocument/2006/relationships/image" Target="../media/image286.png"/><Relationship Id="rId14" Type="http://schemas.openxmlformats.org/officeDocument/2006/relationships/image" Target="../media/image291.svg"/><Relationship Id="rId22" Type="http://schemas.openxmlformats.org/officeDocument/2006/relationships/image" Target="../media/image296.svg"/></Relationships>
</file>

<file path=ppt/slides/_rels/slide77.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297.png"/><Relationship Id="rId18" Type="http://schemas.openxmlformats.org/officeDocument/2006/relationships/image" Target="../media/image302.svg"/><Relationship Id="rId3" Type="http://schemas.openxmlformats.org/officeDocument/2006/relationships/diagramData" Target="../diagrams/data4.xml"/><Relationship Id="rId21" Type="http://schemas.openxmlformats.org/officeDocument/2006/relationships/image" Target="../media/image305.pn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301.png"/><Relationship Id="rId2" Type="http://schemas.openxmlformats.org/officeDocument/2006/relationships/notesSlide" Target="../notesSlides/notesSlide77.xml"/><Relationship Id="rId16" Type="http://schemas.openxmlformats.org/officeDocument/2006/relationships/image" Target="../media/image300.svg"/><Relationship Id="rId20" Type="http://schemas.openxmlformats.org/officeDocument/2006/relationships/image" Target="../media/image304.svg"/><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diagramColors" Target="../diagrams/colors5.xml"/><Relationship Id="rId24" Type="http://schemas.openxmlformats.org/officeDocument/2006/relationships/image" Target="../media/image308.svg"/><Relationship Id="rId5" Type="http://schemas.openxmlformats.org/officeDocument/2006/relationships/diagramQuickStyle" Target="../diagrams/quickStyle4.xml"/><Relationship Id="rId15" Type="http://schemas.openxmlformats.org/officeDocument/2006/relationships/image" Target="../media/image299.png"/><Relationship Id="rId23" Type="http://schemas.openxmlformats.org/officeDocument/2006/relationships/image" Target="../media/image307.png"/><Relationship Id="rId10" Type="http://schemas.openxmlformats.org/officeDocument/2006/relationships/diagramQuickStyle" Target="../diagrams/quickStyle5.xml"/><Relationship Id="rId19" Type="http://schemas.openxmlformats.org/officeDocument/2006/relationships/image" Target="../media/image303.pn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298.svg"/><Relationship Id="rId22" Type="http://schemas.openxmlformats.org/officeDocument/2006/relationships/image" Target="../media/image306.svg"/></Relationships>
</file>

<file path=ppt/slides/_rels/slide78.xml.rels><?xml version="1.0" encoding="UTF-8" standalone="yes"?>
<Relationships xmlns="http://schemas.openxmlformats.org/package/2006/relationships"><Relationship Id="rId8" Type="http://schemas.openxmlformats.org/officeDocument/2006/relationships/image" Target="../media/image314.svg"/><Relationship Id="rId13" Type="http://schemas.openxmlformats.org/officeDocument/2006/relationships/image" Target="../media/image319.png"/><Relationship Id="rId3" Type="http://schemas.openxmlformats.org/officeDocument/2006/relationships/image" Target="../media/image309.png"/><Relationship Id="rId7" Type="http://schemas.openxmlformats.org/officeDocument/2006/relationships/image" Target="../media/image313.png"/><Relationship Id="rId12" Type="http://schemas.openxmlformats.org/officeDocument/2006/relationships/image" Target="../media/image318.svg"/><Relationship Id="rId2" Type="http://schemas.openxmlformats.org/officeDocument/2006/relationships/notesSlide" Target="../notesSlides/notesSlide78.xml"/><Relationship Id="rId1" Type="http://schemas.openxmlformats.org/officeDocument/2006/relationships/slideLayout" Target="../slideLayouts/slideLayout29.xml"/><Relationship Id="rId6" Type="http://schemas.openxmlformats.org/officeDocument/2006/relationships/image" Target="../media/image312.svg"/><Relationship Id="rId11" Type="http://schemas.openxmlformats.org/officeDocument/2006/relationships/image" Target="../media/image317.png"/><Relationship Id="rId5" Type="http://schemas.openxmlformats.org/officeDocument/2006/relationships/image" Target="../media/image311.png"/><Relationship Id="rId10" Type="http://schemas.openxmlformats.org/officeDocument/2006/relationships/image" Target="../media/image316.svg"/><Relationship Id="rId4" Type="http://schemas.openxmlformats.org/officeDocument/2006/relationships/image" Target="../media/image310.svg"/><Relationship Id="rId9" Type="http://schemas.openxmlformats.org/officeDocument/2006/relationships/image" Target="../media/image315.png"/><Relationship Id="rId14" Type="http://schemas.openxmlformats.org/officeDocument/2006/relationships/image" Target="../media/image320.svg"/></Relationships>
</file>

<file path=ppt/slides/_rels/slide79.xml.rels><?xml version="1.0" encoding="UTF-8" standalone="yes"?>
<Relationships xmlns="http://schemas.openxmlformats.org/package/2006/relationships"><Relationship Id="rId8" Type="http://schemas.openxmlformats.org/officeDocument/2006/relationships/image" Target="../media/image325.png"/><Relationship Id="rId3" Type="http://schemas.openxmlformats.org/officeDocument/2006/relationships/image" Target="../media/image321.png"/><Relationship Id="rId7" Type="http://schemas.openxmlformats.org/officeDocument/2006/relationships/image" Target="../media/image324.png"/><Relationship Id="rId2" Type="http://schemas.openxmlformats.org/officeDocument/2006/relationships/notesSlide" Target="../notesSlides/notesSlide79.xml"/><Relationship Id="rId1" Type="http://schemas.openxmlformats.org/officeDocument/2006/relationships/slideLayout" Target="../slideLayouts/slideLayout48.xml"/><Relationship Id="rId6" Type="http://schemas.openxmlformats.org/officeDocument/2006/relationships/image" Target="../media/image323.png"/><Relationship Id="rId5" Type="http://schemas.openxmlformats.org/officeDocument/2006/relationships/image" Target="../media/image322.png"/><Relationship Id="rId4" Type="http://schemas.openxmlformats.org/officeDocument/2006/relationships/image" Target="../media/image146.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2.xml"/></Relationships>
</file>

<file path=ppt/slides/_rels/slide80.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notesSlide" Target="../notesSlides/notesSlide80.xml"/><Relationship Id="rId7" Type="http://schemas.openxmlformats.org/officeDocument/2006/relationships/image" Target="../media/image328.png"/><Relationship Id="rId2" Type="http://schemas.openxmlformats.org/officeDocument/2006/relationships/slideLayout" Target="../slideLayouts/slideLayout40.xml"/><Relationship Id="rId1" Type="http://schemas.openxmlformats.org/officeDocument/2006/relationships/vmlDrawing" Target="../drawings/vmlDrawing2.vml"/><Relationship Id="rId6" Type="http://schemas.openxmlformats.org/officeDocument/2006/relationships/image" Target="../media/image327.png"/><Relationship Id="rId5" Type="http://schemas.openxmlformats.org/officeDocument/2006/relationships/image" Target="../media/image326.wmf"/><Relationship Id="rId10" Type="http://schemas.openxmlformats.org/officeDocument/2006/relationships/image" Target="../media/image331.png"/><Relationship Id="rId4" Type="http://schemas.openxmlformats.org/officeDocument/2006/relationships/oleObject" Target="../embeddings/oleObject2.bin"/><Relationship Id="rId9" Type="http://schemas.openxmlformats.org/officeDocument/2006/relationships/image" Target="../media/image330.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9.xml"/></Relationships>
</file>

<file path=ppt/slides/_rels/slide82.xml.rels><?xml version="1.0" encoding="UTF-8" standalone="yes"?>
<Relationships xmlns="http://schemas.openxmlformats.org/package/2006/relationships"><Relationship Id="rId3" Type="http://schemas.openxmlformats.org/officeDocument/2006/relationships/image" Target="../media/image332.jpg"/><Relationship Id="rId2" Type="http://schemas.openxmlformats.org/officeDocument/2006/relationships/notesSlide" Target="../notesSlides/notesSlide82.xml"/><Relationship Id="rId1" Type="http://schemas.openxmlformats.org/officeDocument/2006/relationships/slideLayout" Target="../slideLayouts/slideLayout39.xml"/></Relationships>
</file>

<file path=ppt/slides/_rels/slide83.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83.xml"/><Relationship Id="rId1" Type="http://schemas.openxmlformats.org/officeDocument/2006/relationships/slideLayout" Target="../slideLayouts/slideLayout32.xml"/></Relationships>
</file>

<file path=ppt/slides/_rels/slide84.xml.rels><?xml version="1.0" encoding="UTF-8" standalone="yes"?>
<Relationships xmlns="http://schemas.openxmlformats.org/package/2006/relationships"><Relationship Id="rId3" Type="http://schemas.openxmlformats.org/officeDocument/2006/relationships/image" Target="../media/image334.emf"/><Relationship Id="rId2" Type="http://schemas.openxmlformats.org/officeDocument/2006/relationships/notesSlide" Target="../notesSlides/notesSlide84.xml"/><Relationship Id="rId1" Type="http://schemas.openxmlformats.org/officeDocument/2006/relationships/slideLayout" Target="../slideLayouts/slideLayout27.xml"/><Relationship Id="rId4" Type="http://schemas.openxmlformats.org/officeDocument/2006/relationships/image" Target="../media/image335.png"/></Relationships>
</file>

<file path=ppt/slides/_rels/slide85.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85.xml"/><Relationship Id="rId1" Type="http://schemas.openxmlformats.org/officeDocument/2006/relationships/slideLayout" Target="../slideLayouts/slideLayout47.xml"/><Relationship Id="rId6" Type="http://schemas.openxmlformats.org/officeDocument/2006/relationships/image" Target="../media/image339.emf"/><Relationship Id="rId5" Type="http://schemas.openxmlformats.org/officeDocument/2006/relationships/image" Target="../media/image338.png"/><Relationship Id="rId4" Type="http://schemas.openxmlformats.org/officeDocument/2006/relationships/image" Target="../media/image337.png"/></Relationships>
</file>

<file path=ppt/slides/_rels/slide86.xml.rels><?xml version="1.0" encoding="UTF-8" standalone="yes"?>
<Relationships xmlns="http://schemas.openxmlformats.org/package/2006/relationships"><Relationship Id="rId8" Type="http://schemas.openxmlformats.org/officeDocument/2006/relationships/image" Target="../media/image345.png"/><Relationship Id="rId3" Type="http://schemas.openxmlformats.org/officeDocument/2006/relationships/image" Target="../media/image340.png"/><Relationship Id="rId7" Type="http://schemas.openxmlformats.org/officeDocument/2006/relationships/image" Target="../media/image344.png"/><Relationship Id="rId2" Type="http://schemas.openxmlformats.org/officeDocument/2006/relationships/notesSlide" Target="../notesSlides/notesSlide86.xml"/><Relationship Id="rId1" Type="http://schemas.openxmlformats.org/officeDocument/2006/relationships/slideLayout" Target="../slideLayouts/slideLayout32.xml"/><Relationship Id="rId6" Type="http://schemas.openxmlformats.org/officeDocument/2006/relationships/image" Target="../media/image343.svg"/><Relationship Id="rId5" Type="http://schemas.openxmlformats.org/officeDocument/2006/relationships/image" Target="../media/image342.png"/><Relationship Id="rId4" Type="http://schemas.openxmlformats.org/officeDocument/2006/relationships/image" Target="../media/image341.svg"/></Relationships>
</file>

<file path=ppt/slides/_rels/slide87.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87.xml"/><Relationship Id="rId1" Type="http://schemas.openxmlformats.org/officeDocument/2006/relationships/slideLayout" Target="../slideLayouts/slideLayout40.xml"/></Relationships>
</file>

<file path=ppt/slides/_rels/slide88.xml.rels><?xml version="1.0" encoding="UTF-8" standalone="yes"?>
<Relationships xmlns="http://schemas.openxmlformats.org/package/2006/relationships"><Relationship Id="rId8" Type="http://schemas.openxmlformats.org/officeDocument/2006/relationships/image" Target="../media/image350.png"/><Relationship Id="rId13" Type="http://schemas.openxmlformats.org/officeDocument/2006/relationships/image" Target="../media/image355.svg"/><Relationship Id="rId3" Type="http://schemas.openxmlformats.org/officeDocument/2006/relationships/hyperlink" Target="https://youtu.be/aAy635iBB50" TargetMode="External"/><Relationship Id="rId7" Type="http://schemas.openxmlformats.org/officeDocument/2006/relationships/image" Target="../media/image349.svg"/><Relationship Id="rId12" Type="http://schemas.openxmlformats.org/officeDocument/2006/relationships/image" Target="../media/image354.png"/><Relationship Id="rId2" Type="http://schemas.openxmlformats.org/officeDocument/2006/relationships/notesSlide" Target="../notesSlides/notesSlide88.xml"/><Relationship Id="rId1" Type="http://schemas.openxmlformats.org/officeDocument/2006/relationships/slideLayout" Target="../slideLayouts/slideLayout36.xml"/><Relationship Id="rId6" Type="http://schemas.openxmlformats.org/officeDocument/2006/relationships/image" Target="../media/image348.png"/><Relationship Id="rId11" Type="http://schemas.openxmlformats.org/officeDocument/2006/relationships/image" Target="../media/image353.svg"/><Relationship Id="rId5" Type="http://schemas.openxmlformats.org/officeDocument/2006/relationships/hyperlink" Target="https://azure.microsoft.com/en-us/support/legal/sla/cosmos-db/v1_0/" TargetMode="External"/><Relationship Id="rId10" Type="http://schemas.openxmlformats.org/officeDocument/2006/relationships/image" Target="../media/image352.png"/><Relationship Id="rId4" Type="http://schemas.openxmlformats.org/officeDocument/2006/relationships/image" Target="../media/image347.jpg"/><Relationship Id="rId9" Type="http://schemas.openxmlformats.org/officeDocument/2006/relationships/image" Target="../media/image351.svg"/><Relationship Id="rId14" Type="http://schemas.openxmlformats.org/officeDocument/2006/relationships/image" Target="../media/image356.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192.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90.xml.rels><?xml version="1.0" encoding="UTF-8" standalone="yes"?>
<Relationships xmlns="http://schemas.openxmlformats.org/package/2006/relationships"><Relationship Id="rId8" Type="http://schemas.openxmlformats.org/officeDocument/2006/relationships/image" Target="../media/image362.svg"/><Relationship Id="rId13" Type="http://schemas.openxmlformats.org/officeDocument/2006/relationships/image" Target="../media/image367.png"/><Relationship Id="rId3" Type="http://schemas.openxmlformats.org/officeDocument/2006/relationships/image" Target="../media/image357.png"/><Relationship Id="rId7" Type="http://schemas.openxmlformats.org/officeDocument/2006/relationships/image" Target="../media/image361.png"/><Relationship Id="rId12" Type="http://schemas.openxmlformats.org/officeDocument/2006/relationships/image" Target="../media/image366.svg"/><Relationship Id="rId2" Type="http://schemas.openxmlformats.org/officeDocument/2006/relationships/notesSlide" Target="../notesSlides/notesSlide90.xml"/><Relationship Id="rId1" Type="http://schemas.openxmlformats.org/officeDocument/2006/relationships/slideLayout" Target="../slideLayouts/slideLayout11.xml"/><Relationship Id="rId6" Type="http://schemas.openxmlformats.org/officeDocument/2006/relationships/image" Target="../media/image360.svg"/><Relationship Id="rId11" Type="http://schemas.openxmlformats.org/officeDocument/2006/relationships/image" Target="../media/image365.png"/><Relationship Id="rId5" Type="http://schemas.openxmlformats.org/officeDocument/2006/relationships/image" Target="../media/image359.png"/><Relationship Id="rId10" Type="http://schemas.openxmlformats.org/officeDocument/2006/relationships/image" Target="../media/image364.svg"/><Relationship Id="rId4" Type="http://schemas.openxmlformats.org/officeDocument/2006/relationships/image" Target="../media/image358.svg"/><Relationship Id="rId9" Type="http://schemas.openxmlformats.org/officeDocument/2006/relationships/image" Target="../media/image363.png"/><Relationship Id="rId14" Type="http://schemas.openxmlformats.org/officeDocument/2006/relationships/image" Target="../media/image368.svg"/></Relationships>
</file>

<file path=ppt/slides/_rels/slide91.xml.rels><?xml version="1.0" encoding="UTF-8" standalone="yes"?>
<Relationships xmlns="http://schemas.openxmlformats.org/package/2006/relationships"><Relationship Id="rId8" Type="http://schemas.openxmlformats.org/officeDocument/2006/relationships/image" Target="../media/image374.png"/><Relationship Id="rId13" Type="http://schemas.openxmlformats.org/officeDocument/2006/relationships/image" Target="../media/image379.emf"/><Relationship Id="rId3" Type="http://schemas.openxmlformats.org/officeDocument/2006/relationships/image" Target="../media/image369.emf"/><Relationship Id="rId7" Type="http://schemas.openxmlformats.org/officeDocument/2006/relationships/image" Target="../media/image373.emf"/><Relationship Id="rId12" Type="http://schemas.openxmlformats.org/officeDocument/2006/relationships/image" Target="../media/image378.png"/><Relationship Id="rId2" Type="http://schemas.openxmlformats.org/officeDocument/2006/relationships/notesSlide" Target="../notesSlides/notesSlide91.xml"/><Relationship Id="rId16" Type="http://schemas.openxmlformats.org/officeDocument/2006/relationships/image" Target="../media/image360.svg"/><Relationship Id="rId1" Type="http://schemas.openxmlformats.org/officeDocument/2006/relationships/slideLayout" Target="../slideLayouts/slideLayout11.xml"/><Relationship Id="rId6" Type="http://schemas.openxmlformats.org/officeDocument/2006/relationships/image" Target="../media/image372.emf"/><Relationship Id="rId11" Type="http://schemas.openxmlformats.org/officeDocument/2006/relationships/image" Target="../media/image377.emf"/><Relationship Id="rId5" Type="http://schemas.openxmlformats.org/officeDocument/2006/relationships/image" Target="../media/image371.emf"/><Relationship Id="rId15" Type="http://schemas.openxmlformats.org/officeDocument/2006/relationships/image" Target="../media/image359.png"/><Relationship Id="rId10" Type="http://schemas.openxmlformats.org/officeDocument/2006/relationships/image" Target="../media/image376.emf"/><Relationship Id="rId4" Type="http://schemas.openxmlformats.org/officeDocument/2006/relationships/image" Target="../media/image370.emf"/><Relationship Id="rId9" Type="http://schemas.openxmlformats.org/officeDocument/2006/relationships/image" Target="../media/image375.emf"/><Relationship Id="rId14" Type="http://schemas.openxmlformats.org/officeDocument/2006/relationships/image" Target="../media/image380.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5.xml"/></Relationships>
</file>

<file path=ppt/slides/_rels/slide94.xml.rels><?xml version="1.0" encoding="UTF-8" standalone="yes"?>
<Relationships xmlns="http://schemas.openxmlformats.org/package/2006/relationships"><Relationship Id="rId8" Type="http://schemas.openxmlformats.org/officeDocument/2006/relationships/image" Target="../media/image233.png"/><Relationship Id="rId13" Type="http://schemas.openxmlformats.org/officeDocument/2006/relationships/image" Target="../media/image197.png"/><Relationship Id="rId3" Type="http://schemas.openxmlformats.org/officeDocument/2006/relationships/image" Target="../media/image381.png"/><Relationship Id="rId7" Type="http://schemas.openxmlformats.org/officeDocument/2006/relationships/image" Target="../media/image385.png"/><Relationship Id="rId12" Type="http://schemas.openxmlformats.org/officeDocument/2006/relationships/image" Target="../media/image273.png"/><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image" Target="../media/image384.png"/><Relationship Id="rId11" Type="http://schemas.openxmlformats.org/officeDocument/2006/relationships/image" Target="../media/image387.png"/><Relationship Id="rId5" Type="http://schemas.openxmlformats.org/officeDocument/2006/relationships/image" Target="../media/image383.png"/><Relationship Id="rId10" Type="http://schemas.openxmlformats.org/officeDocument/2006/relationships/image" Target="../media/image275.png"/><Relationship Id="rId4" Type="http://schemas.openxmlformats.org/officeDocument/2006/relationships/image" Target="../media/image382.png"/><Relationship Id="rId9" Type="http://schemas.openxmlformats.org/officeDocument/2006/relationships/image" Target="../media/image386.png"/></Relationships>
</file>

<file path=ppt/slides/_rels/slide95.xml.rels><?xml version="1.0" encoding="UTF-8" standalone="yes"?>
<Relationships xmlns="http://schemas.openxmlformats.org/package/2006/relationships"><Relationship Id="rId3" Type="http://schemas.openxmlformats.org/officeDocument/2006/relationships/image" Target="../media/image388.emf"/><Relationship Id="rId2" Type="http://schemas.openxmlformats.org/officeDocument/2006/relationships/notesSlide" Target="../notesSlides/notesSlide95.xml"/><Relationship Id="rId1" Type="http://schemas.openxmlformats.org/officeDocument/2006/relationships/slideLayout" Target="../slideLayouts/slideLayout4.xml"/><Relationship Id="rId6" Type="http://schemas.openxmlformats.org/officeDocument/2006/relationships/image" Target="../media/image391.svg"/><Relationship Id="rId5" Type="http://schemas.openxmlformats.org/officeDocument/2006/relationships/image" Target="../media/image390.png"/><Relationship Id="rId4" Type="http://schemas.openxmlformats.org/officeDocument/2006/relationships/image" Target="../media/image389.emf"/></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8" Type="http://schemas.openxmlformats.org/officeDocument/2006/relationships/image" Target="../media/image396.png"/><Relationship Id="rId13" Type="http://schemas.openxmlformats.org/officeDocument/2006/relationships/image" Target="../media/image400.png"/><Relationship Id="rId3" Type="http://schemas.openxmlformats.org/officeDocument/2006/relationships/image" Target="../media/image392.png"/><Relationship Id="rId7" Type="http://schemas.openxmlformats.org/officeDocument/2006/relationships/image" Target="../media/image395.png"/><Relationship Id="rId12" Type="http://schemas.openxmlformats.org/officeDocument/2006/relationships/image" Target="../media/image399.jpg"/><Relationship Id="rId2" Type="http://schemas.openxmlformats.org/officeDocument/2006/relationships/notesSlide" Target="../notesSlides/notesSlide97.xml"/><Relationship Id="rId1" Type="http://schemas.openxmlformats.org/officeDocument/2006/relationships/slideLayout" Target="../slideLayouts/slideLayout32.xml"/><Relationship Id="rId6" Type="http://schemas.microsoft.com/office/2007/relationships/hdphoto" Target="../media/hdphoto9.wdp"/><Relationship Id="rId11" Type="http://schemas.openxmlformats.org/officeDocument/2006/relationships/image" Target="../media/image398.png"/><Relationship Id="rId5" Type="http://schemas.openxmlformats.org/officeDocument/2006/relationships/image" Target="../media/image394.png"/><Relationship Id="rId10" Type="http://schemas.microsoft.com/office/2007/relationships/hdphoto" Target="../media/hdphoto10.wdp"/><Relationship Id="rId4" Type="http://schemas.openxmlformats.org/officeDocument/2006/relationships/image" Target="../media/image393.png"/><Relationship Id="rId9" Type="http://schemas.openxmlformats.org/officeDocument/2006/relationships/image" Target="../media/image397.png"/><Relationship Id="rId14" Type="http://schemas.openxmlformats.org/officeDocument/2006/relationships/image" Target="../media/image401.png"/></Relationships>
</file>

<file path=ppt/slides/_rels/slide98.xml.rels><?xml version="1.0" encoding="UTF-8" standalone="yes"?>
<Relationships xmlns="http://schemas.openxmlformats.org/package/2006/relationships"><Relationship Id="rId8" Type="http://schemas.openxmlformats.org/officeDocument/2006/relationships/image" Target="../media/image404.png"/><Relationship Id="rId13" Type="http://schemas.openxmlformats.org/officeDocument/2006/relationships/image" Target="../media/image274.png"/><Relationship Id="rId3" Type="http://schemas.openxmlformats.org/officeDocument/2006/relationships/image" Target="../media/image385.png"/><Relationship Id="rId7" Type="http://schemas.openxmlformats.org/officeDocument/2006/relationships/image" Target="../media/image275.png"/><Relationship Id="rId12" Type="http://schemas.microsoft.com/office/2007/relationships/hdphoto" Target="../media/hdphoto12.wdp"/><Relationship Id="rId2" Type="http://schemas.openxmlformats.org/officeDocument/2006/relationships/notesSlide" Target="../notesSlides/notesSlide98.xml"/><Relationship Id="rId1" Type="http://schemas.openxmlformats.org/officeDocument/2006/relationships/slideLayout" Target="../slideLayouts/slideLayout179.xml"/><Relationship Id="rId6" Type="http://schemas.openxmlformats.org/officeDocument/2006/relationships/image" Target="../media/image133.png"/><Relationship Id="rId11" Type="http://schemas.openxmlformats.org/officeDocument/2006/relationships/image" Target="../media/image406.png"/><Relationship Id="rId5" Type="http://schemas.openxmlformats.org/officeDocument/2006/relationships/image" Target="../media/image403.png"/><Relationship Id="rId10" Type="http://schemas.microsoft.com/office/2007/relationships/hdphoto" Target="../media/hdphoto11.wdp"/><Relationship Id="rId4" Type="http://schemas.openxmlformats.org/officeDocument/2006/relationships/image" Target="../media/image402.png"/><Relationship Id="rId9" Type="http://schemas.openxmlformats.org/officeDocument/2006/relationships/image" Target="../media/image405.png"/></Relationships>
</file>

<file path=ppt/slides/_rels/slide9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9.xml"/><Relationship Id="rId1" Type="http://schemas.openxmlformats.org/officeDocument/2006/relationships/slideLayout" Target="../slideLayouts/slideLayout18.xml"/><Relationship Id="rId5" Type="http://schemas.openxmlformats.org/officeDocument/2006/relationships/image" Target="../media/image408.png"/><Relationship Id="rId4" Type="http://schemas.openxmlformats.org/officeDocument/2006/relationships/image" Target="../media/image40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11" name="Rectangle 10"/>
          <p:cNvSpPr/>
          <p:nvPr/>
        </p:nvSpPr>
        <p:spPr bwMode="auto">
          <a:xfrm flipH="1">
            <a:off x="880" y="-2"/>
            <a:ext cx="12456917" cy="7002566"/>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1"/>
          <p:cNvSpPr txBox="1">
            <a:spLocks/>
          </p:cNvSpPr>
          <p:nvPr/>
        </p:nvSpPr>
        <p:spPr bwMode="ltGray">
          <a:xfrm>
            <a:off x="6161716" y="2652467"/>
            <a:ext cx="5101059" cy="1324056"/>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563">
              <a:lnSpc>
                <a:spcPts val="8608"/>
              </a:lnSpc>
              <a:defRPr/>
            </a:pPr>
            <a:r>
              <a:rPr lang="en-US" sz="3468" b="1" spc="-102" dirty="0">
                <a:solidFill>
                  <a:srgbClr val="FFFFFF"/>
                </a:solidFill>
                <a:latin typeface="Segoe UI"/>
              </a:rPr>
              <a:t>Azure 101 Overview</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9918" y="2922699"/>
            <a:ext cx="2769401" cy="975005"/>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708981" y="6133051"/>
            <a:ext cx="1354586" cy="498275"/>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51" name="Straight Connector 150">
            <a:extLst>
              <a:ext uri="{FF2B5EF4-FFF2-40B4-BE49-F238E27FC236}">
                <a16:creationId xmlns:a16="http://schemas.microsoft.com/office/drawing/2014/main" id="{11D12DB0-8BDD-42D8-B0A7-892C0F2202AD}"/>
              </a:ext>
            </a:extLst>
          </p:cNvPr>
          <p:cNvCxnSpPr>
            <a:cxnSpLocks/>
          </p:cNvCxnSpPr>
          <p:nvPr/>
        </p:nvCxnSpPr>
        <p:spPr>
          <a:xfrm flipH="1">
            <a:off x="3547601" y="4465191"/>
            <a:ext cx="2939112" cy="904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EBA3E0FE-3E21-41A5-8306-0B97C22BC36B}"/>
              </a:ext>
            </a:extLst>
          </p:cNvPr>
          <p:cNvCxnSpPr>
            <a:cxnSpLocks/>
          </p:cNvCxnSpPr>
          <p:nvPr/>
        </p:nvCxnSpPr>
        <p:spPr>
          <a:xfrm flipH="1">
            <a:off x="7701924" y="3257070"/>
            <a:ext cx="897754" cy="54399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3" name="Straight Connector 172">
            <a:extLst>
              <a:ext uri="{FF2B5EF4-FFF2-40B4-BE49-F238E27FC236}">
                <a16:creationId xmlns:a16="http://schemas.microsoft.com/office/drawing/2014/main" id="{AA503B7B-7589-4648-B273-5952F362EF73}"/>
              </a:ext>
            </a:extLst>
          </p:cNvPr>
          <p:cNvCxnSpPr>
            <a:cxnSpLocks/>
          </p:cNvCxnSpPr>
          <p:nvPr/>
        </p:nvCxnSpPr>
        <p:spPr>
          <a:xfrm>
            <a:off x="7659533" y="4648886"/>
            <a:ext cx="1592267" cy="100191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68" name="Oval 167">
            <a:extLst>
              <a:ext uri="{FF2B5EF4-FFF2-40B4-BE49-F238E27FC236}">
                <a16:creationId xmlns:a16="http://schemas.microsoft.com/office/drawing/2014/main" id="{31A2B650-0507-4540-9830-1F7DB3BCC4B5}"/>
              </a:ext>
            </a:extLst>
          </p:cNvPr>
          <p:cNvSpPr/>
          <p:nvPr/>
        </p:nvSpPr>
        <p:spPr bwMode="auto">
          <a:xfrm>
            <a:off x="8507854" y="2616117"/>
            <a:ext cx="916470" cy="916470"/>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cxnSp>
        <p:nvCxnSpPr>
          <p:cNvPr id="59" name="Straight Connector 58">
            <a:extLst>
              <a:ext uri="{FF2B5EF4-FFF2-40B4-BE49-F238E27FC236}">
                <a16:creationId xmlns:a16="http://schemas.microsoft.com/office/drawing/2014/main" id="{D6B812CD-8ADA-4FA6-9F8E-9BB2E0B21180}"/>
              </a:ext>
            </a:extLst>
          </p:cNvPr>
          <p:cNvCxnSpPr>
            <a:cxnSpLocks/>
          </p:cNvCxnSpPr>
          <p:nvPr/>
        </p:nvCxnSpPr>
        <p:spPr>
          <a:xfrm>
            <a:off x="3985642" y="2811940"/>
            <a:ext cx="2529332" cy="104564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2" name="Oval 61">
            <a:extLst>
              <a:ext uri="{FF2B5EF4-FFF2-40B4-BE49-F238E27FC236}">
                <a16:creationId xmlns:a16="http://schemas.microsoft.com/office/drawing/2014/main" id="{F93FB01C-4442-4911-98F4-8C7C2BC608D0}"/>
              </a:ext>
            </a:extLst>
          </p:cNvPr>
          <p:cNvSpPr/>
          <p:nvPr/>
        </p:nvSpPr>
        <p:spPr bwMode="auto">
          <a:xfrm>
            <a:off x="3147682" y="2145205"/>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63" name="Oval 62">
            <a:extLst>
              <a:ext uri="{FF2B5EF4-FFF2-40B4-BE49-F238E27FC236}">
                <a16:creationId xmlns:a16="http://schemas.microsoft.com/office/drawing/2014/main" id="{2D043D74-B456-4891-A0C4-561ED377B692}"/>
              </a:ext>
            </a:extLst>
          </p:cNvPr>
          <p:cNvSpPr/>
          <p:nvPr/>
        </p:nvSpPr>
        <p:spPr bwMode="auto">
          <a:xfrm>
            <a:off x="9161826" y="5447781"/>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65" name="Oval 64">
            <a:extLst>
              <a:ext uri="{FF2B5EF4-FFF2-40B4-BE49-F238E27FC236}">
                <a16:creationId xmlns:a16="http://schemas.microsoft.com/office/drawing/2014/main" id="{49F6F503-EF2E-4056-BED3-03B64630B1A5}"/>
              </a:ext>
            </a:extLst>
          </p:cNvPr>
          <p:cNvSpPr/>
          <p:nvPr/>
        </p:nvSpPr>
        <p:spPr bwMode="auto">
          <a:xfrm>
            <a:off x="2671356" y="5076845"/>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4101997" y="1920926"/>
            <a:ext cx="3363873"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Frameworks &amp; Tooling</a:t>
            </a:r>
          </a:p>
          <a:p>
            <a:pPr defTabSz="932597"/>
            <a:r>
              <a:rPr lang="en-US" sz="1836" dirty="0">
                <a:solidFill>
                  <a:srgbClr val="0078D7"/>
                </a:solidFill>
                <a:latin typeface="Segoe UI Light" charset="0"/>
                <a:ea typeface="Segoe UI Light" charset="0"/>
                <a:cs typeface="Segoe UI Light" charset="0"/>
              </a:rPr>
              <a:t>VS, ML STUB, Tensor, Caffe</a:t>
            </a:r>
          </a:p>
        </p:txBody>
      </p:sp>
      <p:sp>
        <p:nvSpPr>
          <p:cNvPr id="109" name="TextBox 108"/>
          <p:cNvSpPr txBox="1"/>
          <p:nvPr/>
        </p:nvSpPr>
        <p:spPr>
          <a:xfrm>
            <a:off x="3583282" y="5366448"/>
            <a:ext cx="3748697"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Infrastructure and Compute</a:t>
            </a:r>
          </a:p>
          <a:p>
            <a:pPr defTabSz="932597"/>
            <a:r>
              <a:rPr lang="en-US" sz="1836" dirty="0">
                <a:solidFill>
                  <a:srgbClr val="0078D7"/>
                </a:solidFill>
                <a:latin typeface="Segoe UI Light" charset="0"/>
                <a:ea typeface="Segoe UI Light" charset="0"/>
                <a:cs typeface="Segoe UI Light" charset="0"/>
              </a:rPr>
              <a:t>CPU, GPU, FPGA</a:t>
            </a:r>
          </a:p>
        </p:txBody>
      </p:sp>
      <p:sp>
        <p:nvSpPr>
          <p:cNvPr id="111" name="TextBox 110"/>
          <p:cNvSpPr txBox="1"/>
          <p:nvPr/>
        </p:nvSpPr>
        <p:spPr>
          <a:xfrm>
            <a:off x="10117436" y="5309928"/>
            <a:ext cx="2195268" cy="1165759"/>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Data</a:t>
            </a:r>
          </a:p>
          <a:p>
            <a:pPr defTabSz="932597"/>
            <a:r>
              <a:rPr lang="en-US" sz="1836" dirty="0">
                <a:solidFill>
                  <a:srgbClr val="0078D7"/>
                </a:solidFill>
                <a:latin typeface="Segoe UI Light" charset="0"/>
                <a:ea typeface="Segoe UI Light" charset="0"/>
                <a:cs typeface="Segoe UI Light" charset="0"/>
              </a:rPr>
              <a:t>SQL DB, Cosmos DB, POST, MySQL</a:t>
            </a:r>
          </a:p>
        </p:txBody>
      </p:sp>
      <p:sp>
        <p:nvSpPr>
          <p:cNvPr id="112" name="TextBox 111"/>
          <p:cNvSpPr txBox="1"/>
          <p:nvPr/>
        </p:nvSpPr>
        <p:spPr>
          <a:xfrm>
            <a:off x="9454688" y="2616117"/>
            <a:ext cx="3751743"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Services</a:t>
            </a:r>
          </a:p>
          <a:p>
            <a:pPr defTabSz="932597"/>
            <a:r>
              <a:rPr lang="en-US" sz="1836" dirty="0">
                <a:solidFill>
                  <a:srgbClr val="0078D7"/>
                </a:solidFill>
                <a:latin typeface="Segoe UI Light" charset="0"/>
                <a:ea typeface="Segoe UI Light" charset="0"/>
                <a:cs typeface="Segoe UI Light" charset="0"/>
              </a:rPr>
              <a:t>Bots, Cognitive, ML</a:t>
            </a:r>
          </a:p>
        </p:txBody>
      </p:sp>
      <p:sp>
        <p:nvSpPr>
          <p:cNvPr id="97" name="Freeform 1"/>
          <p:cNvSpPr>
            <a:spLocks noChangeArrowheads="1"/>
          </p:cNvSpPr>
          <p:nvPr/>
        </p:nvSpPr>
        <p:spPr bwMode="auto">
          <a:xfrm>
            <a:off x="8726235" y="2806161"/>
            <a:ext cx="485794" cy="500289"/>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9118383" y="3181377"/>
            <a:ext cx="33846" cy="45704"/>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9015574" y="3184572"/>
            <a:ext cx="6871" cy="38087"/>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9092680" y="3184572"/>
            <a:ext cx="6871" cy="38087"/>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8962897" y="3181377"/>
            <a:ext cx="34100" cy="45704"/>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9040767" y="3181377"/>
            <a:ext cx="33082" cy="45704"/>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8855764" y="3184572"/>
            <a:ext cx="6871" cy="38087"/>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8803850" y="3181377"/>
            <a:ext cx="33591" cy="45704"/>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67"/>
          <p:cNvSpPr>
            <a:spLocks noChangeArrowheads="1"/>
          </p:cNvSpPr>
          <p:nvPr/>
        </p:nvSpPr>
        <p:spPr bwMode="auto">
          <a:xfrm>
            <a:off x="3448246" y="2447189"/>
            <a:ext cx="131024" cy="25770"/>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68"/>
          <p:cNvSpPr>
            <a:spLocks noChangeArrowheads="1"/>
          </p:cNvSpPr>
          <p:nvPr/>
        </p:nvSpPr>
        <p:spPr bwMode="auto">
          <a:xfrm>
            <a:off x="3448246" y="2523568"/>
            <a:ext cx="131024" cy="25770"/>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69"/>
          <p:cNvSpPr>
            <a:spLocks noChangeArrowheads="1"/>
          </p:cNvSpPr>
          <p:nvPr/>
        </p:nvSpPr>
        <p:spPr bwMode="auto">
          <a:xfrm>
            <a:off x="3396395" y="2600258"/>
            <a:ext cx="25770" cy="25770"/>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70"/>
          <p:cNvSpPr>
            <a:spLocks noChangeArrowheads="1"/>
          </p:cNvSpPr>
          <p:nvPr/>
        </p:nvSpPr>
        <p:spPr bwMode="auto">
          <a:xfrm>
            <a:off x="3448246" y="2600258"/>
            <a:ext cx="131024" cy="25770"/>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71"/>
          <p:cNvSpPr>
            <a:spLocks noChangeArrowheads="1"/>
          </p:cNvSpPr>
          <p:nvPr/>
        </p:nvSpPr>
        <p:spPr bwMode="auto">
          <a:xfrm>
            <a:off x="3396395" y="2523568"/>
            <a:ext cx="25770" cy="25770"/>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72"/>
          <p:cNvSpPr>
            <a:spLocks noChangeArrowheads="1"/>
          </p:cNvSpPr>
          <p:nvPr/>
        </p:nvSpPr>
        <p:spPr bwMode="auto">
          <a:xfrm>
            <a:off x="3396395" y="2447189"/>
            <a:ext cx="25770" cy="25770"/>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73"/>
          <p:cNvSpPr>
            <a:spLocks noChangeArrowheads="1"/>
          </p:cNvSpPr>
          <p:nvPr/>
        </p:nvSpPr>
        <p:spPr bwMode="auto">
          <a:xfrm>
            <a:off x="3343613" y="2370500"/>
            <a:ext cx="540241" cy="520369"/>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binary">
            <a:extLst>
              <a:ext uri="{FF2B5EF4-FFF2-40B4-BE49-F238E27FC236}">
                <a16:creationId xmlns:a16="http://schemas.microsoft.com/office/drawing/2014/main" id="{D4A82108-CFE1-4883-A3B2-CCB20A608849}"/>
              </a:ext>
            </a:extLst>
          </p:cNvPr>
          <p:cNvSpPr>
            <a:spLocks noChangeAspect="1" noEditPoints="1"/>
          </p:cNvSpPr>
          <p:nvPr/>
        </p:nvSpPr>
        <p:spPr bwMode="auto">
          <a:xfrm>
            <a:off x="9338525" y="5664123"/>
            <a:ext cx="525341" cy="4536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flat" cmpd="sng" algn="ctr">
            <a:solidFill>
              <a:schemeClr val="bg1"/>
            </a:solidFill>
            <a:prstDash val="solid"/>
            <a:headEnd type="none" w="med" len="med"/>
            <a:tailEnd type="none" w="med" len="med"/>
          </a:ln>
          <a:effectLst/>
          <a:ex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a:cs typeface="Segoe UI" pitchFamily="34" charset="0"/>
            </a:endParaRPr>
          </a:p>
        </p:txBody>
      </p:sp>
      <p:sp>
        <p:nvSpPr>
          <p:cNvPr id="57" name="Rectangle 56">
            <a:extLst>
              <a:ext uri="{FF2B5EF4-FFF2-40B4-BE49-F238E27FC236}">
                <a16:creationId xmlns:a16="http://schemas.microsoft.com/office/drawing/2014/main" id="{6BBCB851-E6EE-4C48-9545-DDAB86416409}"/>
              </a:ext>
            </a:extLst>
          </p:cNvPr>
          <p:cNvSpPr/>
          <p:nvPr/>
        </p:nvSpPr>
        <p:spPr bwMode="auto">
          <a:xfrm>
            <a:off x="2022922" y="813915"/>
            <a:ext cx="10412670"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3264" kern="0" spc="50" dirty="0">
                <a:ln w="3175">
                  <a:noFill/>
                </a:ln>
                <a:solidFill>
                  <a:srgbClr val="0089CF"/>
                </a:solidFill>
                <a:latin typeface="Segoe UI Light" panose="020B0502040204020203" pitchFamily="34" charset="0"/>
                <a:cs typeface="Segoe UI Light" panose="020B0502040204020203" pitchFamily="34" charset="0"/>
              </a:rPr>
              <a:t>Productive AI for every developer and scenario</a:t>
            </a:r>
          </a:p>
        </p:txBody>
      </p:sp>
      <p:grpSp>
        <p:nvGrpSpPr>
          <p:cNvPr id="52" name="Group 51"/>
          <p:cNvGrpSpPr/>
          <p:nvPr/>
        </p:nvGrpSpPr>
        <p:grpSpPr>
          <a:xfrm>
            <a:off x="6407031" y="3470876"/>
            <a:ext cx="1450327" cy="1450327"/>
            <a:chOff x="6281109" y="2959784"/>
            <a:chExt cx="1422018" cy="1422018"/>
          </a:xfrm>
        </p:grpSpPr>
        <p:sp>
          <p:nvSpPr>
            <p:cNvPr id="46" name="Oval 4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Rectangle 107"/>
            <p:cNvSpPr/>
            <p:nvPr/>
          </p:nvSpPr>
          <p:spPr>
            <a:xfrm>
              <a:off x="6440373" y="3400793"/>
              <a:ext cx="1117614" cy="531812"/>
            </a:xfrm>
            <a:prstGeom prst="rect">
              <a:avLst/>
            </a:prstGeom>
          </p:spPr>
          <p:txBody>
            <a:bodyPr wrap="none">
              <a:spAutoFit/>
            </a:bodyPr>
            <a:lstStyle/>
            <a:p>
              <a:pPr algn="ctr" defTabSz="932597"/>
              <a:r>
                <a:rPr lang="en-US" sz="2856" kern="0" spc="50" dirty="0">
                  <a:ln w="3175">
                    <a:noFill/>
                  </a:ln>
                  <a:solidFill>
                    <a:srgbClr val="FFFFFF"/>
                  </a:solidFill>
                  <a:latin typeface="Segoe UI Light" panose="020B0502040204020203" pitchFamily="34" charset="0"/>
                  <a:cs typeface="Segoe UI Light" panose="020B0502040204020203" pitchFamily="34" charset="0"/>
                </a:rPr>
                <a:t>Azure</a:t>
              </a:r>
              <a:endParaRPr lang="en-US" sz="2856" dirty="0">
                <a:solidFill>
                  <a:srgbClr val="FFFFFF"/>
                </a:solidFill>
                <a:latin typeface="Segoe UI"/>
              </a:endParaRPr>
            </a:p>
          </p:txBody>
        </p:sp>
      </p:grpSp>
      <p:grpSp>
        <p:nvGrpSpPr>
          <p:cNvPr id="192" name="Group 191"/>
          <p:cNvGrpSpPr/>
          <p:nvPr/>
        </p:nvGrpSpPr>
        <p:grpSpPr>
          <a:xfrm>
            <a:off x="2885888" y="5270622"/>
            <a:ext cx="482023" cy="483083"/>
            <a:chOff x="3630613" y="2355850"/>
            <a:chExt cx="2882900" cy="2889250"/>
          </a:xfrm>
          <a:solidFill>
            <a:schemeClr val="bg1"/>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Tree>
    <p:extLst>
      <p:ext uri="{BB962C8B-B14F-4D97-AF65-F5344CB8AC3E}">
        <p14:creationId xmlns:p14="http://schemas.microsoft.com/office/powerpoint/2010/main" val="1826292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36" name="Straight Connector 135"/>
          <p:cNvCxnSpPr/>
          <p:nvPr/>
        </p:nvCxnSpPr>
        <p:spPr>
          <a:xfrm>
            <a:off x="2619632" y="2403432"/>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658637"/>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2645842"/>
            <a:ext cx="624352" cy="556190"/>
          </a:xfrm>
          <a:prstGeom prst="rect">
            <a:avLst/>
          </a:prstGeom>
        </p:spPr>
      </p:pic>
      <p:sp>
        <p:nvSpPr>
          <p:cNvPr id="33" name="Rectangle 32"/>
          <p:cNvSpPr/>
          <p:nvPr/>
        </p:nvSpPr>
        <p:spPr>
          <a:xfrm>
            <a:off x="11029056" y="31589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223052"/>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3705671"/>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3810255"/>
            <a:ext cx="570289" cy="230018"/>
          </a:xfrm>
          <a:prstGeom prst="rect">
            <a:avLst/>
          </a:prstGeom>
        </p:spPr>
      </p:pic>
      <p:sp>
        <p:nvSpPr>
          <p:cNvPr id="42" name="Rectangle 41"/>
          <p:cNvSpPr/>
          <p:nvPr/>
        </p:nvSpPr>
        <p:spPr>
          <a:xfrm>
            <a:off x="4109231" y="4160279"/>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420780"/>
            <a:ext cx="540176" cy="541318"/>
          </a:xfrm>
          <a:prstGeom prst="rect">
            <a:avLst/>
          </a:prstGeom>
        </p:spPr>
      </p:pic>
      <p:sp>
        <p:nvSpPr>
          <p:cNvPr id="44" name="Rectangle 43"/>
          <p:cNvSpPr/>
          <p:nvPr/>
        </p:nvSpPr>
        <p:spPr>
          <a:xfrm>
            <a:off x="2995040" y="101795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422921"/>
            <a:ext cx="586614" cy="537038"/>
          </a:xfrm>
          <a:prstGeom prst="rect">
            <a:avLst/>
          </a:prstGeom>
        </p:spPr>
      </p:pic>
      <p:sp>
        <p:nvSpPr>
          <p:cNvPr id="47" name="Rectangle 46"/>
          <p:cNvSpPr/>
          <p:nvPr/>
        </p:nvSpPr>
        <p:spPr>
          <a:xfrm>
            <a:off x="11037005" y="101795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01795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488803"/>
            <a:ext cx="793853" cy="304393"/>
          </a:xfrm>
          <a:prstGeom prst="rect">
            <a:avLst/>
          </a:prstGeom>
        </p:spPr>
      </p:pic>
      <p:sp>
        <p:nvSpPr>
          <p:cNvPr id="51" name="Rectangle 50"/>
          <p:cNvSpPr/>
          <p:nvPr/>
        </p:nvSpPr>
        <p:spPr>
          <a:xfrm>
            <a:off x="6868725" y="193302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099187"/>
            <a:ext cx="660412" cy="216137"/>
          </a:xfrm>
          <a:prstGeom prst="rect">
            <a:avLst/>
          </a:prstGeom>
        </p:spPr>
      </p:pic>
      <p:sp>
        <p:nvSpPr>
          <p:cNvPr id="53" name="Rectangle 52"/>
          <p:cNvSpPr/>
          <p:nvPr/>
        </p:nvSpPr>
        <p:spPr>
          <a:xfrm>
            <a:off x="9039832" y="5442943"/>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442943"/>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024402"/>
            <a:ext cx="365708" cy="365707"/>
          </a:xfrm>
          <a:prstGeom prst="rect">
            <a:avLst/>
          </a:prstGeom>
        </p:spPr>
      </p:pic>
      <p:sp>
        <p:nvSpPr>
          <p:cNvPr id="56" name="Rectangle 55"/>
          <p:cNvSpPr/>
          <p:nvPr/>
        </p:nvSpPr>
        <p:spPr>
          <a:xfrm>
            <a:off x="10021857" y="5442918"/>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048907"/>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2807260"/>
            <a:ext cx="562530" cy="233357"/>
          </a:xfrm>
          <a:prstGeom prst="rect">
            <a:avLst/>
          </a:prstGeom>
          <a:noFill/>
          <a:ln>
            <a:noFill/>
          </a:ln>
        </p:spPr>
      </p:pic>
      <p:sp>
        <p:nvSpPr>
          <p:cNvPr id="59" name="Rectangle 58"/>
          <p:cNvSpPr/>
          <p:nvPr/>
        </p:nvSpPr>
        <p:spPr>
          <a:xfrm>
            <a:off x="9741950" y="3221725"/>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4984963"/>
            <a:ext cx="486587" cy="444584"/>
          </a:xfrm>
          <a:prstGeom prst="rect">
            <a:avLst/>
          </a:prstGeom>
          <a:noFill/>
          <a:ln>
            <a:noFill/>
          </a:ln>
        </p:spPr>
      </p:pic>
      <p:sp>
        <p:nvSpPr>
          <p:cNvPr id="61" name="Rectangle 60"/>
          <p:cNvSpPr/>
          <p:nvPr/>
        </p:nvSpPr>
        <p:spPr>
          <a:xfrm>
            <a:off x="11017918" y="5442943"/>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4986079"/>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44294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442917"/>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011650"/>
            <a:ext cx="564538" cy="391207"/>
          </a:xfrm>
          <a:prstGeom prst="rect">
            <a:avLst/>
          </a:prstGeom>
        </p:spPr>
      </p:pic>
      <p:sp>
        <p:nvSpPr>
          <p:cNvPr id="66" name="Rectangle 65"/>
          <p:cNvSpPr/>
          <p:nvPr/>
        </p:nvSpPr>
        <p:spPr>
          <a:xfrm>
            <a:off x="4115662" y="6377287"/>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5941388"/>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075965"/>
            <a:ext cx="437874" cy="262583"/>
          </a:xfrm>
          <a:prstGeom prst="rect">
            <a:avLst/>
          </a:prstGeom>
        </p:spPr>
      </p:pic>
      <p:sp>
        <p:nvSpPr>
          <p:cNvPr id="69" name="Rectangle 68"/>
          <p:cNvSpPr/>
          <p:nvPr/>
        </p:nvSpPr>
        <p:spPr>
          <a:xfrm>
            <a:off x="2910742" y="544294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5967191"/>
            <a:ext cx="396376" cy="348809"/>
          </a:xfrm>
          <a:prstGeom prst="rect">
            <a:avLst/>
          </a:prstGeom>
          <a:noFill/>
          <a:ln>
            <a:noFill/>
          </a:ln>
        </p:spPr>
      </p:pic>
      <p:sp>
        <p:nvSpPr>
          <p:cNvPr id="71" name="Rectangle 70"/>
          <p:cNvSpPr/>
          <p:nvPr/>
        </p:nvSpPr>
        <p:spPr>
          <a:xfrm>
            <a:off x="5074814" y="6377262"/>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2659017"/>
            <a:ext cx="529842" cy="529842"/>
          </a:xfrm>
          <a:prstGeom prst="rect">
            <a:avLst/>
          </a:prstGeom>
        </p:spPr>
      </p:pic>
      <p:sp>
        <p:nvSpPr>
          <p:cNvPr id="73" name="Rectangle 72"/>
          <p:cNvSpPr/>
          <p:nvPr/>
        </p:nvSpPr>
        <p:spPr>
          <a:xfrm>
            <a:off x="4325315" y="3255194"/>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177731"/>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2780266"/>
            <a:ext cx="580606" cy="287345"/>
          </a:xfrm>
          <a:prstGeom prst="rect">
            <a:avLst/>
          </a:prstGeom>
        </p:spPr>
      </p:pic>
      <p:sp>
        <p:nvSpPr>
          <p:cNvPr id="76" name="Rectangle 75"/>
          <p:cNvSpPr/>
          <p:nvPr/>
        </p:nvSpPr>
        <p:spPr>
          <a:xfrm>
            <a:off x="2932304" y="6382596"/>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5946704"/>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2718088"/>
            <a:ext cx="618456" cy="411701"/>
          </a:xfrm>
          <a:prstGeom prst="rect">
            <a:avLst/>
          </a:prstGeom>
        </p:spPr>
      </p:pic>
      <p:sp>
        <p:nvSpPr>
          <p:cNvPr id="79" name="Rectangle 78"/>
          <p:cNvSpPr/>
          <p:nvPr/>
        </p:nvSpPr>
        <p:spPr>
          <a:xfrm>
            <a:off x="6939692" y="32546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3701691"/>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223052"/>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377287"/>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5917742"/>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193615"/>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2728922"/>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3711086"/>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223052"/>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223051"/>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3802463"/>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442943"/>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020012"/>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372481"/>
            <a:ext cx="586614" cy="537038"/>
          </a:xfrm>
          <a:prstGeom prst="rect">
            <a:avLst/>
          </a:prstGeom>
        </p:spPr>
      </p:pic>
      <p:sp>
        <p:nvSpPr>
          <p:cNvPr id="97" name="Rectangle 96"/>
          <p:cNvSpPr/>
          <p:nvPr/>
        </p:nvSpPr>
        <p:spPr>
          <a:xfrm>
            <a:off x="2907416" y="1984471"/>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372481"/>
            <a:ext cx="586614" cy="537038"/>
          </a:xfrm>
          <a:prstGeom prst="rect">
            <a:avLst/>
          </a:prstGeom>
        </p:spPr>
      </p:pic>
      <p:sp>
        <p:nvSpPr>
          <p:cNvPr id="99" name="Rectangle 98"/>
          <p:cNvSpPr/>
          <p:nvPr/>
        </p:nvSpPr>
        <p:spPr>
          <a:xfrm>
            <a:off x="4906701" y="1984471"/>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028010"/>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377287"/>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254654"/>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2793437"/>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5918521"/>
            <a:ext cx="310561" cy="446156"/>
          </a:xfrm>
          <a:prstGeom prst="rect">
            <a:avLst/>
          </a:prstGeom>
        </p:spPr>
      </p:pic>
      <p:sp>
        <p:nvSpPr>
          <p:cNvPr id="109" name="Rectangle 108"/>
          <p:cNvSpPr/>
          <p:nvPr/>
        </p:nvSpPr>
        <p:spPr>
          <a:xfrm>
            <a:off x="10071627" y="6377288"/>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01795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377288"/>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021022"/>
            <a:ext cx="433967" cy="241155"/>
          </a:xfrm>
          <a:prstGeom prst="rect">
            <a:avLst/>
          </a:prstGeom>
        </p:spPr>
      </p:pic>
      <p:sp>
        <p:nvSpPr>
          <p:cNvPr id="114" name="Rectangle 113"/>
          <p:cNvSpPr/>
          <p:nvPr/>
        </p:nvSpPr>
        <p:spPr>
          <a:xfrm>
            <a:off x="11036396" y="6376955"/>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5943666"/>
            <a:ext cx="410746" cy="395864"/>
          </a:xfrm>
          <a:prstGeom prst="rect">
            <a:avLst/>
          </a:prstGeom>
        </p:spPr>
      </p:pic>
      <p:sp>
        <p:nvSpPr>
          <p:cNvPr id="116" name="Rectangle 115"/>
          <p:cNvSpPr/>
          <p:nvPr/>
        </p:nvSpPr>
        <p:spPr>
          <a:xfrm>
            <a:off x="7168394" y="6377288"/>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5948800"/>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488803"/>
            <a:ext cx="793853" cy="304393"/>
          </a:xfrm>
          <a:prstGeom prst="rect">
            <a:avLst/>
          </a:prstGeom>
        </p:spPr>
      </p:pic>
      <p:sp>
        <p:nvSpPr>
          <p:cNvPr id="119" name="Rectangle 118"/>
          <p:cNvSpPr/>
          <p:nvPr/>
        </p:nvSpPr>
        <p:spPr>
          <a:xfrm>
            <a:off x="8946429" y="193302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488803"/>
            <a:ext cx="793853" cy="304393"/>
          </a:xfrm>
          <a:prstGeom prst="rect">
            <a:avLst/>
          </a:prstGeom>
        </p:spPr>
      </p:pic>
      <p:sp>
        <p:nvSpPr>
          <p:cNvPr id="121" name="Rectangle 120"/>
          <p:cNvSpPr/>
          <p:nvPr/>
        </p:nvSpPr>
        <p:spPr>
          <a:xfrm>
            <a:off x="10995339" y="192659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3797282"/>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223052"/>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3802531"/>
            <a:ext cx="613073" cy="245469"/>
          </a:xfrm>
          <a:prstGeom prst="rect">
            <a:avLst/>
          </a:prstGeom>
        </p:spPr>
      </p:pic>
      <p:sp>
        <p:nvSpPr>
          <p:cNvPr id="125" name="Rectangle 124"/>
          <p:cNvSpPr/>
          <p:nvPr/>
        </p:nvSpPr>
        <p:spPr>
          <a:xfrm>
            <a:off x="6817154" y="420352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44294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4893799"/>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01795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835454"/>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057787"/>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331039"/>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409900"/>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2688502"/>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4967104"/>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4330" tIns="62165" rIns="124330" bIns="62165" numCol="1" anchor="t" anchorCtr="0" compatLnSpc="1">
            <a:prstTxWarp prst="textNoShape">
              <a:avLst/>
            </a:prstTxWarp>
          </a:bodyPr>
          <a:lstStyle/>
          <a:p>
            <a:pPr defTabSz="1243192">
              <a:defRPr/>
            </a:pPr>
            <a:endParaRPr lang="en-US" sz="2448"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5"/>
            <a:ext cx="1993125" cy="699353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977955" y="313450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273149" y="1722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344905" y="117722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191472" y="207593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500236" y="22388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777625" y="147839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341525" y="143592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906072" y="3501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208890" y="166540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303317" y="132069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66746" y="1241060"/>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772865" y="129190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62905" y="19506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310296" y="175877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177537" y="1259353"/>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19921" y="164824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587149" y="40669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20596" y="435573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18766" y="205211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938939" y="155677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281877" y="25838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532276" y="17712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631978" y="158807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273456" y="116688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734513" y="126879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559575" y="160495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559575" y="118395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194667" y="39867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095811" y="424238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541717" y="13823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55182" y="4324589"/>
            <a:ext cx="4171421" cy="2750711"/>
            <a:chOff x="824268" y="4593027"/>
            <a:chExt cx="4172012" cy="2751100"/>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98062" cy="2751100"/>
            </a:xfrm>
            <a:prstGeom prst="rect">
              <a:avLst/>
            </a:prstGeom>
            <a:noFill/>
          </p:spPr>
          <p:txBody>
            <a:bodyPr wrap="none" rtlCol="0">
              <a:spAutoFit/>
            </a:bodyPr>
            <a:lstStyle/>
            <a:p>
              <a:pPr defTabSz="932418">
                <a:defRPr/>
              </a:pPr>
              <a:r>
                <a:rPr lang="en-US" sz="16926" spc="-800" dirty="0">
                  <a:solidFill>
                    <a:srgbClr val="0078D7"/>
                  </a:solidFill>
                  <a:latin typeface="Segoe UI Light"/>
                  <a:cs typeface="Segoe UI Semilight" panose="020B0402040204020203" pitchFamily="34" charset="0"/>
                </a:rPr>
                <a:t>42</a:t>
              </a:r>
              <a:r>
                <a:rPr lang="en-US" sz="16926" spc="-800" dirty="0">
                  <a:solidFill>
                    <a:srgbClr val="0078D7"/>
                  </a:solidFill>
                  <a:latin typeface="Segoe UI Light"/>
                  <a:cs typeface="Segoe UI Semibold" panose="020B0702040204020203" pitchFamily="34" charset="0"/>
                </a:rPr>
                <a:t> </a:t>
              </a:r>
              <a:endParaRPr lang="en-US" sz="4896" spc="-800" dirty="0">
                <a:solidFill>
                  <a:srgbClr val="0078D7"/>
                </a:soli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86703" cy="1219165"/>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Azure </a:t>
              </a:r>
              <a:br>
                <a:rPr lang="en-US" sz="4488" dirty="0">
                  <a:solidFill>
                    <a:srgbClr val="0078D7"/>
                  </a:solidFill>
                  <a:latin typeface="Segoe UI Light" panose="020B0502040204020203" pitchFamily="34" charset="0"/>
                  <a:cs typeface="Segoe UI Light" panose="020B0502040204020203" pitchFamily="34" charset="0"/>
                </a:rPr>
              </a:br>
              <a:r>
                <a:rPr lang="en-US" sz="4488" dirty="0">
                  <a:solidFill>
                    <a:srgbClr val="0078D7"/>
                  </a:soli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463656" y="39682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197103" y="425706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9" name="Freeform 5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91606" y="2574304"/>
            <a:ext cx="460244" cy="449535"/>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53" name="Title 2">
            <a:extLst>
              <a:ext uri="{FF2B5EF4-FFF2-40B4-BE49-F238E27FC236}">
                <a16:creationId xmlns:a16="http://schemas.microsoft.com/office/drawing/2014/main" id="{2A2796AA-A8AA-4242-A1DE-15F8FBFBDB27}"/>
              </a:ext>
            </a:extLst>
          </p:cNvPr>
          <p:cNvSpPr txBox="1">
            <a:spLocks/>
          </p:cNvSpPr>
          <p:nvPr/>
        </p:nvSpPr>
        <p:spPr>
          <a:xfrm>
            <a:off x="8578969" y="5877317"/>
            <a:ext cx="3180331" cy="636852"/>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2244" spc="-102" dirty="0">
                <a:solidFill>
                  <a:srgbClr val="505050">
                    <a:lumMod val="60000"/>
                    <a:lumOff val="40000"/>
                  </a:srgbClr>
                </a:solidFill>
                <a:latin typeface="Segoe UI"/>
              </a:rPr>
              <a:t>Learn more: Microsoft.com/datacenter</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4FA063-8E4E-40E4-860B-852CD6B4D2E7}"/>
              </a:ext>
            </a:extLst>
          </p:cNvPr>
          <p:cNvSpPr>
            <a:spLocks noGrp="1"/>
          </p:cNvSpPr>
          <p:nvPr>
            <p:ph type="body" sz="quarter" idx="10"/>
          </p:nvPr>
        </p:nvSpPr>
        <p:spPr/>
        <p:txBody>
          <a:bodyPr/>
          <a:lstStyle/>
          <a:p>
            <a:r>
              <a:rPr lang="en-US"/>
              <a:t>Microsoft inter-datacenter backbone</a:t>
            </a:r>
          </a:p>
        </p:txBody>
      </p:sp>
      <p:grpSp>
        <p:nvGrpSpPr>
          <p:cNvPr id="2" name="Group 1"/>
          <p:cNvGrpSpPr/>
          <p:nvPr/>
        </p:nvGrpSpPr>
        <p:grpSpPr>
          <a:xfrm>
            <a:off x="292354" y="1128264"/>
            <a:ext cx="11850748" cy="5415336"/>
            <a:chOff x="291512" y="1044398"/>
            <a:chExt cx="11852429" cy="5416104"/>
          </a:xfrm>
        </p:grpSpPr>
        <p:grpSp>
          <p:nvGrpSpPr>
            <p:cNvPr id="6" name="Group 5"/>
            <p:cNvGrpSpPr/>
            <p:nvPr/>
          </p:nvGrpSpPr>
          <p:grpSpPr>
            <a:xfrm>
              <a:off x="291512" y="1044398"/>
              <a:ext cx="11730895" cy="5416104"/>
              <a:chOff x="291512" y="1044398"/>
              <a:chExt cx="11730895" cy="5416104"/>
            </a:xfrm>
          </p:grpSpPr>
          <p:pic>
            <p:nvPicPr>
              <p:cNvPr id="1051" name="Picture 1050" descr="world map"/>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1053" name="Rectangle 1052"/>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0" name="Freeform 8"/>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1" name="Freeform 5"/>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3" name="Freeform 6"/>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4" name="Freeform 7"/>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5" name="Freeform 8"/>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6" name="Freeform 9"/>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7" name="Freeform 10"/>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8" name="Freeform 11"/>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9" name="Freeform 12"/>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0" name="Freeform 13"/>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1" name="Freeform 14"/>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2" name="Freeform 15"/>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3" name="Freeform 16"/>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4" name="Freeform 17"/>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5" name="Freeform 18"/>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6" name="Freeform 19"/>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7" name="Freeform 20"/>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8" name="Freeform 21"/>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9" name="Freeform 22"/>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0" name="Freeform 23"/>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1" name="Freeform 24"/>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2" name="Freeform 25"/>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3" name="Freeform 26"/>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4" name="Freeform 27"/>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5" name="Freeform 28"/>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6" name="Freeform 29"/>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7" name="Freeform 30"/>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8" name="Freeform 31"/>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9" name="Freeform 32"/>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0" name="Freeform 33"/>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1" name="Line 34"/>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2" name="Freeform 35"/>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3" name="Freeform 36"/>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4" name="Freeform 37"/>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5" name="Freeform 38"/>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6" name="Freeform 39"/>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7" name="Freeform 40"/>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8" name="Freeform 41"/>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9" name="Line 42"/>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0" name="Freeform 43"/>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1" name="Freeform 44"/>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2" name="Freeform 45"/>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3" name="Freeform 46"/>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4" name="Freeform 47"/>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5" name="Freeform 48"/>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6" name="Freeform 49"/>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7" name="Freeform 50"/>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8" name="Freeform 51"/>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9" name="Freeform 52"/>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0" name="Freeform 53"/>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1" name="Freeform 54"/>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2" name="Freeform 55"/>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3" name="Freeform 56"/>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4" name="Freeform 57"/>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5" name="Freeform 58"/>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6" name="Freeform 59"/>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7" name="Freeform 60"/>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8" name="Freeform 61"/>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9" name="Freeform 62"/>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0" name="Freeform 63"/>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1" name="Freeform 64"/>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2" name="Freeform 65"/>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3" name="Freeform 66"/>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4" name="Freeform 67"/>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5" name="Freeform 68"/>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6" name="Freeform 69"/>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7" name="Freeform 70"/>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8" name="Freeform 71"/>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9" name="Freeform 72"/>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0" name="Freeform 73"/>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1" name="Freeform 74"/>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2" name="Freeform 75"/>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3" name="Freeform 76"/>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4" name="Freeform 77"/>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5" name="Freeform 78"/>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6" name="Freeform 79"/>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7" name="Freeform 80"/>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8" name="Freeform 81"/>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9" name="Freeform 82"/>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nvGrpSpPr>
              <p:cNvPr id="927" name="Group 926"/>
              <p:cNvGrpSpPr/>
              <p:nvPr/>
            </p:nvGrpSpPr>
            <p:grpSpPr>
              <a:xfrm>
                <a:off x="5973079" y="2748470"/>
                <a:ext cx="128016" cy="128016"/>
                <a:chOff x="1520304" y="1939550"/>
                <a:chExt cx="726812" cy="726812"/>
              </a:xfrm>
            </p:grpSpPr>
            <p:sp>
              <p:nvSpPr>
                <p:cNvPr id="928" name="Oval 92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29" name="Group 928"/>
                <p:cNvGrpSpPr/>
                <p:nvPr/>
              </p:nvGrpSpPr>
              <p:grpSpPr>
                <a:xfrm>
                  <a:off x="1627350" y="2071688"/>
                  <a:ext cx="512722" cy="462536"/>
                  <a:chOff x="1302898" y="1640683"/>
                  <a:chExt cx="1201027" cy="1083468"/>
                </a:xfrm>
              </p:grpSpPr>
              <p:sp>
                <p:nvSpPr>
                  <p:cNvPr id="93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15" name="Group 814"/>
              <p:cNvGrpSpPr/>
              <p:nvPr/>
            </p:nvGrpSpPr>
            <p:grpSpPr>
              <a:xfrm>
                <a:off x="9868710" y="3418123"/>
                <a:ext cx="128016" cy="128016"/>
                <a:chOff x="1520304" y="1939550"/>
                <a:chExt cx="726812" cy="726812"/>
              </a:xfrm>
            </p:grpSpPr>
            <p:sp>
              <p:nvSpPr>
                <p:cNvPr id="816" name="Oval 81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17" name="Group 816"/>
                <p:cNvGrpSpPr/>
                <p:nvPr/>
              </p:nvGrpSpPr>
              <p:grpSpPr>
                <a:xfrm>
                  <a:off x="1627350" y="2071688"/>
                  <a:ext cx="512722" cy="462536"/>
                  <a:chOff x="1302898" y="1640683"/>
                  <a:chExt cx="1201027" cy="1083468"/>
                </a:xfrm>
              </p:grpSpPr>
              <p:sp>
                <p:nvSpPr>
                  <p:cNvPr id="81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07" name="Group 806"/>
              <p:cNvGrpSpPr/>
              <p:nvPr/>
            </p:nvGrpSpPr>
            <p:grpSpPr>
              <a:xfrm>
                <a:off x="9771289" y="3315135"/>
                <a:ext cx="128016" cy="128016"/>
                <a:chOff x="1520304" y="1939550"/>
                <a:chExt cx="726812" cy="726812"/>
              </a:xfrm>
            </p:grpSpPr>
            <p:sp>
              <p:nvSpPr>
                <p:cNvPr id="808" name="Oval 80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09" name="Group 808"/>
                <p:cNvGrpSpPr/>
                <p:nvPr/>
              </p:nvGrpSpPr>
              <p:grpSpPr>
                <a:xfrm>
                  <a:off x="1627350" y="2071688"/>
                  <a:ext cx="512722" cy="462536"/>
                  <a:chOff x="1302898" y="1640683"/>
                  <a:chExt cx="1201027" cy="1083468"/>
                </a:xfrm>
              </p:grpSpPr>
              <p:sp>
                <p:nvSpPr>
                  <p:cNvPr id="8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3" name="Group 572"/>
              <p:cNvGrpSpPr/>
              <p:nvPr/>
            </p:nvGrpSpPr>
            <p:grpSpPr>
              <a:xfrm>
                <a:off x="3269362" y="3279968"/>
                <a:ext cx="128016" cy="128016"/>
                <a:chOff x="1520304" y="1939550"/>
                <a:chExt cx="726812" cy="726812"/>
              </a:xfrm>
            </p:grpSpPr>
            <p:sp>
              <p:nvSpPr>
                <p:cNvPr id="574" name="Oval 57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75" name="Group 574"/>
                <p:cNvGrpSpPr/>
                <p:nvPr/>
              </p:nvGrpSpPr>
              <p:grpSpPr>
                <a:xfrm>
                  <a:off x="1627350" y="2071688"/>
                  <a:ext cx="512722" cy="462536"/>
                  <a:chOff x="1302898" y="1640683"/>
                  <a:chExt cx="1201027" cy="1083468"/>
                </a:xfrm>
              </p:grpSpPr>
              <p:sp>
                <p:nvSpPr>
                  <p:cNvPr id="57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0" name="Group 569"/>
              <p:cNvGrpSpPr/>
              <p:nvPr/>
            </p:nvGrpSpPr>
            <p:grpSpPr>
              <a:xfrm>
                <a:off x="3333060" y="3373249"/>
                <a:ext cx="128016" cy="128016"/>
                <a:chOff x="6617763" y="1494678"/>
                <a:chExt cx="188006" cy="188004"/>
              </a:xfrm>
            </p:grpSpPr>
            <p:sp>
              <p:nvSpPr>
                <p:cNvPr id="571" name="Oval 57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87" name="Group 486"/>
              <p:cNvGrpSpPr/>
              <p:nvPr/>
            </p:nvGrpSpPr>
            <p:grpSpPr>
              <a:xfrm>
                <a:off x="2766086" y="3560656"/>
                <a:ext cx="128016" cy="128016"/>
                <a:chOff x="1520304" y="1939550"/>
                <a:chExt cx="726812" cy="726812"/>
              </a:xfrm>
            </p:grpSpPr>
            <p:sp>
              <p:nvSpPr>
                <p:cNvPr id="488" name="Oval 4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9" name="Group 488"/>
                <p:cNvGrpSpPr/>
                <p:nvPr/>
              </p:nvGrpSpPr>
              <p:grpSpPr>
                <a:xfrm>
                  <a:off x="1627350" y="2071688"/>
                  <a:ext cx="512722" cy="462536"/>
                  <a:chOff x="1302898" y="1640683"/>
                  <a:chExt cx="1201027" cy="1083468"/>
                </a:xfrm>
              </p:grpSpPr>
              <p:sp>
                <p:nvSpPr>
                  <p:cNvPr id="4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9" name="Group 478"/>
              <p:cNvGrpSpPr/>
              <p:nvPr/>
            </p:nvGrpSpPr>
            <p:grpSpPr>
              <a:xfrm>
                <a:off x="2720799" y="3588285"/>
                <a:ext cx="128016" cy="128016"/>
                <a:chOff x="1520304" y="1939550"/>
                <a:chExt cx="726812" cy="726812"/>
              </a:xfrm>
            </p:grpSpPr>
            <p:sp>
              <p:nvSpPr>
                <p:cNvPr id="480" name="Oval 4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1" name="Group 480"/>
                <p:cNvGrpSpPr/>
                <p:nvPr/>
              </p:nvGrpSpPr>
              <p:grpSpPr>
                <a:xfrm>
                  <a:off x="1627350" y="2071688"/>
                  <a:ext cx="512722" cy="462536"/>
                  <a:chOff x="1302898" y="1640683"/>
                  <a:chExt cx="1201027" cy="1083468"/>
                </a:xfrm>
              </p:grpSpPr>
              <p:sp>
                <p:nvSpPr>
                  <p:cNvPr id="4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37" name="Group 236"/>
              <p:cNvGrpSpPr/>
              <p:nvPr/>
            </p:nvGrpSpPr>
            <p:grpSpPr>
              <a:xfrm>
                <a:off x="3916060" y="5577983"/>
                <a:ext cx="128016" cy="128016"/>
                <a:chOff x="1520304" y="1939550"/>
                <a:chExt cx="726812" cy="726812"/>
              </a:xfrm>
            </p:grpSpPr>
            <p:sp>
              <p:nvSpPr>
                <p:cNvPr id="238" name="Oval 2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290" name="Group 289"/>
                <p:cNvGrpSpPr/>
                <p:nvPr/>
              </p:nvGrpSpPr>
              <p:grpSpPr>
                <a:xfrm>
                  <a:off x="1627350" y="2071688"/>
                  <a:ext cx="512722" cy="462536"/>
                  <a:chOff x="1302898" y="1640683"/>
                  <a:chExt cx="1201027" cy="1083468"/>
                </a:xfrm>
              </p:grpSpPr>
              <p:sp>
                <p:nvSpPr>
                  <p:cNvPr id="2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96" name="Group 295"/>
              <p:cNvGrpSpPr/>
              <p:nvPr/>
            </p:nvGrpSpPr>
            <p:grpSpPr>
              <a:xfrm>
                <a:off x="3547079" y="5948616"/>
                <a:ext cx="128016" cy="128016"/>
                <a:chOff x="6617763" y="1494678"/>
                <a:chExt cx="188006" cy="188004"/>
              </a:xfrm>
            </p:grpSpPr>
            <p:sp>
              <p:nvSpPr>
                <p:cNvPr id="297" name="Oval 29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9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9" name="Group 298"/>
              <p:cNvGrpSpPr/>
              <p:nvPr/>
            </p:nvGrpSpPr>
            <p:grpSpPr>
              <a:xfrm>
                <a:off x="4296463" y="5522724"/>
                <a:ext cx="128016" cy="128016"/>
                <a:chOff x="6617763" y="1494678"/>
                <a:chExt cx="188006" cy="188004"/>
              </a:xfrm>
            </p:grpSpPr>
            <p:sp>
              <p:nvSpPr>
                <p:cNvPr id="300" name="Oval 29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10" name="Group 309"/>
              <p:cNvGrpSpPr/>
              <p:nvPr/>
            </p:nvGrpSpPr>
            <p:grpSpPr>
              <a:xfrm>
                <a:off x="4425893" y="5507189"/>
                <a:ext cx="128016" cy="128016"/>
                <a:chOff x="6617763" y="1494678"/>
                <a:chExt cx="188006" cy="188004"/>
              </a:xfrm>
            </p:grpSpPr>
            <p:sp>
              <p:nvSpPr>
                <p:cNvPr id="327" name="Oval 3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5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52" name="Group 351"/>
              <p:cNvGrpSpPr/>
              <p:nvPr/>
            </p:nvGrpSpPr>
            <p:grpSpPr>
              <a:xfrm>
                <a:off x="4552535" y="4890648"/>
                <a:ext cx="128016" cy="128016"/>
                <a:chOff x="6617763" y="1494678"/>
                <a:chExt cx="188006" cy="188004"/>
              </a:xfrm>
            </p:grpSpPr>
            <p:sp>
              <p:nvSpPr>
                <p:cNvPr id="377" name="Oval 3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79" name="Group 378"/>
              <p:cNvGrpSpPr/>
              <p:nvPr/>
            </p:nvGrpSpPr>
            <p:grpSpPr>
              <a:xfrm>
                <a:off x="811374" y="4005550"/>
                <a:ext cx="128016" cy="128016"/>
                <a:chOff x="1520304" y="1939550"/>
                <a:chExt cx="726812" cy="726812"/>
              </a:xfrm>
            </p:grpSpPr>
            <p:sp>
              <p:nvSpPr>
                <p:cNvPr id="380" name="Oval 3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381" name="Group 380"/>
                <p:cNvGrpSpPr/>
                <p:nvPr/>
              </p:nvGrpSpPr>
              <p:grpSpPr>
                <a:xfrm>
                  <a:off x="1627350" y="2071688"/>
                  <a:ext cx="512722" cy="462536"/>
                  <a:chOff x="1302898" y="1640683"/>
                  <a:chExt cx="1201027" cy="1083468"/>
                </a:xfrm>
              </p:grpSpPr>
              <p:sp>
                <p:nvSpPr>
                  <p:cNvPr id="3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387" name="Group 386"/>
              <p:cNvGrpSpPr/>
              <p:nvPr/>
            </p:nvGrpSpPr>
            <p:grpSpPr>
              <a:xfrm>
                <a:off x="3226557" y="3874799"/>
                <a:ext cx="128016" cy="128016"/>
                <a:chOff x="1520304" y="1939550"/>
                <a:chExt cx="726812" cy="726812"/>
              </a:xfrm>
            </p:grpSpPr>
            <p:sp>
              <p:nvSpPr>
                <p:cNvPr id="388" name="Oval 3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02" name="Group 401"/>
                <p:cNvGrpSpPr/>
                <p:nvPr/>
              </p:nvGrpSpPr>
              <p:grpSpPr>
                <a:xfrm>
                  <a:off x="1627350" y="2071688"/>
                  <a:ext cx="512722" cy="462536"/>
                  <a:chOff x="1302898" y="1640683"/>
                  <a:chExt cx="1201027" cy="1083468"/>
                </a:xfrm>
              </p:grpSpPr>
              <p:sp>
                <p:nvSpPr>
                  <p:cNvPr id="40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08" name="Group 407"/>
              <p:cNvGrpSpPr/>
              <p:nvPr/>
            </p:nvGrpSpPr>
            <p:grpSpPr>
              <a:xfrm>
                <a:off x="2604858" y="4017573"/>
                <a:ext cx="128016" cy="128016"/>
                <a:chOff x="1520304" y="1939550"/>
                <a:chExt cx="726812" cy="726812"/>
              </a:xfrm>
            </p:grpSpPr>
            <p:sp>
              <p:nvSpPr>
                <p:cNvPr id="409" name="Oval 40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10" name="Group 409"/>
                <p:cNvGrpSpPr/>
                <p:nvPr/>
              </p:nvGrpSpPr>
              <p:grpSpPr>
                <a:xfrm>
                  <a:off x="1627350" y="2071688"/>
                  <a:ext cx="512722" cy="462536"/>
                  <a:chOff x="1302898" y="1640683"/>
                  <a:chExt cx="1201027" cy="1083468"/>
                </a:xfrm>
              </p:grpSpPr>
              <p:sp>
                <p:nvSpPr>
                  <p:cNvPr id="41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25" name="Group 424"/>
              <p:cNvGrpSpPr/>
              <p:nvPr/>
            </p:nvGrpSpPr>
            <p:grpSpPr>
              <a:xfrm>
                <a:off x="2509072" y="3602738"/>
                <a:ext cx="128016" cy="128016"/>
                <a:chOff x="1520304" y="1939550"/>
                <a:chExt cx="726812" cy="726812"/>
              </a:xfrm>
            </p:grpSpPr>
            <p:sp>
              <p:nvSpPr>
                <p:cNvPr id="426" name="Oval 42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27" name="Group 426"/>
                <p:cNvGrpSpPr/>
                <p:nvPr/>
              </p:nvGrpSpPr>
              <p:grpSpPr>
                <a:xfrm>
                  <a:off x="1627350" y="2071688"/>
                  <a:ext cx="512722" cy="462536"/>
                  <a:chOff x="1302898" y="1640683"/>
                  <a:chExt cx="1201027" cy="1083468"/>
                </a:xfrm>
              </p:grpSpPr>
              <p:sp>
                <p:nvSpPr>
                  <p:cNvPr id="42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2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33" name="Group 432"/>
              <p:cNvGrpSpPr/>
              <p:nvPr/>
            </p:nvGrpSpPr>
            <p:grpSpPr>
              <a:xfrm>
                <a:off x="2352690" y="3546397"/>
                <a:ext cx="128016" cy="128016"/>
                <a:chOff x="1520304" y="1939550"/>
                <a:chExt cx="726812" cy="726812"/>
              </a:xfrm>
            </p:grpSpPr>
            <p:sp>
              <p:nvSpPr>
                <p:cNvPr id="434" name="Oval 4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35" name="Group 434"/>
                <p:cNvGrpSpPr/>
                <p:nvPr/>
              </p:nvGrpSpPr>
              <p:grpSpPr>
                <a:xfrm>
                  <a:off x="1627350" y="2071688"/>
                  <a:ext cx="512722" cy="462536"/>
                  <a:chOff x="1302898" y="1640683"/>
                  <a:chExt cx="1201027" cy="1083468"/>
                </a:xfrm>
              </p:grpSpPr>
              <p:sp>
                <p:nvSpPr>
                  <p:cNvPr id="4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1" name="Group 440"/>
              <p:cNvGrpSpPr/>
              <p:nvPr/>
            </p:nvGrpSpPr>
            <p:grpSpPr>
              <a:xfrm>
                <a:off x="2201880" y="3414979"/>
                <a:ext cx="128016" cy="128016"/>
                <a:chOff x="1520304" y="1939550"/>
                <a:chExt cx="726812" cy="726812"/>
              </a:xfrm>
            </p:grpSpPr>
            <p:sp>
              <p:nvSpPr>
                <p:cNvPr id="442" name="Oval 44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43" name="Group 442"/>
                <p:cNvGrpSpPr/>
                <p:nvPr/>
              </p:nvGrpSpPr>
              <p:grpSpPr>
                <a:xfrm>
                  <a:off x="1627350" y="2071688"/>
                  <a:ext cx="512722" cy="462536"/>
                  <a:chOff x="1302898" y="1640683"/>
                  <a:chExt cx="1201027" cy="1083468"/>
                </a:xfrm>
              </p:grpSpPr>
              <p:sp>
                <p:nvSpPr>
                  <p:cNvPr id="44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9" name="Group 448"/>
              <p:cNvGrpSpPr/>
              <p:nvPr/>
            </p:nvGrpSpPr>
            <p:grpSpPr>
              <a:xfrm>
                <a:off x="2104493" y="3534947"/>
                <a:ext cx="128016" cy="128016"/>
                <a:chOff x="1520304" y="1939550"/>
                <a:chExt cx="726812" cy="726812"/>
              </a:xfrm>
            </p:grpSpPr>
            <p:sp>
              <p:nvSpPr>
                <p:cNvPr id="450" name="Oval 44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1" name="Group 450"/>
                <p:cNvGrpSpPr/>
                <p:nvPr/>
              </p:nvGrpSpPr>
              <p:grpSpPr>
                <a:xfrm>
                  <a:off x="1627350" y="2071688"/>
                  <a:ext cx="512722" cy="462536"/>
                  <a:chOff x="1302898" y="1640683"/>
                  <a:chExt cx="1201027" cy="1083468"/>
                </a:xfrm>
              </p:grpSpPr>
              <p:sp>
                <p:nvSpPr>
                  <p:cNvPr id="45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57" name="Group 456"/>
              <p:cNvGrpSpPr/>
              <p:nvPr/>
            </p:nvGrpSpPr>
            <p:grpSpPr>
              <a:xfrm>
                <a:off x="2003442" y="3338194"/>
                <a:ext cx="128016" cy="128016"/>
                <a:chOff x="1520304" y="1939550"/>
                <a:chExt cx="726812" cy="726812"/>
              </a:xfrm>
            </p:grpSpPr>
            <p:sp>
              <p:nvSpPr>
                <p:cNvPr id="458" name="Oval 45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9" name="Group 458"/>
                <p:cNvGrpSpPr/>
                <p:nvPr/>
              </p:nvGrpSpPr>
              <p:grpSpPr>
                <a:xfrm>
                  <a:off x="1627350" y="2071688"/>
                  <a:ext cx="512722" cy="462536"/>
                  <a:chOff x="1302898" y="1640683"/>
                  <a:chExt cx="1201027" cy="1083468"/>
                </a:xfrm>
              </p:grpSpPr>
              <p:sp>
                <p:nvSpPr>
                  <p:cNvPr id="46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65" name="Group 464"/>
              <p:cNvGrpSpPr/>
              <p:nvPr/>
            </p:nvGrpSpPr>
            <p:grpSpPr>
              <a:xfrm>
                <a:off x="2817464" y="3664985"/>
                <a:ext cx="128016" cy="128016"/>
                <a:chOff x="1520304" y="1939550"/>
                <a:chExt cx="726812" cy="726812"/>
              </a:xfrm>
            </p:grpSpPr>
            <p:sp>
              <p:nvSpPr>
                <p:cNvPr id="466" name="Oval 46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67" name="Group 466"/>
                <p:cNvGrpSpPr/>
                <p:nvPr/>
              </p:nvGrpSpPr>
              <p:grpSpPr>
                <a:xfrm>
                  <a:off x="1627350" y="2071688"/>
                  <a:ext cx="512722" cy="462536"/>
                  <a:chOff x="1302898" y="1640683"/>
                  <a:chExt cx="1201027" cy="1083468"/>
                </a:xfrm>
              </p:grpSpPr>
              <p:sp>
                <p:nvSpPr>
                  <p:cNvPr id="46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3" name="Group 472"/>
              <p:cNvGrpSpPr/>
              <p:nvPr/>
            </p:nvGrpSpPr>
            <p:grpSpPr>
              <a:xfrm>
                <a:off x="2732387" y="3720244"/>
                <a:ext cx="128016" cy="128016"/>
                <a:chOff x="6617763" y="1494678"/>
                <a:chExt cx="188006" cy="188004"/>
              </a:xfrm>
            </p:grpSpPr>
            <p:sp>
              <p:nvSpPr>
                <p:cNvPr id="474" name="Oval 47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76" name="Group 475"/>
              <p:cNvGrpSpPr/>
              <p:nvPr/>
            </p:nvGrpSpPr>
            <p:grpSpPr>
              <a:xfrm>
                <a:off x="2008100" y="3359241"/>
                <a:ext cx="128016" cy="128016"/>
                <a:chOff x="6617763" y="1494678"/>
                <a:chExt cx="188006" cy="188004"/>
              </a:xfrm>
            </p:grpSpPr>
            <p:sp>
              <p:nvSpPr>
                <p:cNvPr id="477" name="Oval 4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95" name="Group 494"/>
              <p:cNvGrpSpPr/>
              <p:nvPr/>
            </p:nvGrpSpPr>
            <p:grpSpPr>
              <a:xfrm>
                <a:off x="3098555" y="3597686"/>
                <a:ext cx="128016" cy="128016"/>
                <a:chOff x="1520304" y="1939550"/>
                <a:chExt cx="726812" cy="726812"/>
              </a:xfrm>
            </p:grpSpPr>
            <p:sp>
              <p:nvSpPr>
                <p:cNvPr id="496" name="Oval 49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97" name="Group 496"/>
                <p:cNvGrpSpPr/>
                <p:nvPr/>
              </p:nvGrpSpPr>
              <p:grpSpPr>
                <a:xfrm>
                  <a:off x="1627350" y="2071688"/>
                  <a:ext cx="512722" cy="462536"/>
                  <a:chOff x="1302898" y="1640683"/>
                  <a:chExt cx="1201027" cy="1083468"/>
                </a:xfrm>
              </p:grpSpPr>
              <p:sp>
                <p:nvSpPr>
                  <p:cNvPr id="49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03" name="Group 502"/>
              <p:cNvGrpSpPr/>
              <p:nvPr/>
            </p:nvGrpSpPr>
            <p:grpSpPr>
              <a:xfrm>
                <a:off x="2449931" y="3334672"/>
                <a:ext cx="128016" cy="128016"/>
                <a:chOff x="1520304" y="1939550"/>
                <a:chExt cx="726812" cy="726812"/>
              </a:xfrm>
            </p:grpSpPr>
            <p:sp>
              <p:nvSpPr>
                <p:cNvPr id="504" name="Oval 5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05" name="Group 504"/>
                <p:cNvGrpSpPr/>
                <p:nvPr/>
              </p:nvGrpSpPr>
              <p:grpSpPr>
                <a:xfrm>
                  <a:off x="1627350" y="2071688"/>
                  <a:ext cx="512722" cy="462536"/>
                  <a:chOff x="1302898" y="1640683"/>
                  <a:chExt cx="1201027" cy="1083468"/>
                </a:xfrm>
              </p:grpSpPr>
              <p:sp>
                <p:nvSpPr>
                  <p:cNvPr id="5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11" name="Group 510"/>
              <p:cNvGrpSpPr/>
              <p:nvPr/>
            </p:nvGrpSpPr>
            <p:grpSpPr>
              <a:xfrm>
                <a:off x="2452750" y="3300492"/>
                <a:ext cx="128016" cy="128016"/>
                <a:chOff x="6617763" y="1494678"/>
                <a:chExt cx="188006" cy="188004"/>
              </a:xfrm>
            </p:grpSpPr>
            <p:sp>
              <p:nvSpPr>
                <p:cNvPr id="512" name="Oval 51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1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5" name="Group 544"/>
              <p:cNvGrpSpPr/>
              <p:nvPr/>
            </p:nvGrpSpPr>
            <p:grpSpPr>
              <a:xfrm>
                <a:off x="2818125" y="3258368"/>
                <a:ext cx="128016" cy="128016"/>
                <a:chOff x="6617763" y="1494678"/>
                <a:chExt cx="188006" cy="188004"/>
              </a:xfrm>
            </p:grpSpPr>
            <p:sp>
              <p:nvSpPr>
                <p:cNvPr id="546" name="Oval 54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4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8" name="Group 547"/>
              <p:cNvGrpSpPr/>
              <p:nvPr/>
            </p:nvGrpSpPr>
            <p:grpSpPr>
              <a:xfrm>
                <a:off x="3016135" y="3243436"/>
                <a:ext cx="128016" cy="128016"/>
                <a:chOff x="1520304" y="1939550"/>
                <a:chExt cx="726812" cy="726812"/>
              </a:xfrm>
            </p:grpSpPr>
            <p:sp>
              <p:nvSpPr>
                <p:cNvPr id="549" name="Oval 54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50" name="Group 549"/>
                <p:cNvGrpSpPr/>
                <p:nvPr/>
              </p:nvGrpSpPr>
              <p:grpSpPr>
                <a:xfrm>
                  <a:off x="1627350" y="2071688"/>
                  <a:ext cx="512722" cy="462536"/>
                  <a:chOff x="1302898" y="1640683"/>
                  <a:chExt cx="1201027" cy="1083468"/>
                </a:xfrm>
              </p:grpSpPr>
              <p:sp>
                <p:nvSpPr>
                  <p:cNvPr id="55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56" name="Group 555"/>
              <p:cNvGrpSpPr/>
              <p:nvPr/>
            </p:nvGrpSpPr>
            <p:grpSpPr>
              <a:xfrm>
                <a:off x="3001301" y="3228636"/>
                <a:ext cx="128016" cy="128016"/>
                <a:chOff x="6617763" y="1494678"/>
                <a:chExt cx="188006" cy="188004"/>
              </a:xfrm>
            </p:grpSpPr>
            <p:sp>
              <p:nvSpPr>
                <p:cNvPr id="557" name="Oval 55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5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59" name="Group 558"/>
              <p:cNvGrpSpPr/>
              <p:nvPr/>
            </p:nvGrpSpPr>
            <p:grpSpPr>
              <a:xfrm>
                <a:off x="3526736" y="3231225"/>
                <a:ext cx="128016" cy="128016"/>
                <a:chOff x="1520304" y="1939550"/>
                <a:chExt cx="726812" cy="726812"/>
              </a:xfrm>
            </p:grpSpPr>
            <p:sp>
              <p:nvSpPr>
                <p:cNvPr id="560" name="Oval 5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61" name="Group 560"/>
                <p:cNvGrpSpPr/>
                <p:nvPr/>
              </p:nvGrpSpPr>
              <p:grpSpPr>
                <a:xfrm>
                  <a:off x="1627350" y="2071688"/>
                  <a:ext cx="512722" cy="462536"/>
                  <a:chOff x="1302898" y="1640683"/>
                  <a:chExt cx="1201027" cy="1083468"/>
                </a:xfrm>
              </p:grpSpPr>
              <p:sp>
                <p:nvSpPr>
                  <p:cNvPr id="5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67" name="Group 566"/>
              <p:cNvGrpSpPr/>
              <p:nvPr/>
            </p:nvGrpSpPr>
            <p:grpSpPr>
              <a:xfrm>
                <a:off x="3285210" y="3453320"/>
                <a:ext cx="128016" cy="128016"/>
                <a:chOff x="6617763" y="1494678"/>
                <a:chExt cx="188006" cy="188004"/>
              </a:xfrm>
            </p:grpSpPr>
            <p:sp>
              <p:nvSpPr>
                <p:cNvPr id="568" name="Oval 5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1" name="Group 580"/>
              <p:cNvGrpSpPr/>
              <p:nvPr/>
            </p:nvGrpSpPr>
            <p:grpSpPr>
              <a:xfrm>
                <a:off x="3339456" y="3168944"/>
                <a:ext cx="128016" cy="128016"/>
                <a:chOff x="6617763" y="1494678"/>
                <a:chExt cx="188006" cy="188004"/>
              </a:xfrm>
            </p:grpSpPr>
            <p:sp>
              <p:nvSpPr>
                <p:cNvPr id="582" name="Oval 58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8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4" name="Group 583"/>
              <p:cNvGrpSpPr/>
              <p:nvPr/>
            </p:nvGrpSpPr>
            <p:grpSpPr>
              <a:xfrm>
                <a:off x="3610618" y="3130082"/>
                <a:ext cx="128016" cy="128016"/>
                <a:chOff x="1520304" y="1939550"/>
                <a:chExt cx="726812" cy="726812"/>
              </a:xfrm>
            </p:grpSpPr>
            <p:sp>
              <p:nvSpPr>
                <p:cNvPr id="585" name="Oval 58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86" name="Group 585"/>
                <p:cNvGrpSpPr/>
                <p:nvPr/>
              </p:nvGrpSpPr>
              <p:grpSpPr>
                <a:xfrm>
                  <a:off x="1627350" y="2071688"/>
                  <a:ext cx="512722" cy="462536"/>
                  <a:chOff x="1302898" y="1640683"/>
                  <a:chExt cx="1201027" cy="1083468"/>
                </a:xfrm>
              </p:grpSpPr>
              <p:sp>
                <p:nvSpPr>
                  <p:cNvPr id="58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92" name="Group 591"/>
              <p:cNvGrpSpPr/>
              <p:nvPr/>
            </p:nvGrpSpPr>
            <p:grpSpPr>
              <a:xfrm>
                <a:off x="3515161" y="3018209"/>
                <a:ext cx="128016" cy="128016"/>
                <a:chOff x="1520304" y="1939550"/>
                <a:chExt cx="726812" cy="726812"/>
              </a:xfrm>
            </p:grpSpPr>
            <p:sp>
              <p:nvSpPr>
                <p:cNvPr id="593" name="Oval 59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94" name="Group 593"/>
                <p:cNvGrpSpPr/>
                <p:nvPr/>
              </p:nvGrpSpPr>
              <p:grpSpPr>
                <a:xfrm>
                  <a:off x="1627350" y="2071688"/>
                  <a:ext cx="512722" cy="462536"/>
                  <a:chOff x="1302898" y="1640683"/>
                  <a:chExt cx="1201027" cy="1083468"/>
                </a:xfrm>
              </p:grpSpPr>
              <p:sp>
                <p:nvSpPr>
                  <p:cNvPr id="59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00" name="Group 599"/>
              <p:cNvGrpSpPr/>
              <p:nvPr/>
            </p:nvGrpSpPr>
            <p:grpSpPr>
              <a:xfrm>
                <a:off x="3584436" y="2988961"/>
                <a:ext cx="128016" cy="128016"/>
                <a:chOff x="6617763" y="1494678"/>
                <a:chExt cx="188006" cy="188004"/>
              </a:xfrm>
            </p:grpSpPr>
            <p:sp>
              <p:nvSpPr>
                <p:cNvPr id="601" name="Oval 60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03" name="Group 602"/>
              <p:cNvGrpSpPr/>
              <p:nvPr/>
            </p:nvGrpSpPr>
            <p:grpSpPr>
              <a:xfrm>
                <a:off x="1930285" y="2970174"/>
                <a:ext cx="128016" cy="128016"/>
                <a:chOff x="1520304" y="1939550"/>
                <a:chExt cx="726812" cy="726812"/>
              </a:xfrm>
            </p:grpSpPr>
            <p:sp>
              <p:nvSpPr>
                <p:cNvPr id="604" name="Oval 6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05" name="Group 604"/>
                <p:cNvGrpSpPr/>
                <p:nvPr/>
              </p:nvGrpSpPr>
              <p:grpSpPr>
                <a:xfrm>
                  <a:off x="1627350" y="2071688"/>
                  <a:ext cx="512722" cy="462536"/>
                  <a:chOff x="1302898" y="1640683"/>
                  <a:chExt cx="1201027" cy="1083468"/>
                </a:xfrm>
              </p:grpSpPr>
              <p:sp>
                <p:nvSpPr>
                  <p:cNvPr id="6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1" name="Group 610"/>
              <p:cNvGrpSpPr/>
              <p:nvPr/>
            </p:nvGrpSpPr>
            <p:grpSpPr>
              <a:xfrm>
                <a:off x="1948343" y="2887411"/>
                <a:ext cx="128016" cy="128016"/>
                <a:chOff x="1520304" y="1939550"/>
                <a:chExt cx="726812" cy="726812"/>
              </a:xfrm>
            </p:grpSpPr>
            <p:sp>
              <p:nvSpPr>
                <p:cNvPr id="612" name="Oval 6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13" name="Group 612"/>
                <p:cNvGrpSpPr/>
                <p:nvPr/>
              </p:nvGrpSpPr>
              <p:grpSpPr>
                <a:xfrm>
                  <a:off x="1627350" y="2071688"/>
                  <a:ext cx="512722" cy="462536"/>
                  <a:chOff x="1302898" y="1640683"/>
                  <a:chExt cx="1201027" cy="1083468"/>
                </a:xfrm>
              </p:grpSpPr>
              <p:sp>
                <p:nvSpPr>
                  <p:cNvPr id="6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9" name="Group 618"/>
              <p:cNvGrpSpPr/>
              <p:nvPr/>
            </p:nvGrpSpPr>
            <p:grpSpPr>
              <a:xfrm>
                <a:off x="2060951" y="3025193"/>
                <a:ext cx="128016" cy="128016"/>
                <a:chOff x="6617763" y="1494678"/>
                <a:chExt cx="188006" cy="188004"/>
              </a:xfrm>
            </p:grpSpPr>
            <p:sp>
              <p:nvSpPr>
                <p:cNvPr id="620" name="Oval 61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2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22" name="Group 621"/>
              <p:cNvGrpSpPr/>
              <p:nvPr/>
            </p:nvGrpSpPr>
            <p:grpSpPr>
              <a:xfrm>
                <a:off x="1077597" y="2322184"/>
                <a:ext cx="128016" cy="128016"/>
                <a:chOff x="1520304" y="1939550"/>
                <a:chExt cx="726812" cy="726812"/>
              </a:xfrm>
            </p:grpSpPr>
            <p:sp>
              <p:nvSpPr>
                <p:cNvPr id="623" name="Oval 62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24" name="Group 623"/>
                <p:cNvGrpSpPr/>
                <p:nvPr/>
              </p:nvGrpSpPr>
              <p:grpSpPr>
                <a:xfrm>
                  <a:off x="1627350" y="2071688"/>
                  <a:ext cx="512722" cy="462536"/>
                  <a:chOff x="1302898" y="1640683"/>
                  <a:chExt cx="1201027" cy="1083468"/>
                </a:xfrm>
              </p:grpSpPr>
              <p:sp>
                <p:nvSpPr>
                  <p:cNvPr id="62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0" name="Group 629"/>
              <p:cNvGrpSpPr/>
              <p:nvPr/>
            </p:nvGrpSpPr>
            <p:grpSpPr>
              <a:xfrm>
                <a:off x="6371821" y="5896574"/>
                <a:ext cx="128016" cy="128016"/>
                <a:chOff x="1520304" y="1939550"/>
                <a:chExt cx="726812" cy="726812"/>
              </a:xfrm>
            </p:grpSpPr>
            <p:sp>
              <p:nvSpPr>
                <p:cNvPr id="631" name="Oval 63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32" name="Group 631"/>
                <p:cNvGrpSpPr/>
                <p:nvPr/>
              </p:nvGrpSpPr>
              <p:grpSpPr>
                <a:xfrm>
                  <a:off x="1627350" y="2071688"/>
                  <a:ext cx="512722" cy="462536"/>
                  <a:chOff x="1302898" y="1640683"/>
                  <a:chExt cx="1201027" cy="1083468"/>
                </a:xfrm>
              </p:grpSpPr>
              <p:sp>
                <p:nvSpPr>
                  <p:cNvPr id="63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8" name="Group 637"/>
              <p:cNvGrpSpPr/>
              <p:nvPr/>
            </p:nvGrpSpPr>
            <p:grpSpPr>
              <a:xfrm>
                <a:off x="6681787" y="5575010"/>
                <a:ext cx="128016" cy="128016"/>
                <a:chOff x="1520304" y="1939550"/>
                <a:chExt cx="726812" cy="726812"/>
              </a:xfrm>
            </p:grpSpPr>
            <p:sp>
              <p:nvSpPr>
                <p:cNvPr id="639" name="Oval 63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0" name="Group 639"/>
                <p:cNvGrpSpPr/>
                <p:nvPr/>
              </p:nvGrpSpPr>
              <p:grpSpPr>
                <a:xfrm>
                  <a:off x="1627350" y="2071688"/>
                  <a:ext cx="512722" cy="462536"/>
                  <a:chOff x="1302898" y="1640683"/>
                  <a:chExt cx="1201027" cy="1083468"/>
                </a:xfrm>
              </p:grpSpPr>
              <p:sp>
                <p:nvSpPr>
                  <p:cNvPr id="64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46" name="Group 645"/>
              <p:cNvGrpSpPr/>
              <p:nvPr/>
            </p:nvGrpSpPr>
            <p:grpSpPr>
              <a:xfrm>
                <a:off x="6216668" y="4937915"/>
                <a:ext cx="128016" cy="128016"/>
                <a:chOff x="1520304" y="1939550"/>
                <a:chExt cx="726812" cy="726812"/>
              </a:xfrm>
            </p:grpSpPr>
            <p:sp>
              <p:nvSpPr>
                <p:cNvPr id="647" name="Oval 64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8" name="Group 647"/>
                <p:cNvGrpSpPr/>
                <p:nvPr/>
              </p:nvGrpSpPr>
              <p:grpSpPr>
                <a:xfrm>
                  <a:off x="1627350" y="2071688"/>
                  <a:ext cx="512722" cy="462536"/>
                  <a:chOff x="1302898" y="1640683"/>
                  <a:chExt cx="1201027" cy="1083468"/>
                </a:xfrm>
              </p:grpSpPr>
              <p:sp>
                <p:nvSpPr>
                  <p:cNvPr id="64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54" name="Group 653"/>
              <p:cNvGrpSpPr/>
              <p:nvPr/>
            </p:nvGrpSpPr>
            <p:grpSpPr>
              <a:xfrm>
                <a:off x="7659205" y="3891530"/>
                <a:ext cx="128016" cy="128016"/>
                <a:chOff x="1520304" y="1939550"/>
                <a:chExt cx="726812" cy="726812"/>
              </a:xfrm>
            </p:grpSpPr>
            <p:sp>
              <p:nvSpPr>
                <p:cNvPr id="655" name="Oval 65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56" name="Group 655"/>
                <p:cNvGrpSpPr/>
                <p:nvPr/>
              </p:nvGrpSpPr>
              <p:grpSpPr>
                <a:xfrm>
                  <a:off x="1627350" y="2071688"/>
                  <a:ext cx="512722" cy="462536"/>
                  <a:chOff x="1302898" y="1640683"/>
                  <a:chExt cx="1201027" cy="1083468"/>
                </a:xfrm>
              </p:grpSpPr>
              <p:sp>
                <p:nvSpPr>
                  <p:cNvPr id="65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62" name="Group 661"/>
              <p:cNvGrpSpPr/>
              <p:nvPr/>
            </p:nvGrpSpPr>
            <p:grpSpPr>
              <a:xfrm>
                <a:off x="7574787" y="3798824"/>
                <a:ext cx="128016" cy="128016"/>
                <a:chOff x="1520304" y="1939550"/>
                <a:chExt cx="726812" cy="726812"/>
              </a:xfrm>
            </p:grpSpPr>
            <p:sp>
              <p:nvSpPr>
                <p:cNvPr id="663" name="Oval 66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64" name="Group 663"/>
                <p:cNvGrpSpPr/>
                <p:nvPr/>
              </p:nvGrpSpPr>
              <p:grpSpPr>
                <a:xfrm>
                  <a:off x="1627350" y="2071688"/>
                  <a:ext cx="512722" cy="462536"/>
                  <a:chOff x="1302898" y="1640683"/>
                  <a:chExt cx="1201027" cy="1083468"/>
                </a:xfrm>
              </p:grpSpPr>
              <p:sp>
                <p:nvSpPr>
                  <p:cNvPr id="66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0" name="Group 669"/>
              <p:cNvGrpSpPr/>
              <p:nvPr/>
            </p:nvGrpSpPr>
            <p:grpSpPr>
              <a:xfrm>
                <a:off x="7421402" y="3843003"/>
                <a:ext cx="128016" cy="128016"/>
                <a:chOff x="1520304" y="1939550"/>
                <a:chExt cx="726812" cy="726812"/>
              </a:xfrm>
            </p:grpSpPr>
            <p:sp>
              <p:nvSpPr>
                <p:cNvPr id="671" name="Oval 67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72" name="Group 671"/>
                <p:cNvGrpSpPr/>
                <p:nvPr/>
              </p:nvGrpSpPr>
              <p:grpSpPr>
                <a:xfrm>
                  <a:off x="1627350" y="2071688"/>
                  <a:ext cx="512722" cy="462536"/>
                  <a:chOff x="1302898" y="1640683"/>
                  <a:chExt cx="1201027" cy="1083468"/>
                </a:xfrm>
              </p:grpSpPr>
              <p:sp>
                <p:nvSpPr>
                  <p:cNvPr id="67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8" name="Group 677"/>
              <p:cNvGrpSpPr/>
              <p:nvPr/>
            </p:nvGrpSpPr>
            <p:grpSpPr>
              <a:xfrm>
                <a:off x="7355894" y="3752474"/>
                <a:ext cx="128016" cy="128016"/>
                <a:chOff x="1520304" y="1939550"/>
                <a:chExt cx="726812" cy="726812"/>
              </a:xfrm>
            </p:grpSpPr>
            <p:sp>
              <p:nvSpPr>
                <p:cNvPr id="679" name="Oval 67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0" name="Group 679"/>
                <p:cNvGrpSpPr/>
                <p:nvPr/>
              </p:nvGrpSpPr>
              <p:grpSpPr>
                <a:xfrm>
                  <a:off x="1627350" y="2071688"/>
                  <a:ext cx="512722" cy="462536"/>
                  <a:chOff x="1302898" y="1640683"/>
                  <a:chExt cx="1201027" cy="1083468"/>
                </a:xfrm>
              </p:grpSpPr>
              <p:sp>
                <p:nvSpPr>
                  <p:cNvPr id="68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86" name="Group 685"/>
              <p:cNvGrpSpPr/>
              <p:nvPr/>
            </p:nvGrpSpPr>
            <p:grpSpPr>
              <a:xfrm>
                <a:off x="8358732" y="4471451"/>
                <a:ext cx="128016" cy="128016"/>
                <a:chOff x="1520304" y="1939550"/>
                <a:chExt cx="726812" cy="726812"/>
              </a:xfrm>
            </p:grpSpPr>
            <p:sp>
              <p:nvSpPr>
                <p:cNvPr id="687" name="Oval 68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8" name="Group 687"/>
                <p:cNvGrpSpPr/>
                <p:nvPr/>
              </p:nvGrpSpPr>
              <p:grpSpPr>
                <a:xfrm>
                  <a:off x="1627350" y="2071688"/>
                  <a:ext cx="512722" cy="462536"/>
                  <a:chOff x="1302898" y="1640683"/>
                  <a:chExt cx="1201027" cy="1083468"/>
                </a:xfrm>
              </p:grpSpPr>
              <p:sp>
                <p:nvSpPr>
                  <p:cNvPr id="68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94" name="Group 693"/>
              <p:cNvGrpSpPr/>
              <p:nvPr/>
            </p:nvGrpSpPr>
            <p:grpSpPr>
              <a:xfrm>
                <a:off x="8279282" y="3779593"/>
                <a:ext cx="128016" cy="128016"/>
                <a:chOff x="1520304" y="1939550"/>
                <a:chExt cx="726812" cy="726812"/>
              </a:xfrm>
            </p:grpSpPr>
            <p:sp>
              <p:nvSpPr>
                <p:cNvPr id="695" name="Oval 69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96" name="Group 695"/>
                <p:cNvGrpSpPr/>
                <p:nvPr/>
              </p:nvGrpSpPr>
              <p:grpSpPr>
                <a:xfrm>
                  <a:off x="1627350" y="2071688"/>
                  <a:ext cx="512722" cy="462536"/>
                  <a:chOff x="1302898" y="1640683"/>
                  <a:chExt cx="1201027" cy="1083468"/>
                </a:xfrm>
              </p:grpSpPr>
              <p:sp>
                <p:nvSpPr>
                  <p:cNvPr id="69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02" name="Group 701"/>
              <p:cNvGrpSpPr/>
              <p:nvPr/>
            </p:nvGrpSpPr>
            <p:grpSpPr>
              <a:xfrm>
                <a:off x="8101503" y="3936536"/>
                <a:ext cx="128016" cy="128016"/>
                <a:chOff x="6617763" y="1494678"/>
                <a:chExt cx="188006" cy="188004"/>
              </a:xfrm>
            </p:grpSpPr>
            <p:sp>
              <p:nvSpPr>
                <p:cNvPr id="703" name="Oval 702"/>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4"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5" name="Group 704"/>
              <p:cNvGrpSpPr/>
              <p:nvPr/>
            </p:nvGrpSpPr>
            <p:grpSpPr>
              <a:xfrm>
                <a:off x="8139273" y="4017327"/>
                <a:ext cx="128016" cy="128016"/>
                <a:chOff x="6617763" y="1494678"/>
                <a:chExt cx="188006" cy="188004"/>
              </a:xfrm>
            </p:grpSpPr>
            <p:sp>
              <p:nvSpPr>
                <p:cNvPr id="706" name="Oval 70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8" name="Group 707"/>
              <p:cNvGrpSpPr/>
              <p:nvPr/>
            </p:nvGrpSpPr>
            <p:grpSpPr>
              <a:xfrm>
                <a:off x="8310065" y="4212589"/>
                <a:ext cx="128016" cy="128016"/>
                <a:chOff x="6617763" y="1494678"/>
                <a:chExt cx="188006" cy="188004"/>
              </a:xfrm>
            </p:grpSpPr>
            <p:sp>
              <p:nvSpPr>
                <p:cNvPr id="709" name="Oval 70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1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1" name="Group 710"/>
              <p:cNvGrpSpPr/>
              <p:nvPr/>
            </p:nvGrpSpPr>
            <p:grpSpPr>
              <a:xfrm>
                <a:off x="8965083" y="4234026"/>
                <a:ext cx="128016" cy="128016"/>
                <a:chOff x="1520304" y="1939550"/>
                <a:chExt cx="726812" cy="726812"/>
              </a:xfrm>
            </p:grpSpPr>
            <p:sp>
              <p:nvSpPr>
                <p:cNvPr id="712" name="Oval 7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13" name="Group 712"/>
                <p:cNvGrpSpPr/>
                <p:nvPr/>
              </p:nvGrpSpPr>
              <p:grpSpPr>
                <a:xfrm>
                  <a:off x="1627350" y="2071688"/>
                  <a:ext cx="512722" cy="462536"/>
                  <a:chOff x="1302898" y="1640683"/>
                  <a:chExt cx="1201027" cy="1083468"/>
                </a:xfrm>
              </p:grpSpPr>
              <p:sp>
                <p:nvSpPr>
                  <p:cNvPr id="7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19" name="Group 718"/>
              <p:cNvGrpSpPr/>
              <p:nvPr/>
            </p:nvGrpSpPr>
            <p:grpSpPr>
              <a:xfrm>
                <a:off x="8984296" y="4562653"/>
                <a:ext cx="128016" cy="128016"/>
                <a:chOff x="1520304" y="1939550"/>
                <a:chExt cx="726812" cy="726812"/>
              </a:xfrm>
            </p:grpSpPr>
            <p:sp>
              <p:nvSpPr>
                <p:cNvPr id="720" name="Oval 71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21" name="Group 720"/>
                <p:cNvGrpSpPr/>
                <p:nvPr/>
              </p:nvGrpSpPr>
              <p:grpSpPr>
                <a:xfrm>
                  <a:off x="1627350" y="2071688"/>
                  <a:ext cx="512722" cy="462536"/>
                  <a:chOff x="1302898" y="1640683"/>
                  <a:chExt cx="1201027" cy="1083468"/>
                </a:xfrm>
              </p:grpSpPr>
              <p:sp>
                <p:nvSpPr>
                  <p:cNvPr id="72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27" name="Group 726"/>
              <p:cNvGrpSpPr/>
              <p:nvPr/>
            </p:nvGrpSpPr>
            <p:grpSpPr>
              <a:xfrm>
                <a:off x="9065695" y="4625407"/>
                <a:ext cx="128016" cy="128016"/>
                <a:chOff x="6617763" y="1494678"/>
                <a:chExt cx="188006" cy="188004"/>
              </a:xfrm>
            </p:grpSpPr>
            <p:sp>
              <p:nvSpPr>
                <p:cNvPr id="728" name="Oval 72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2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0" name="Group 729"/>
              <p:cNvGrpSpPr/>
              <p:nvPr/>
            </p:nvGrpSpPr>
            <p:grpSpPr>
              <a:xfrm>
                <a:off x="9130227" y="4693233"/>
                <a:ext cx="128016" cy="128016"/>
                <a:chOff x="6617763" y="1494678"/>
                <a:chExt cx="188006" cy="188004"/>
              </a:xfrm>
            </p:grpSpPr>
            <p:sp>
              <p:nvSpPr>
                <p:cNvPr id="731" name="Oval 73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3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3" name="Group 732"/>
              <p:cNvGrpSpPr/>
              <p:nvPr/>
            </p:nvGrpSpPr>
            <p:grpSpPr>
              <a:xfrm>
                <a:off x="9461015" y="5876549"/>
                <a:ext cx="128016" cy="128016"/>
                <a:chOff x="1520304" y="1939550"/>
                <a:chExt cx="726812" cy="726812"/>
              </a:xfrm>
            </p:grpSpPr>
            <p:sp>
              <p:nvSpPr>
                <p:cNvPr id="734" name="Oval 7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35" name="Group 734"/>
                <p:cNvGrpSpPr/>
                <p:nvPr/>
              </p:nvGrpSpPr>
              <p:grpSpPr>
                <a:xfrm>
                  <a:off x="1627350" y="2071688"/>
                  <a:ext cx="512722" cy="462536"/>
                  <a:chOff x="1302898" y="1640683"/>
                  <a:chExt cx="1201027" cy="1083468"/>
                </a:xfrm>
              </p:grpSpPr>
              <p:sp>
                <p:nvSpPr>
                  <p:cNvPr id="7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4" name="Group 743"/>
              <p:cNvGrpSpPr/>
              <p:nvPr/>
            </p:nvGrpSpPr>
            <p:grpSpPr>
              <a:xfrm>
                <a:off x="10362561" y="6094415"/>
                <a:ext cx="128016" cy="128016"/>
                <a:chOff x="6617763" y="1494678"/>
                <a:chExt cx="188006" cy="188004"/>
              </a:xfrm>
            </p:grpSpPr>
            <p:sp>
              <p:nvSpPr>
                <p:cNvPr id="745" name="Oval 74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47" name="Group 746"/>
              <p:cNvGrpSpPr/>
              <p:nvPr/>
            </p:nvGrpSpPr>
            <p:grpSpPr>
              <a:xfrm>
                <a:off x="10553982" y="5958094"/>
                <a:ext cx="128016" cy="128016"/>
                <a:chOff x="1520304" y="1939550"/>
                <a:chExt cx="726812" cy="726812"/>
              </a:xfrm>
            </p:grpSpPr>
            <p:sp>
              <p:nvSpPr>
                <p:cNvPr id="748" name="Oval 74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49" name="Group 748"/>
                <p:cNvGrpSpPr/>
                <p:nvPr/>
              </p:nvGrpSpPr>
              <p:grpSpPr>
                <a:xfrm>
                  <a:off x="1627350" y="2071688"/>
                  <a:ext cx="512722" cy="462536"/>
                  <a:chOff x="1302898" y="1640683"/>
                  <a:chExt cx="1201027" cy="1083468"/>
                </a:xfrm>
              </p:grpSpPr>
              <p:sp>
                <p:nvSpPr>
                  <p:cNvPr id="75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55" name="Group 754"/>
              <p:cNvGrpSpPr/>
              <p:nvPr/>
            </p:nvGrpSpPr>
            <p:grpSpPr>
              <a:xfrm>
                <a:off x="10612354" y="5638812"/>
                <a:ext cx="128016" cy="128016"/>
                <a:chOff x="1520304" y="1939550"/>
                <a:chExt cx="726812" cy="726812"/>
              </a:xfrm>
            </p:grpSpPr>
            <p:sp>
              <p:nvSpPr>
                <p:cNvPr id="756" name="Oval 75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57" name="Group 756"/>
                <p:cNvGrpSpPr/>
                <p:nvPr/>
              </p:nvGrpSpPr>
              <p:grpSpPr>
                <a:xfrm>
                  <a:off x="1627350" y="2071688"/>
                  <a:ext cx="512722" cy="462536"/>
                  <a:chOff x="1302898" y="1640683"/>
                  <a:chExt cx="1201027" cy="1083468"/>
                </a:xfrm>
              </p:grpSpPr>
              <p:sp>
                <p:nvSpPr>
                  <p:cNvPr id="75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1" name="Group 740"/>
              <p:cNvGrpSpPr/>
              <p:nvPr/>
            </p:nvGrpSpPr>
            <p:grpSpPr>
              <a:xfrm>
                <a:off x="10543574" y="5959393"/>
                <a:ext cx="128016" cy="128016"/>
                <a:chOff x="6617763" y="1494678"/>
                <a:chExt cx="188006" cy="188004"/>
              </a:xfrm>
            </p:grpSpPr>
            <p:sp>
              <p:nvSpPr>
                <p:cNvPr id="742" name="Oval 74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63" name="Group 762"/>
              <p:cNvGrpSpPr/>
              <p:nvPr/>
            </p:nvGrpSpPr>
            <p:grpSpPr>
              <a:xfrm>
                <a:off x="11296165" y="6115852"/>
                <a:ext cx="128016" cy="128016"/>
                <a:chOff x="1520304" y="1939550"/>
                <a:chExt cx="726812" cy="726812"/>
              </a:xfrm>
            </p:grpSpPr>
            <p:sp>
              <p:nvSpPr>
                <p:cNvPr id="764" name="Oval 76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65" name="Group 764"/>
                <p:cNvGrpSpPr/>
                <p:nvPr/>
              </p:nvGrpSpPr>
              <p:grpSpPr>
                <a:xfrm>
                  <a:off x="1627350" y="2071688"/>
                  <a:ext cx="512722" cy="462536"/>
                  <a:chOff x="1302898" y="1640683"/>
                  <a:chExt cx="1201027" cy="1083468"/>
                </a:xfrm>
              </p:grpSpPr>
              <p:sp>
                <p:nvSpPr>
                  <p:cNvPr id="76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1" name="Group 770"/>
              <p:cNvGrpSpPr/>
              <p:nvPr/>
            </p:nvGrpSpPr>
            <p:grpSpPr>
              <a:xfrm>
                <a:off x="10496419" y="4324031"/>
                <a:ext cx="128016" cy="128016"/>
                <a:chOff x="1520304" y="1939550"/>
                <a:chExt cx="726812" cy="726812"/>
              </a:xfrm>
            </p:grpSpPr>
            <p:sp>
              <p:nvSpPr>
                <p:cNvPr id="772" name="Oval 77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73" name="Group 772"/>
                <p:cNvGrpSpPr/>
                <p:nvPr/>
              </p:nvGrpSpPr>
              <p:grpSpPr>
                <a:xfrm>
                  <a:off x="1627350" y="2071688"/>
                  <a:ext cx="512722" cy="462536"/>
                  <a:chOff x="1302898" y="1640683"/>
                  <a:chExt cx="1201027" cy="1083468"/>
                </a:xfrm>
              </p:grpSpPr>
              <p:sp>
                <p:nvSpPr>
                  <p:cNvPr id="77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9" name="Group 778"/>
              <p:cNvGrpSpPr/>
              <p:nvPr/>
            </p:nvGrpSpPr>
            <p:grpSpPr>
              <a:xfrm>
                <a:off x="9648041" y="3897180"/>
                <a:ext cx="128016" cy="128016"/>
                <a:chOff x="1520304" y="1939550"/>
                <a:chExt cx="726812" cy="726812"/>
              </a:xfrm>
            </p:grpSpPr>
            <p:sp>
              <p:nvSpPr>
                <p:cNvPr id="780" name="Oval 7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1" name="Group 780"/>
                <p:cNvGrpSpPr/>
                <p:nvPr/>
              </p:nvGrpSpPr>
              <p:grpSpPr>
                <a:xfrm>
                  <a:off x="1627350" y="2071688"/>
                  <a:ext cx="512722" cy="462536"/>
                  <a:chOff x="1302898" y="1640683"/>
                  <a:chExt cx="1201027" cy="1083468"/>
                </a:xfrm>
              </p:grpSpPr>
              <p:sp>
                <p:nvSpPr>
                  <p:cNvPr id="7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87" name="Group 786"/>
              <p:cNvGrpSpPr/>
              <p:nvPr/>
            </p:nvGrpSpPr>
            <p:grpSpPr>
              <a:xfrm>
                <a:off x="9621191" y="4177685"/>
                <a:ext cx="128016" cy="128016"/>
                <a:chOff x="1520304" y="1939550"/>
                <a:chExt cx="726812" cy="726812"/>
              </a:xfrm>
            </p:grpSpPr>
            <p:sp>
              <p:nvSpPr>
                <p:cNvPr id="788" name="Oval 7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9" name="Group 788"/>
                <p:cNvGrpSpPr/>
                <p:nvPr/>
              </p:nvGrpSpPr>
              <p:grpSpPr>
                <a:xfrm>
                  <a:off x="1627350" y="2071688"/>
                  <a:ext cx="512722" cy="462536"/>
                  <a:chOff x="1302898" y="1640683"/>
                  <a:chExt cx="1201027" cy="1083468"/>
                </a:xfrm>
              </p:grpSpPr>
              <p:sp>
                <p:nvSpPr>
                  <p:cNvPr id="7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95" name="Group 794"/>
              <p:cNvGrpSpPr/>
              <p:nvPr/>
            </p:nvGrpSpPr>
            <p:grpSpPr>
              <a:xfrm>
                <a:off x="9366351" y="3933416"/>
                <a:ext cx="128016" cy="128016"/>
                <a:chOff x="6617763" y="1494678"/>
                <a:chExt cx="188006" cy="188004"/>
              </a:xfrm>
            </p:grpSpPr>
            <p:sp>
              <p:nvSpPr>
                <p:cNvPr id="796" name="Oval 79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9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98" name="Group 797"/>
              <p:cNvGrpSpPr/>
              <p:nvPr/>
            </p:nvGrpSpPr>
            <p:grpSpPr>
              <a:xfrm>
                <a:off x="9594682" y="3694018"/>
                <a:ext cx="128016" cy="128016"/>
                <a:chOff x="6617763" y="1494678"/>
                <a:chExt cx="188006" cy="188004"/>
              </a:xfrm>
            </p:grpSpPr>
            <p:sp>
              <p:nvSpPr>
                <p:cNvPr id="799" name="Oval 79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1" name="Group 800"/>
              <p:cNvGrpSpPr/>
              <p:nvPr/>
            </p:nvGrpSpPr>
            <p:grpSpPr>
              <a:xfrm>
                <a:off x="9473147" y="3267533"/>
                <a:ext cx="128016" cy="128016"/>
                <a:chOff x="6617763" y="1494678"/>
                <a:chExt cx="188006" cy="188004"/>
              </a:xfrm>
            </p:grpSpPr>
            <p:sp>
              <p:nvSpPr>
                <p:cNvPr id="802" name="Oval 80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4" name="Group 803"/>
              <p:cNvGrpSpPr/>
              <p:nvPr/>
            </p:nvGrpSpPr>
            <p:grpSpPr>
              <a:xfrm>
                <a:off x="9823352" y="3384507"/>
                <a:ext cx="128016" cy="128016"/>
                <a:chOff x="6617763" y="1494678"/>
                <a:chExt cx="188006" cy="188004"/>
              </a:xfrm>
            </p:grpSpPr>
            <p:sp>
              <p:nvSpPr>
                <p:cNvPr id="805" name="Oval 8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3" name="Group 822"/>
              <p:cNvGrpSpPr/>
              <p:nvPr/>
            </p:nvGrpSpPr>
            <p:grpSpPr>
              <a:xfrm>
                <a:off x="10265037" y="3334842"/>
                <a:ext cx="128016" cy="128016"/>
                <a:chOff x="6617763" y="1494678"/>
                <a:chExt cx="188006" cy="188004"/>
              </a:xfrm>
            </p:grpSpPr>
            <p:sp>
              <p:nvSpPr>
                <p:cNvPr id="824" name="Oval 82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6" name="Group 825"/>
              <p:cNvGrpSpPr/>
              <p:nvPr/>
            </p:nvGrpSpPr>
            <p:grpSpPr>
              <a:xfrm>
                <a:off x="10179598" y="3419645"/>
                <a:ext cx="128016" cy="128016"/>
                <a:chOff x="6617763" y="1494678"/>
                <a:chExt cx="188006" cy="188004"/>
              </a:xfrm>
            </p:grpSpPr>
            <p:sp>
              <p:nvSpPr>
                <p:cNvPr id="827" name="Oval 8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9" name="Group 828"/>
              <p:cNvGrpSpPr/>
              <p:nvPr/>
            </p:nvGrpSpPr>
            <p:grpSpPr>
              <a:xfrm>
                <a:off x="6605123" y="3331723"/>
                <a:ext cx="128016" cy="128016"/>
                <a:chOff x="1520304" y="1939550"/>
                <a:chExt cx="726812" cy="726812"/>
              </a:xfrm>
            </p:grpSpPr>
            <p:sp>
              <p:nvSpPr>
                <p:cNvPr id="830" name="Oval 82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1" name="Group 830"/>
                <p:cNvGrpSpPr/>
                <p:nvPr/>
              </p:nvGrpSpPr>
              <p:grpSpPr>
                <a:xfrm>
                  <a:off x="1627350" y="2071688"/>
                  <a:ext cx="512722" cy="462536"/>
                  <a:chOff x="1302898" y="1640683"/>
                  <a:chExt cx="1201027" cy="1083468"/>
                </a:xfrm>
              </p:grpSpPr>
              <p:sp>
                <p:nvSpPr>
                  <p:cNvPr id="83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37" name="Group 836"/>
              <p:cNvGrpSpPr/>
              <p:nvPr/>
            </p:nvGrpSpPr>
            <p:grpSpPr>
              <a:xfrm>
                <a:off x="5564444" y="3318946"/>
                <a:ext cx="128016" cy="128016"/>
                <a:chOff x="1520304" y="1939550"/>
                <a:chExt cx="726812" cy="726812"/>
              </a:xfrm>
            </p:grpSpPr>
            <p:sp>
              <p:nvSpPr>
                <p:cNvPr id="838" name="Oval 8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9" name="Group 838"/>
                <p:cNvGrpSpPr/>
                <p:nvPr/>
              </p:nvGrpSpPr>
              <p:grpSpPr>
                <a:xfrm>
                  <a:off x="1627350" y="2071688"/>
                  <a:ext cx="512722" cy="462536"/>
                  <a:chOff x="1302898" y="1640683"/>
                  <a:chExt cx="1201027" cy="1083468"/>
                </a:xfrm>
              </p:grpSpPr>
              <p:sp>
                <p:nvSpPr>
                  <p:cNvPr id="84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45" name="Group 844"/>
              <p:cNvGrpSpPr/>
              <p:nvPr/>
            </p:nvGrpSpPr>
            <p:grpSpPr>
              <a:xfrm>
                <a:off x="5904090" y="3130082"/>
                <a:ext cx="128016" cy="128016"/>
                <a:chOff x="1520304" y="1939550"/>
                <a:chExt cx="726812" cy="726812"/>
              </a:xfrm>
            </p:grpSpPr>
            <p:sp>
              <p:nvSpPr>
                <p:cNvPr id="846" name="Oval 84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47" name="Group 846"/>
                <p:cNvGrpSpPr/>
                <p:nvPr/>
              </p:nvGrpSpPr>
              <p:grpSpPr>
                <a:xfrm>
                  <a:off x="1627350" y="2071688"/>
                  <a:ext cx="512722" cy="462536"/>
                  <a:chOff x="1302898" y="1640683"/>
                  <a:chExt cx="1201027" cy="1083468"/>
                </a:xfrm>
              </p:grpSpPr>
              <p:sp>
                <p:nvSpPr>
                  <p:cNvPr id="84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53" name="Group 852"/>
              <p:cNvGrpSpPr/>
              <p:nvPr/>
            </p:nvGrpSpPr>
            <p:grpSpPr>
              <a:xfrm>
                <a:off x="5618633" y="2661182"/>
                <a:ext cx="128016" cy="128016"/>
                <a:chOff x="6617763" y="1494678"/>
                <a:chExt cx="188006" cy="188004"/>
              </a:xfrm>
            </p:grpSpPr>
            <p:sp>
              <p:nvSpPr>
                <p:cNvPr id="854" name="Oval 85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5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56" name="Group 855"/>
              <p:cNvGrpSpPr/>
              <p:nvPr/>
            </p:nvGrpSpPr>
            <p:grpSpPr>
              <a:xfrm>
                <a:off x="5778040" y="2766578"/>
                <a:ext cx="128016" cy="128016"/>
                <a:chOff x="1520304" y="1939550"/>
                <a:chExt cx="726812" cy="726812"/>
              </a:xfrm>
            </p:grpSpPr>
            <p:sp>
              <p:nvSpPr>
                <p:cNvPr id="857" name="Oval 85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58" name="Group 857"/>
                <p:cNvGrpSpPr/>
                <p:nvPr/>
              </p:nvGrpSpPr>
              <p:grpSpPr>
                <a:xfrm>
                  <a:off x="1627350" y="2071688"/>
                  <a:ext cx="512722" cy="462536"/>
                  <a:chOff x="1302898" y="1640683"/>
                  <a:chExt cx="1201027" cy="1083468"/>
                </a:xfrm>
              </p:grpSpPr>
              <p:sp>
                <p:nvSpPr>
                  <p:cNvPr id="85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64" name="Group 863"/>
              <p:cNvGrpSpPr/>
              <p:nvPr/>
            </p:nvGrpSpPr>
            <p:grpSpPr>
              <a:xfrm>
                <a:off x="5842655" y="2841888"/>
                <a:ext cx="128016" cy="128016"/>
                <a:chOff x="1520304" y="1939550"/>
                <a:chExt cx="726812" cy="726812"/>
              </a:xfrm>
            </p:grpSpPr>
            <p:sp>
              <p:nvSpPr>
                <p:cNvPr id="865" name="Oval 86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66" name="Group 865"/>
                <p:cNvGrpSpPr/>
                <p:nvPr/>
              </p:nvGrpSpPr>
              <p:grpSpPr>
                <a:xfrm>
                  <a:off x="1627350" y="2071688"/>
                  <a:ext cx="512722" cy="462536"/>
                  <a:chOff x="1302898" y="1640683"/>
                  <a:chExt cx="1201027" cy="1083468"/>
                </a:xfrm>
              </p:grpSpPr>
              <p:sp>
                <p:nvSpPr>
                  <p:cNvPr id="86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72" name="Group 871"/>
              <p:cNvGrpSpPr/>
              <p:nvPr/>
            </p:nvGrpSpPr>
            <p:grpSpPr>
              <a:xfrm>
                <a:off x="6226513" y="2936918"/>
                <a:ext cx="128016" cy="128016"/>
                <a:chOff x="1520304" y="1939550"/>
                <a:chExt cx="726812" cy="726812"/>
              </a:xfrm>
            </p:grpSpPr>
            <p:sp>
              <p:nvSpPr>
                <p:cNvPr id="873" name="Oval 87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74" name="Group 873"/>
                <p:cNvGrpSpPr/>
                <p:nvPr/>
              </p:nvGrpSpPr>
              <p:grpSpPr>
                <a:xfrm>
                  <a:off x="1627350" y="2071688"/>
                  <a:ext cx="512722" cy="462536"/>
                  <a:chOff x="1302898" y="1640683"/>
                  <a:chExt cx="1201027" cy="1083468"/>
                </a:xfrm>
              </p:grpSpPr>
              <p:sp>
                <p:nvSpPr>
                  <p:cNvPr id="87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0" name="Group 879"/>
              <p:cNvGrpSpPr/>
              <p:nvPr/>
            </p:nvGrpSpPr>
            <p:grpSpPr>
              <a:xfrm>
                <a:off x="6551924" y="3147819"/>
                <a:ext cx="128016" cy="128016"/>
                <a:chOff x="1520304" y="1939550"/>
                <a:chExt cx="726812" cy="726812"/>
              </a:xfrm>
            </p:grpSpPr>
            <p:sp>
              <p:nvSpPr>
                <p:cNvPr id="881" name="Oval 88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82" name="Group 881"/>
                <p:cNvGrpSpPr/>
                <p:nvPr/>
              </p:nvGrpSpPr>
              <p:grpSpPr>
                <a:xfrm>
                  <a:off x="1627350" y="2071688"/>
                  <a:ext cx="512722" cy="462536"/>
                  <a:chOff x="1302898" y="1640683"/>
                  <a:chExt cx="1201027" cy="1083468"/>
                </a:xfrm>
              </p:grpSpPr>
              <p:sp>
                <p:nvSpPr>
                  <p:cNvPr id="88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8" name="Group 887"/>
              <p:cNvGrpSpPr/>
              <p:nvPr/>
            </p:nvGrpSpPr>
            <p:grpSpPr>
              <a:xfrm>
                <a:off x="6673148" y="3103788"/>
                <a:ext cx="128016" cy="128016"/>
                <a:chOff x="1520304" y="1939550"/>
                <a:chExt cx="726812" cy="726812"/>
              </a:xfrm>
            </p:grpSpPr>
            <p:sp>
              <p:nvSpPr>
                <p:cNvPr id="889" name="Oval 88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0" name="Group 889"/>
                <p:cNvGrpSpPr/>
                <p:nvPr/>
              </p:nvGrpSpPr>
              <p:grpSpPr>
                <a:xfrm>
                  <a:off x="1627350" y="2071688"/>
                  <a:ext cx="512722" cy="462536"/>
                  <a:chOff x="1302898" y="1640683"/>
                  <a:chExt cx="1201027" cy="1083468"/>
                </a:xfrm>
              </p:grpSpPr>
              <p:sp>
                <p:nvSpPr>
                  <p:cNvPr id="8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96" name="Group 895"/>
              <p:cNvGrpSpPr/>
              <p:nvPr/>
            </p:nvGrpSpPr>
            <p:grpSpPr>
              <a:xfrm>
                <a:off x="6367725" y="3032663"/>
                <a:ext cx="128016" cy="128016"/>
                <a:chOff x="1520304" y="1939550"/>
                <a:chExt cx="726812" cy="726812"/>
              </a:xfrm>
            </p:grpSpPr>
            <p:sp>
              <p:nvSpPr>
                <p:cNvPr id="897" name="Oval 89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8" name="Group 897"/>
                <p:cNvGrpSpPr/>
                <p:nvPr/>
              </p:nvGrpSpPr>
              <p:grpSpPr>
                <a:xfrm>
                  <a:off x="1627350" y="2071688"/>
                  <a:ext cx="512722" cy="462536"/>
                  <a:chOff x="1302898" y="1640683"/>
                  <a:chExt cx="1201027" cy="1083468"/>
                </a:xfrm>
              </p:grpSpPr>
              <p:sp>
                <p:nvSpPr>
                  <p:cNvPr id="89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4" name="Group 903"/>
              <p:cNvGrpSpPr/>
              <p:nvPr/>
            </p:nvGrpSpPr>
            <p:grpSpPr>
              <a:xfrm>
                <a:off x="6292639" y="3028402"/>
                <a:ext cx="128016" cy="128016"/>
                <a:chOff x="6617763" y="1494678"/>
                <a:chExt cx="188006" cy="188004"/>
              </a:xfrm>
            </p:grpSpPr>
            <p:sp>
              <p:nvSpPr>
                <p:cNvPr id="905" name="Oval 9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07" name="Group 906"/>
              <p:cNvGrpSpPr/>
              <p:nvPr/>
            </p:nvGrpSpPr>
            <p:grpSpPr>
              <a:xfrm>
                <a:off x="6010181" y="2870135"/>
                <a:ext cx="128016" cy="128016"/>
                <a:chOff x="6617763" y="1494678"/>
                <a:chExt cx="188006" cy="188004"/>
              </a:xfrm>
            </p:grpSpPr>
            <p:sp>
              <p:nvSpPr>
                <p:cNvPr id="908" name="Oval 90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10" name="Group 909"/>
              <p:cNvGrpSpPr/>
              <p:nvPr/>
            </p:nvGrpSpPr>
            <p:grpSpPr>
              <a:xfrm>
                <a:off x="6091578" y="2963001"/>
                <a:ext cx="128016" cy="128016"/>
                <a:chOff x="1520304" y="1939550"/>
                <a:chExt cx="726812" cy="726812"/>
              </a:xfrm>
            </p:grpSpPr>
            <p:sp>
              <p:nvSpPr>
                <p:cNvPr id="911" name="Oval 91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12" name="Group 911"/>
                <p:cNvGrpSpPr/>
                <p:nvPr/>
              </p:nvGrpSpPr>
              <p:grpSpPr>
                <a:xfrm>
                  <a:off x="1627350" y="2071688"/>
                  <a:ext cx="512722" cy="462536"/>
                  <a:chOff x="1302898" y="1640683"/>
                  <a:chExt cx="1201027" cy="1083468"/>
                </a:xfrm>
              </p:grpSpPr>
              <p:sp>
                <p:nvSpPr>
                  <p:cNvPr id="91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18" name="Group 917"/>
              <p:cNvGrpSpPr/>
              <p:nvPr/>
            </p:nvGrpSpPr>
            <p:grpSpPr>
              <a:xfrm>
                <a:off x="5958332" y="2898080"/>
                <a:ext cx="128016" cy="128016"/>
                <a:chOff x="6617763" y="1494678"/>
                <a:chExt cx="188006" cy="188004"/>
              </a:xfrm>
            </p:grpSpPr>
            <p:sp>
              <p:nvSpPr>
                <p:cNvPr id="919" name="Oval 91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1" name="Group 920"/>
              <p:cNvGrpSpPr/>
              <p:nvPr/>
            </p:nvGrpSpPr>
            <p:grpSpPr>
              <a:xfrm>
                <a:off x="5986971" y="2748043"/>
                <a:ext cx="128016" cy="128016"/>
                <a:chOff x="6617763" y="1494678"/>
                <a:chExt cx="188006" cy="188004"/>
              </a:xfrm>
            </p:grpSpPr>
            <p:sp>
              <p:nvSpPr>
                <p:cNvPr id="922" name="Oval 92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4" name="Group 923"/>
              <p:cNvGrpSpPr/>
              <p:nvPr/>
            </p:nvGrpSpPr>
            <p:grpSpPr>
              <a:xfrm>
                <a:off x="6096330" y="2824221"/>
                <a:ext cx="128016" cy="128016"/>
                <a:chOff x="6617763" y="1494678"/>
                <a:chExt cx="188006" cy="188004"/>
              </a:xfrm>
            </p:grpSpPr>
            <p:sp>
              <p:nvSpPr>
                <p:cNvPr id="925" name="Oval 92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35" name="Group 934"/>
              <p:cNvGrpSpPr/>
              <p:nvPr/>
            </p:nvGrpSpPr>
            <p:grpSpPr>
              <a:xfrm>
                <a:off x="6482260" y="2850537"/>
                <a:ext cx="128016" cy="128016"/>
                <a:chOff x="1520304" y="1939550"/>
                <a:chExt cx="726812" cy="726812"/>
              </a:xfrm>
            </p:grpSpPr>
            <p:sp>
              <p:nvSpPr>
                <p:cNvPr id="936" name="Oval 93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37" name="Group 936"/>
                <p:cNvGrpSpPr/>
                <p:nvPr/>
              </p:nvGrpSpPr>
              <p:grpSpPr>
                <a:xfrm>
                  <a:off x="1627350" y="2071688"/>
                  <a:ext cx="512722" cy="462536"/>
                  <a:chOff x="1302898" y="1640683"/>
                  <a:chExt cx="1201027" cy="1083468"/>
                </a:xfrm>
              </p:grpSpPr>
              <p:sp>
                <p:nvSpPr>
                  <p:cNvPr id="93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43" name="Group 942"/>
              <p:cNvGrpSpPr/>
              <p:nvPr/>
            </p:nvGrpSpPr>
            <p:grpSpPr>
              <a:xfrm>
                <a:off x="7015873" y="2597882"/>
                <a:ext cx="128016" cy="128016"/>
                <a:chOff x="1520304" y="1939550"/>
                <a:chExt cx="726812" cy="726812"/>
              </a:xfrm>
            </p:grpSpPr>
            <p:sp>
              <p:nvSpPr>
                <p:cNvPr id="944" name="Oval 94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45" name="Group 944"/>
                <p:cNvGrpSpPr/>
                <p:nvPr/>
              </p:nvGrpSpPr>
              <p:grpSpPr>
                <a:xfrm>
                  <a:off x="1627350" y="2071688"/>
                  <a:ext cx="512722" cy="462536"/>
                  <a:chOff x="1302898" y="1640683"/>
                  <a:chExt cx="1201027" cy="1083468"/>
                </a:xfrm>
              </p:grpSpPr>
              <p:sp>
                <p:nvSpPr>
                  <p:cNvPr id="94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1" name="Group 950"/>
              <p:cNvGrpSpPr/>
              <p:nvPr/>
            </p:nvGrpSpPr>
            <p:grpSpPr>
              <a:xfrm>
                <a:off x="6346150" y="2427402"/>
                <a:ext cx="128016" cy="128016"/>
                <a:chOff x="1520304" y="1939550"/>
                <a:chExt cx="726812" cy="726812"/>
              </a:xfrm>
            </p:grpSpPr>
            <p:sp>
              <p:nvSpPr>
                <p:cNvPr id="952" name="Oval 95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53" name="Group 952"/>
                <p:cNvGrpSpPr/>
                <p:nvPr/>
              </p:nvGrpSpPr>
              <p:grpSpPr>
                <a:xfrm>
                  <a:off x="1627350" y="2071688"/>
                  <a:ext cx="512722" cy="462536"/>
                  <a:chOff x="1302898" y="1640683"/>
                  <a:chExt cx="1201027" cy="1083468"/>
                </a:xfrm>
              </p:grpSpPr>
              <p:sp>
                <p:nvSpPr>
                  <p:cNvPr id="95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9" name="Group 958"/>
              <p:cNvGrpSpPr/>
              <p:nvPr/>
            </p:nvGrpSpPr>
            <p:grpSpPr>
              <a:xfrm>
                <a:off x="6659729" y="2289622"/>
                <a:ext cx="128016" cy="128016"/>
                <a:chOff x="1520304" y="1939550"/>
                <a:chExt cx="726812" cy="726812"/>
              </a:xfrm>
            </p:grpSpPr>
            <p:sp>
              <p:nvSpPr>
                <p:cNvPr id="960" name="Oval 9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61" name="Group 960"/>
                <p:cNvGrpSpPr/>
                <p:nvPr/>
              </p:nvGrpSpPr>
              <p:grpSpPr>
                <a:xfrm>
                  <a:off x="1627350" y="2071688"/>
                  <a:ext cx="512722" cy="462536"/>
                  <a:chOff x="1302898" y="1640683"/>
                  <a:chExt cx="1201027" cy="1083468"/>
                </a:xfrm>
              </p:grpSpPr>
              <p:sp>
                <p:nvSpPr>
                  <p:cNvPr id="9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67" name="Group 966"/>
              <p:cNvGrpSpPr/>
              <p:nvPr/>
            </p:nvGrpSpPr>
            <p:grpSpPr>
              <a:xfrm>
                <a:off x="6649052" y="2290435"/>
                <a:ext cx="128016" cy="128016"/>
                <a:chOff x="6617763" y="1494678"/>
                <a:chExt cx="188006" cy="188004"/>
              </a:xfrm>
            </p:grpSpPr>
            <p:sp>
              <p:nvSpPr>
                <p:cNvPr id="968" name="Oval 9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Freeform: Shape 9"/>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1" name="Freeform: Shape 10"/>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5" name="Rectangle 4"/>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2" name="Rectangle 1051"/>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anada</a:t>
                </a:r>
                <a:endParaRPr lang="en-US" sz="700">
                  <a:solidFill>
                    <a:srgbClr val="353535"/>
                  </a:solidFill>
                  <a:latin typeface="Segoe UI Semilight"/>
                </a:endParaRPr>
              </a:p>
            </p:txBody>
          </p:sp>
          <p:sp>
            <p:nvSpPr>
              <p:cNvPr id="1054" name="Rectangle 1053"/>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exico</a:t>
                </a:r>
                <a:endParaRPr lang="en-US" sz="700">
                  <a:solidFill>
                    <a:srgbClr val="353535"/>
                  </a:solidFill>
                  <a:latin typeface="Segoe UI Semilight"/>
                </a:endParaRPr>
              </a:p>
            </p:txBody>
          </p:sp>
          <p:sp>
            <p:nvSpPr>
              <p:cNvPr id="1055" name="Rectangle 1054"/>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Venezuela</a:t>
                </a:r>
                <a:endParaRPr lang="en-US" sz="700">
                  <a:solidFill>
                    <a:srgbClr val="353535"/>
                  </a:solidFill>
                  <a:latin typeface="Segoe UI Semilight"/>
                </a:endParaRPr>
              </a:p>
            </p:txBody>
          </p:sp>
          <p:sp>
            <p:nvSpPr>
              <p:cNvPr id="1056" name="Rectangle 1055"/>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olombia</a:t>
                </a:r>
                <a:endParaRPr lang="en-US" sz="700">
                  <a:solidFill>
                    <a:srgbClr val="353535"/>
                  </a:solidFill>
                  <a:latin typeface="Segoe UI Semilight"/>
                </a:endParaRPr>
              </a:p>
            </p:txBody>
          </p:sp>
          <p:sp>
            <p:nvSpPr>
              <p:cNvPr id="1057" name="Rectangle 1056"/>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eru</a:t>
                </a:r>
                <a:endParaRPr lang="en-US" sz="700">
                  <a:solidFill>
                    <a:srgbClr val="353535"/>
                  </a:solidFill>
                  <a:latin typeface="Segoe UI Semilight"/>
                </a:endParaRPr>
              </a:p>
            </p:txBody>
          </p:sp>
          <p:sp>
            <p:nvSpPr>
              <p:cNvPr id="1058" name="Rectangle 1057"/>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olivia</a:t>
                </a:r>
                <a:endParaRPr lang="en-US" sz="700">
                  <a:solidFill>
                    <a:srgbClr val="353535"/>
                  </a:solidFill>
                  <a:latin typeface="Segoe UI Semilight"/>
                </a:endParaRPr>
              </a:p>
            </p:txBody>
          </p:sp>
          <p:sp>
            <p:nvSpPr>
              <p:cNvPr id="1059" name="Rectangle 1058"/>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razil</a:t>
                </a:r>
                <a:endParaRPr lang="en-US" sz="700">
                  <a:solidFill>
                    <a:srgbClr val="353535"/>
                  </a:solidFill>
                  <a:latin typeface="Segoe UI Semilight"/>
                </a:endParaRPr>
              </a:p>
            </p:txBody>
          </p:sp>
          <p:sp>
            <p:nvSpPr>
              <p:cNvPr id="1060" name="Rectangle 1059"/>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rgentina</a:t>
                </a:r>
                <a:endParaRPr lang="en-US" sz="700">
                  <a:solidFill>
                    <a:srgbClr val="353535"/>
                  </a:solidFill>
                  <a:latin typeface="Segoe UI Semilight"/>
                </a:endParaRPr>
              </a:p>
            </p:txBody>
          </p:sp>
          <p:sp>
            <p:nvSpPr>
              <p:cNvPr id="1061" name="Rectangle 1060"/>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tlanta Ocean</a:t>
                </a:r>
                <a:endParaRPr lang="en-US" sz="700">
                  <a:solidFill>
                    <a:srgbClr val="353535"/>
                  </a:solidFill>
                  <a:latin typeface="Segoe UI Semilight"/>
                </a:endParaRPr>
              </a:p>
            </p:txBody>
          </p:sp>
          <p:sp>
            <p:nvSpPr>
              <p:cNvPr id="1062" name="Rectangle 1061"/>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lgeria</a:t>
                </a:r>
                <a:endParaRPr lang="en-US" sz="700">
                  <a:solidFill>
                    <a:srgbClr val="353535"/>
                  </a:solidFill>
                  <a:latin typeface="Segoe UI Semilight"/>
                </a:endParaRPr>
              </a:p>
            </p:txBody>
          </p:sp>
          <p:sp>
            <p:nvSpPr>
              <p:cNvPr id="1063" name="Rectangle 1062"/>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ali</a:t>
                </a:r>
                <a:endParaRPr lang="en-US" sz="700">
                  <a:solidFill>
                    <a:srgbClr val="353535"/>
                  </a:solidFill>
                  <a:latin typeface="Segoe UI Semilight"/>
                </a:endParaRPr>
              </a:p>
            </p:txBody>
          </p:sp>
          <p:sp>
            <p:nvSpPr>
              <p:cNvPr id="1064" name="Rectangle 1063"/>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a:t>
                </a:r>
                <a:endParaRPr lang="en-US" sz="700">
                  <a:solidFill>
                    <a:srgbClr val="353535"/>
                  </a:solidFill>
                  <a:latin typeface="Segoe UI Semilight"/>
                </a:endParaRPr>
              </a:p>
            </p:txBody>
          </p:sp>
          <p:sp>
            <p:nvSpPr>
              <p:cNvPr id="1065" name="Rectangle 1064"/>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ia</a:t>
                </a:r>
                <a:endParaRPr lang="en-US" sz="700">
                  <a:solidFill>
                    <a:srgbClr val="353535"/>
                  </a:solidFill>
                  <a:latin typeface="Segoe UI Semilight"/>
                </a:endParaRPr>
              </a:p>
            </p:txBody>
          </p:sp>
          <p:sp>
            <p:nvSpPr>
              <p:cNvPr id="1066" name="Rectangle 1065"/>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ad</a:t>
                </a:r>
                <a:endParaRPr lang="en-US" sz="700">
                  <a:solidFill>
                    <a:srgbClr val="353535"/>
                  </a:solidFill>
                  <a:latin typeface="Segoe UI Semilight"/>
                </a:endParaRPr>
              </a:p>
            </p:txBody>
          </p:sp>
          <p:sp>
            <p:nvSpPr>
              <p:cNvPr id="1067" name="Rectangle 1066"/>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Libya</a:t>
                </a:r>
                <a:endParaRPr lang="en-US" sz="700">
                  <a:solidFill>
                    <a:srgbClr val="353535"/>
                  </a:solidFill>
                  <a:latin typeface="Segoe UI Semilight"/>
                </a:endParaRPr>
              </a:p>
            </p:txBody>
          </p:sp>
          <p:sp>
            <p:nvSpPr>
              <p:cNvPr id="1068" name="Rectangle 1067"/>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gypt</a:t>
                </a:r>
                <a:endParaRPr lang="en-US" sz="700">
                  <a:solidFill>
                    <a:srgbClr val="353535"/>
                  </a:solidFill>
                  <a:latin typeface="Segoe UI Semilight"/>
                </a:endParaRPr>
              </a:p>
            </p:txBody>
          </p:sp>
          <p:sp>
            <p:nvSpPr>
              <p:cNvPr id="1069" name="Rectangle 1068"/>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udan</a:t>
                </a:r>
                <a:endParaRPr lang="en-US" sz="700">
                  <a:solidFill>
                    <a:srgbClr val="353535"/>
                  </a:solidFill>
                  <a:latin typeface="Segoe UI Semilight"/>
                </a:endParaRPr>
              </a:p>
            </p:txBody>
          </p:sp>
          <p:sp>
            <p:nvSpPr>
              <p:cNvPr id="1070" name="Rectangle 1069"/>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thiopia</a:t>
                </a:r>
                <a:endParaRPr lang="en-US" sz="700">
                  <a:solidFill>
                    <a:srgbClr val="353535"/>
                  </a:solidFill>
                  <a:latin typeface="Segoe UI Semilight"/>
                </a:endParaRPr>
              </a:p>
            </p:txBody>
          </p:sp>
          <p:sp>
            <p:nvSpPr>
              <p:cNvPr id="1071" name="Rectangle 1070"/>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Dr Congo</a:t>
                </a:r>
                <a:endParaRPr lang="en-US" sz="700">
                  <a:solidFill>
                    <a:srgbClr val="353535"/>
                  </a:solidFill>
                  <a:latin typeface="Segoe UI Semilight"/>
                </a:endParaRPr>
              </a:p>
            </p:txBody>
          </p:sp>
          <p:sp>
            <p:nvSpPr>
              <p:cNvPr id="1072" name="Rectangle 1071"/>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ngola</a:t>
                </a:r>
                <a:endParaRPr lang="en-US" sz="700">
                  <a:solidFill>
                    <a:srgbClr val="353535"/>
                  </a:solidFill>
                  <a:latin typeface="Segoe UI Semilight"/>
                </a:endParaRPr>
              </a:p>
            </p:txBody>
          </p:sp>
          <p:sp>
            <p:nvSpPr>
              <p:cNvPr id="1073" name="Rectangle 1072"/>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Zambia</a:t>
                </a:r>
                <a:endParaRPr lang="en-US" sz="700">
                  <a:solidFill>
                    <a:srgbClr val="353535"/>
                  </a:solidFill>
                  <a:latin typeface="Segoe UI Semilight"/>
                </a:endParaRPr>
              </a:p>
            </p:txBody>
          </p:sp>
          <p:sp>
            <p:nvSpPr>
              <p:cNvPr id="1074" name="Rectangle 1073"/>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Nambia</a:t>
                </a:r>
                <a:endParaRPr lang="en-US" sz="700">
                  <a:solidFill>
                    <a:srgbClr val="353535"/>
                  </a:solidFill>
                  <a:latin typeface="Segoe UI Semilight"/>
                </a:endParaRPr>
              </a:p>
            </p:txBody>
          </p:sp>
          <p:sp>
            <p:nvSpPr>
              <p:cNvPr id="1075" name="Rectangle 1074"/>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outh Africa</a:t>
                </a:r>
                <a:endParaRPr lang="en-US" sz="700">
                  <a:solidFill>
                    <a:srgbClr val="353535"/>
                  </a:solidFill>
                  <a:latin typeface="Segoe UI Semilight"/>
                </a:endParaRPr>
              </a:p>
            </p:txBody>
          </p:sp>
          <p:sp>
            <p:nvSpPr>
              <p:cNvPr id="1076" name="Rectangle 1075"/>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Greenland</a:t>
                </a:r>
                <a:endParaRPr lang="en-US" sz="700">
                  <a:solidFill>
                    <a:srgbClr val="353535"/>
                  </a:solidFill>
                  <a:latin typeface="Segoe UI Semilight"/>
                </a:endParaRPr>
              </a:p>
            </p:txBody>
          </p:sp>
          <p:sp>
            <p:nvSpPr>
              <p:cNvPr id="1077" name="Rectangle 1076"/>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valbard</a:t>
                </a:r>
                <a:endParaRPr lang="en-US" sz="700">
                  <a:solidFill>
                    <a:srgbClr val="353535"/>
                  </a:solidFill>
                  <a:latin typeface="Segoe UI Semilight"/>
                </a:endParaRPr>
              </a:p>
            </p:txBody>
          </p:sp>
          <p:sp>
            <p:nvSpPr>
              <p:cNvPr id="1078" name="Rectangle 1077"/>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weden </a:t>
                </a:r>
                <a:endParaRPr lang="en-US" sz="700">
                  <a:solidFill>
                    <a:srgbClr val="353535"/>
                  </a:solidFill>
                  <a:latin typeface="Segoe UI Semilight"/>
                </a:endParaRPr>
              </a:p>
            </p:txBody>
          </p:sp>
          <p:sp>
            <p:nvSpPr>
              <p:cNvPr id="1079" name="Rectangle 1078"/>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orway</a:t>
                </a:r>
                <a:endParaRPr lang="en-US" sz="700">
                  <a:solidFill>
                    <a:srgbClr val="353535"/>
                  </a:solidFill>
                  <a:latin typeface="Segoe UI Semilight"/>
                </a:endParaRPr>
              </a:p>
            </p:txBody>
          </p:sp>
          <p:sp>
            <p:nvSpPr>
              <p:cNvPr id="1080" name="Rectangle 1079"/>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Kingdom</a:t>
                </a:r>
                <a:endParaRPr lang="en-US" sz="700">
                  <a:solidFill>
                    <a:srgbClr val="353535"/>
                  </a:solidFill>
                  <a:latin typeface="Segoe UI Semilight"/>
                </a:endParaRPr>
              </a:p>
            </p:txBody>
          </p:sp>
          <p:sp>
            <p:nvSpPr>
              <p:cNvPr id="1089" name="Rectangle 1088"/>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France</a:t>
                </a:r>
                <a:endParaRPr lang="en-US" sz="700">
                  <a:solidFill>
                    <a:srgbClr val="353535"/>
                  </a:solidFill>
                  <a:latin typeface="Segoe UI Semilight"/>
                </a:endParaRPr>
              </a:p>
            </p:txBody>
          </p:sp>
          <p:sp>
            <p:nvSpPr>
              <p:cNvPr id="1090" name="Rectangle 1089"/>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oland</a:t>
                </a:r>
                <a:endParaRPr lang="en-US" sz="700">
                  <a:solidFill>
                    <a:srgbClr val="353535"/>
                  </a:solidFill>
                  <a:latin typeface="Segoe UI Semilight"/>
                </a:endParaRPr>
              </a:p>
            </p:txBody>
          </p:sp>
          <p:sp>
            <p:nvSpPr>
              <p:cNvPr id="1091" name="Rectangle 1090"/>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kraine</a:t>
                </a:r>
                <a:endParaRPr lang="en-US" sz="700">
                  <a:solidFill>
                    <a:srgbClr val="353535"/>
                  </a:solidFill>
                  <a:latin typeface="Segoe UI Semilight"/>
                </a:endParaRPr>
              </a:p>
            </p:txBody>
          </p:sp>
          <p:sp>
            <p:nvSpPr>
              <p:cNvPr id="1092" name="Rectangle 1091"/>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Turkey</a:t>
                </a:r>
                <a:endParaRPr lang="en-US" sz="700">
                  <a:solidFill>
                    <a:srgbClr val="353535"/>
                  </a:solidFill>
                  <a:latin typeface="Segoe UI Semilight"/>
                </a:endParaRPr>
              </a:p>
            </p:txBody>
          </p:sp>
          <p:sp>
            <p:nvSpPr>
              <p:cNvPr id="1093" name="Rectangle 1092"/>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audi </a:t>
                </a:r>
                <a:br>
                  <a:rPr lang="en-GB" sz="700">
                    <a:solidFill>
                      <a:srgbClr val="353535"/>
                    </a:solidFill>
                    <a:latin typeface="Segoe UI Semilight"/>
                  </a:rPr>
                </a:br>
                <a:r>
                  <a:rPr lang="en-GB" sz="700">
                    <a:solidFill>
                      <a:srgbClr val="353535"/>
                    </a:solidFill>
                    <a:latin typeface="Segoe UI Semilight"/>
                  </a:rPr>
                  <a:t>Arabia</a:t>
                </a:r>
                <a:endParaRPr lang="en-US" sz="700">
                  <a:solidFill>
                    <a:srgbClr val="353535"/>
                  </a:solidFill>
                  <a:latin typeface="Segoe UI Semilight"/>
                </a:endParaRPr>
              </a:p>
            </p:txBody>
          </p:sp>
          <p:sp>
            <p:nvSpPr>
              <p:cNvPr id="1094" name="Rectangle 1093"/>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ran</a:t>
                </a:r>
                <a:endParaRPr lang="en-US" sz="700">
                  <a:solidFill>
                    <a:srgbClr val="353535"/>
                  </a:solidFill>
                  <a:latin typeface="Segoe UI Semilight"/>
                </a:endParaRPr>
              </a:p>
            </p:txBody>
          </p:sp>
          <p:sp>
            <p:nvSpPr>
              <p:cNvPr id="1095" name="Rectangle 1094"/>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Kazakistan</a:t>
                </a:r>
                <a:endParaRPr lang="en-US" sz="700">
                  <a:solidFill>
                    <a:srgbClr val="353535"/>
                  </a:solidFill>
                  <a:latin typeface="Segoe UI Semilight"/>
                </a:endParaRPr>
              </a:p>
            </p:txBody>
          </p:sp>
          <p:sp>
            <p:nvSpPr>
              <p:cNvPr id="1097" name="Rectangle 1096"/>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a:t>
                </a:r>
                <a:endParaRPr lang="en-US" sz="700">
                  <a:solidFill>
                    <a:srgbClr val="353535"/>
                  </a:solidFill>
                  <a:latin typeface="Segoe UI Semilight"/>
                </a:endParaRPr>
              </a:p>
            </p:txBody>
          </p:sp>
          <p:sp>
            <p:nvSpPr>
              <p:cNvPr id="1098" name="Rectangle 1097"/>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099" name="Rectangle 1098"/>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101" name="Rectangle 1100"/>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ina</a:t>
                </a:r>
                <a:endParaRPr lang="en-US" sz="700">
                  <a:solidFill>
                    <a:srgbClr val="353535"/>
                  </a:solidFill>
                  <a:latin typeface="Segoe UI Semilight"/>
                </a:endParaRPr>
              </a:p>
            </p:txBody>
          </p:sp>
          <p:sp>
            <p:nvSpPr>
              <p:cNvPr id="1103" name="Rectangle 1102"/>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yanmar</a:t>
                </a:r>
                <a:br>
                  <a:rPr lang="en-GB" sz="700">
                    <a:solidFill>
                      <a:srgbClr val="353535"/>
                    </a:solidFill>
                    <a:latin typeface="Segoe UI Semilight"/>
                  </a:rPr>
                </a:br>
                <a:r>
                  <a:rPr lang="en-GB" sz="700">
                    <a:solidFill>
                      <a:srgbClr val="353535"/>
                    </a:solidFill>
                    <a:latin typeface="Segoe UI Semilight"/>
                  </a:rPr>
                  <a:t>(Burma)</a:t>
                </a:r>
                <a:endParaRPr lang="en-US" sz="700">
                  <a:solidFill>
                    <a:srgbClr val="353535"/>
                  </a:solidFill>
                  <a:latin typeface="Segoe UI Semilight"/>
                </a:endParaRPr>
              </a:p>
            </p:txBody>
          </p:sp>
          <p:sp>
            <p:nvSpPr>
              <p:cNvPr id="1104" name="Rectangle 1103"/>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n Ocean</a:t>
                </a:r>
                <a:endParaRPr lang="en-US" sz="700">
                  <a:solidFill>
                    <a:srgbClr val="353535"/>
                  </a:solidFill>
                  <a:latin typeface="Segoe UI Semilight"/>
                </a:endParaRPr>
              </a:p>
            </p:txBody>
          </p:sp>
          <p:sp>
            <p:nvSpPr>
              <p:cNvPr id="1106" name="Rectangle 1105"/>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onesia</a:t>
                </a:r>
                <a:endParaRPr lang="en-US" sz="700">
                  <a:solidFill>
                    <a:srgbClr val="353535"/>
                  </a:solidFill>
                  <a:latin typeface="Segoe UI Semilight"/>
                </a:endParaRPr>
              </a:p>
            </p:txBody>
          </p:sp>
          <p:sp>
            <p:nvSpPr>
              <p:cNvPr id="1107" name="Rectangle 1106"/>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ustralia</a:t>
                </a:r>
                <a:endParaRPr lang="en-US" sz="700">
                  <a:solidFill>
                    <a:srgbClr val="353535"/>
                  </a:solidFill>
                  <a:latin typeface="Segoe UI Semilight"/>
                </a:endParaRPr>
              </a:p>
            </p:txBody>
          </p:sp>
          <p:sp>
            <p:nvSpPr>
              <p:cNvPr id="1108" name="Rectangle 1107"/>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sp>
            <p:nvSpPr>
              <p:cNvPr id="1109" name="Rectangle 1108"/>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grpSp>
        <p:sp>
          <p:nvSpPr>
            <p:cNvPr id="970" name="TextBox 969"/>
            <p:cNvSpPr txBox="1"/>
            <p:nvPr/>
          </p:nvSpPr>
          <p:spPr>
            <a:xfrm>
              <a:off x="11351100" y="1177427"/>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Data</a:t>
              </a:r>
              <a:r>
                <a:rPr lang="ar-SA" sz="850" kern="0">
                  <a:solidFill>
                    <a:srgbClr val="353535"/>
                  </a:solidFill>
                  <a:latin typeface="Segoe UI Semilight"/>
                </a:rPr>
                <a:t> </a:t>
              </a:r>
              <a:r>
                <a:rPr lang="en-US" sz="850" kern="0">
                  <a:solidFill>
                    <a:srgbClr val="353535"/>
                  </a:solidFill>
                  <a:latin typeface="Segoe UI Semilight"/>
                </a:rPr>
                <a:t>center</a:t>
              </a:r>
            </a:p>
          </p:txBody>
        </p:sp>
        <p:grpSp>
          <p:nvGrpSpPr>
            <p:cNvPr id="972" name="Group 971"/>
            <p:cNvGrpSpPr/>
            <p:nvPr/>
          </p:nvGrpSpPr>
          <p:grpSpPr>
            <a:xfrm>
              <a:off x="9135972" y="1135087"/>
              <a:ext cx="1590188" cy="130805"/>
              <a:chOff x="9073014" y="1067831"/>
              <a:chExt cx="1590188" cy="130805"/>
            </a:xfrm>
          </p:grpSpPr>
          <p:cxnSp>
            <p:nvCxnSpPr>
              <p:cNvPr id="1081" name="Straight Connector 1080"/>
              <p:cNvCxnSpPr/>
              <p:nvPr/>
            </p:nvCxnSpPr>
            <p:spPr>
              <a:xfrm flipH="1">
                <a:off x="9073014" y="1133233"/>
                <a:ext cx="228600" cy="0"/>
              </a:xfrm>
              <a:prstGeom prst="line">
                <a:avLst/>
              </a:prstGeom>
              <a:noFill/>
              <a:ln w="19050" cap="flat" cmpd="sng" algn="ctr">
                <a:solidFill>
                  <a:schemeClr val="accent1"/>
                </a:solidFill>
                <a:prstDash val="solid"/>
              </a:ln>
              <a:effectLst/>
            </p:spPr>
          </p:cxnSp>
          <p:sp>
            <p:nvSpPr>
              <p:cNvPr id="1082" name="TextBox 1081"/>
              <p:cNvSpPr txBox="1"/>
              <p:nvPr/>
            </p:nvSpPr>
            <p:spPr>
              <a:xfrm>
                <a:off x="9355344" y="1067831"/>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Owned capacity</a:t>
                </a:r>
              </a:p>
            </p:txBody>
          </p:sp>
        </p:grpSp>
        <p:grpSp>
          <p:nvGrpSpPr>
            <p:cNvPr id="1083" name="Group 1082"/>
            <p:cNvGrpSpPr/>
            <p:nvPr/>
          </p:nvGrpSpPr>
          <p:grpSpPr>
            <a:xfrm>
              <a:off x="9135972" y="1568035"/>
              <a:ext cx="1782405" cy="130805"/>
              <a:chOff x="9073014" y="1405627"/>
              <a:chExt cx="1782405" cy="130805"/>
            </a:xfrm>
          </p:grpSpPr>
          <p:cxnSp>
            <p:nvCxnSpPr>
              <p:cNvPr id="1084" name="Straight Connector 1083"/>
              <p:cNvCxnSpPr/>
              <p:nvPr/>
            </p:nvCxnSpPr>
            <p:spPr>
              <a:xfrm flipH="1" flipV="1">
                <a:off x="9073014" y="1471029"/>
                <a:ext cx="228600" cy="0"/>
              </a:xfrm>
              <a:prstGeom prst="line">
                <a:avLst/>
              </a:prstGeom>
              <a:noFill/>
              <a:ln w="19050" cap="flat" cmpd="sng" algn="ctr">
                <a:solidFill>
                  <a:schemeClr val="accent1"/>
                </a:solidFill>
                <a:prstDash val="sysDash"/>
              </a:ln>
              <a:effectLst/>
            </p:spPr>
          </p:cxnSp>
          <p:sp>
            <p:nvSpPr>
              <p:cNvPr id="1085" name="TextBox 1084"/>
              <p:cNvSpPr txBox="1"/>
              <p:nvPr/>
            </p:nvSpPr>
            <p:spPr>
              <a:xfrm>
                <a:off x="9347769" y="1405627"/>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Future capacity</a:t>
                </a:r>
              </a:p>
            </p:txBody>
          </p:sp>
        </p:grpSp>
        <p:grpSp>
          <p:nvGrpSpPr>
            <p:cNvPr id="1086" name="Group 1085"/>
            <p:cNvGrpSpPr/>
            <p:nvPr/>
          </p:nvGrpSpPr>
          <p:grpSpPr>
            <a:xfrm>
              <a:off x="9135972" y="1351561"/>
              <a:ext cx="1590188" cy="130805"/>
              <a:chOff x="9073014" y="1238325"/>
              <a:chExt cx="1590188" cy="130805"/>
            </a:xfrm>
          </p:grpSpPr>
          <p:cxnSp>
            <p:nvCxnSpPr>
              <p:cNvPr id="1087" name="Straight Connector 1086"/>
              <p:cNvCxnSpPr/>
              <p:nvPr/>
            </p:nvCxnSpPr>
            <p:spPr>
              <a:xfrm flipH="1">
                <a:off x="9073014" y="1303727"/>
                <a:ext cx="228600" cy="0"/>
              </a:xfrm>
              <a:prstGeom prst="line">
                <a:avLst/>
              </a:prstGeom>
              <a:noFill/>
              <a:ln w="19050" cap="flat" cmpd="sng" algn="ctr">
                <a:solidFill>
                  <a:schemeClr val="accent2">
                    <a:alpha val="94118"/>
                  </a:schemeClr>
                </a:solidFill>
                <a:prstDash val="solid"/>
              </a:ln>
              <a:effectLst/>
            </p:spPr>
          </p:cxnSp>
          <p:sp>
            <p:nvSpPr>
              <p:cNvPr id="1088" name="TextBox 1087"/>
              <p:cNvSpPr txBox="1"/>
              <p:nvPr/>
            </p:nvSpPr>
            <p:spPr>
              <a:xfrm>
                <a:off x="9355344" y="1238325"/>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Leased capacity</a:t>
                </a:r>
              </a:p>
            </p:txBody>
          </p:sp>
        </p:grpSp>
        <p:sp>
          <p:nvSpPr>
            <p:cNvPr id="1096" name="TextBox 1095"/>
            <p:cNvSpPr txBox="1"/>
            <p:nvPr/>
          </p:nvSpPr>
          <p:spPr>
            <a:xfrm>
              <a:off x="11351100" y="154305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Edge site</a:t>
              </a:r>
            </a:p>
          </p:txBody>
        </p:sp>
        <p:grpSp>
          <p:nvGrpSpPr>
            <p:cNvPr id="1100" name="Group 1099"/>
            <p:cNvGrpSpPr/>
            <p:nvPr/>
          </p:nvGrpSpPr>
          <p:grpSpPr>
            <a:xfrm>
              <a:off x="11008400" y="1453667"/>
              <a:ext cx="309594" cy="309590"/>
              <a:chOff x="1520304" y="1939550"/>
              <a:chExt cx="726812" cy="726812"/>
            </a:xfrm>
          </p:grpSpPr>
          <p:sp>
            <p:nvSpPr>
              <p:cNvPr id="1102" name="Oval 110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grpSp>
            <p:nvGrpSpPr>
              <p:cNvPr id="1105" name="Group 1104"/>
              <p:cNvGrpSpPr/>
              <p:nvPr/>
            </p:nvGrpSpPr>
            <p:grpSpPr>
              <a:xfrm>
                <a:off x="1627350" y="2071688"/>
                <a:ext cx="512722" cy="462536"/>
                <a:chOff x="1302898" y="1640683"/>
                <a:chExt cx="1201027" cy="1083468"/>
              </a:xfrm>
            </p:grpSpPr>
            <p:sp>
              <p:nvSpPr>
                <p:cNvPr id="11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grpSp>
          <p:nvGrpSpPr>
            <p:cNvPr id="1115" name="Group 1114"/>
            <p:cNvGrpSpPr/>
            <p:nvPr/>
          </p:nvGrpSpPr>
          <p:grpSpPr>
            <a:xfrm>
              <a:off x="11008322" y="1089140"/>
              <a:ext cx="307378" cy="307378"/>
              <a:chOff x="6617763" y="1494678"/>
              <a:chExt cx="188006" cy="188004"/>
            </a:xfrm>
          </p:grpSpPr>
          <p:sp>
            <p:nvSpPr>
              <p:cNvPr id="1116" name="Oval 111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sp>
            <p:nvSpPr>
              <p:cNvPr id="111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sp>
        <p:nvSpPr>
          <p:cNvPr id="1118" name="Rectangular Callout 163"/>
          <p:cNvSpPr/>
          <p:nvPr/>
        </p:nvSpPr>
        <p:spPr bwMode="auto">
          <a:xfrm>
            <a:off x="907556" y="4764990"/>
            <a:ext cx="2076142" cy="1044320"/>
          </a:xfrm>
          <a:prstGeom prst="wedgeRectCallout">
            <a:avLst>
              <a:gd name="adj1" fmla="val 19250"/>
              <a:gd name="adj2" fmla="val -130900"/>
            </a:avLst>
          </a:prstGeom>
          <a:solidFill>
            <a:schemeClr val="bg1">
              <a:lumMod val="95000"/>
              <a:alpha val="70000"/>
            </a:schemeClr>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Inter-DC fiber owned (miles): </a:t>
            </a:r>
            <a:br>
              <a:rPr lang="en-US" sz="1199" kern="0">
                <a:solidFill>
                  <a:srgbClr val="353535"/>
                </a:solidFill>
                <a:latin typeface="Segoe UI Semilight"/>
                <a:ea typeface="Segoe UI" pitchFamily="34" charset="0"/>
                <a:cs typeface="Segoe UI" pitchFamily="34" charset="0"/>
              </a:rPr>
            </a:br>
            <a:r>
              <a:rPr lang="en-US" sz="1199" kern="0">
                <a:solidFill>
                  <a:srgbClr val="353535"/>
                </a:solidFill>
                <a:latin typeface="Segoe UI Semilight"/>
                <a:ea typeface="Segoe UI" pitchFamily="34" charset="0"/>
                <a:cs typeface="Segoe UI" pitchFamily="34" charset="0"/>
              </a:rPr>
              <a:t>30+ thousand, supporting:</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DC metros: 37</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network sites: 69</a:t>
            </a:r>
          </a:p>
        </p:txBody>
      </p:sp>
      <p:sp>
        <p:nvSpPr>
          <p:cNvPr id="1119" name="Rectangle 1118"/>
          <p:cNvSpPr/>
          <p:nvPr/>
        </p:nvSpPr>
        <p:spPr bwMode="auto">
          <a:xfrm>
            <a:off x="463075" y="1228518"/>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28" kern="0">
                <a:solidFill>
                  <a:srgbClr val="353535"/>
                </a:solidFill>
                <a:latin typeface="Segoe UI" panose="020B0502040204020203" pitchFamily="34" charset="0"/>
                <a:ea typeface="Segoe UI" panose="020B0502040204020203" pitchFamily="34" charset="0"/>
                <a:cs typeface="Segoe UI" panose="020B0502040204020203" pitchFamily="34" charset="0"/>
              </a:rPr>
              <a:t>Datacenters and network sites not exhaustive</a:t>
            </a:r>
          </a:p>
        </p:txBody>
      </p:sp>
    </p:spTree>
    <p:extLst>
      <p:ext uri="{BB962C8B-B14F-4D97-AF65-F5344CB8AC3E}">
        <p14:creationId xmlns:p14="http://schemas.microsoft.com/office/powerpoint/2010/main" val="2279732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2" y="1662363"/>
            <a:ext cx="3091348" cy="2911713"/>
            <a:chOff x="6495581" y="1615764"/>
            <a:chExt cx="3031008"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438829" y="2782400"/>
              <a:ext cx="1087760" cy="1026808"/>
              <a:chOff x="9222297" y="2271245"/>
              <a:chExt cx="1087760" cy="1026808"/>
            </a:xfrm>
          </p:grpSpPr>
          <p:sp>
            <p:nvSpPr>
              <p:cNvPr id="724" name="Rectangle 723"/>
              <p:cNvSpPr/>
              <p:nvPr/>
            </p:nvSpPr>
            <p:spPr>
              <a:xfrm>
                <a:off x="9222297" y="2836388"/>
                <a:ext cx="1087760"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Verified single 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Employee &amp;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a:solidFill>
                  <a:schemeClr val="bg1"/>
                </a:solidFill>
              </a:rPr>
              <a:t>Rest assured with layered datacenter security</a:t>
            </a:r>
          </a:p>
        </p:txBody>
      </p:sp>
      <p:grpSp>
        <p:nvGrpSpPr>
          <p:cNvPr id="829" name="Group 828"/>
          <p:cNvGrpSpPr/>
          <p:nvPr/>
        </p:nvGrpSpPr>
        <p:grpSpPr>
          <a:xfrm>
            <a:off x="10632927" y="-7000"/>
            <a:ext cx="1800380" cy="1501443"/>
            <a:chOff x="10424520" y="-12802"/>
            <a:chExt cx="1765239" cy="1472137"/>
          </a:xfrm>
        </p:grpSpPr>
        <p:sp>
          <p:nvSpPr>
            <p:cNvPr id="830" name="Rectangle 82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1" name="Rectangle 83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2" name="Rectangle 83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3" name="Rectangle 832"/>
            <p:cNvSpPr/>
            <p:nvPr/>
          </p:nvSpPr>
          <p:spPr bwMode="auto">
            <a:xfrm>
              <a:off x="10679976" y="-5938"/>
              <a:ext cx="1353799" cy="5023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4" name="Rectangle 833"/>
            <p:cNvSpPr/>
            <p:nvPr/>
          </p:nvSpPr>
          <p:spPr bwMode="auto">
            <a:xfrm>
              <a:off x="10679976" y="505838"/>
              <a:ext cx="1353799" cy="464268"/>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5" name="Rectangle 834"/>
            <p:cNvSpPr/>
            <p:nvPr/>
          </p:nvSpPr>
          <p:spPr bwMode="auto">
            <a:xfrm>
              <a:off x="10679976" y="984940"/>
              <a:ext cx="1353799" cy="47271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6" name="Rectangle 83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837" name="Rectangle 83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838" name="Rectangle 83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839" name="Group 838"/>
            <p:cNvGrpSpPr/>
            <p:nvPr/>
          </p:nvGrpSpPr>
          <p:grpSpPr>
            <a:xfrm>
              <a:off x="10464128" y="178742"/>
              <a:ext cx="189075" cy="189075"/>
              <a:chOff x="3521877" y="511997"/>
              <a:chExt cx="640398" cy="640398"/>
            </a:xfrm>
          </p:grpSpPr>
          <p:sp>
            <p:nvSpPr>
              <p:cNvPr id="862" name="Freeform 86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863" name="Oval 86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40" name="Group 839"/>
            <p:cNvGrpSpPr/>
            <p:nvPr/>
          </p:nvGrpSpPr>
          <p:grpSpPr>
            <a:xfrm>
              <a:off x="10458847" y="652091"/>
              <a:ext cx="201083" cy="201083"/>
              <a:chOff x="3500293" y="3151895"/>
              <a:chExt cx="681070" cy="681070"/>
            </a:xfrm>
          </p:grpSpPr>
          <p:grpSp>
            <p:nvGrpSpPr>
              <p:cNvPr id="858" name="Group 857"/>
              <p:cNvGrpSpPr/>
              <p:nvPr/>
            </p:nvGrpSpPr>
            <p:grpSpPr>
              <a:xfrm>
                <a:off x="3607832" y="3353215"/>
                <a:ext cx="469102" cy="355120"/>
                <a:chOff x="3268663" y="4287838"/>
                <a:chExt cx="4351337" cy="3294062"/>
              </a:xfrm>
              <a:solidFill>
                <a:schemeClr val="bg1"/>
              </a:solidFill>
            </p:grpSpPr>
            <p:sp>
              <p:nvSpPr>
                <p:cNvPr id="86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6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859" name="Oval 85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41" name="Group 840"/>
            <p:cNvGrpSpPr/>
            <p:nvPr/>
          </p:nvGrpSpPr>
          <p:grpSpPr>
            <a:xfrm>
              <a:off x="10483840" y="1167833"/>
              <a:ext cx="153842" cy="115459"/>
              <a:chOff x="2724150" y="20638"/>
              <a:chExt cx="4695825" cy="3524250"/>
            </a:xfrm>
            <a:solidFill>
              <a:schemeClr val="bg1"/>
            </a:solidFill>
          </p:grpSpPr>
          <p:sp>
            <p:nvSpPr>
              <p:cNvPr id="85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842" name="Rectangle 841"/>
            <p:cNvSpPr/>
            <p:nvPr/>
          </p:nvSpPr>
          <p:spPr bwMode="auto">
            <a:xfrm>
              <a:off x="10433220" y="-10137"/>
              <a:ext cx="1310211" cy="509111"/>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43" name="Rectangle 842"/>
            <p:cNvSpPr/>
            <p:nvPr/>
          </p:nvSpPr>
          <p:spPr bwMode="auto">
            <a:xfrm>
              <a:off x="10433220" y="498900"/>
              <a:ext cx="1308851" cy="483109"/>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844" name="Straight Connector 84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45" name="Straight Connector 84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46" name="Rectangle 84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847" name="Group 84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85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85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85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848" name="Rectangle 847"/>
            <p:cNvSpPr/>
            <p:nvPr/>
          </p:nvSpPr>
          <p:spPr>
            <a:xfrm rot="16200000">
              <a:off x="11553088" y="732577"/>
              <a:ext cx="805161" cy="346633"/>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b="1" dirty="0">
                  <a:solidFill>
                    <a:srgbClr val="FFFFFF"/>
                  </a:solidFill>
                  <a:latin typeface="Segoe UI Semibold" charset="0"/>
                  <a:ea typeface="Segoe UI Semibold" charset="0"/>
                  <a:cs typeface="Segoe UI Semibold" charset="0"/>
                </a:rPr>
                <a:t>Azure Stack + Hybrid</a:t>
              </a:r>
            </a:p>
          </p:txBody>
        </p:sp>
        <p:sp>
          <p:nvSpPr>
            <p:cNvPr id="849" name="Rectangle 848"/>
            <p:cNvSpPr/>
            <p:nvPr/>
          </p:nvSpPr>
          <p:spPr bwMode="auto">
            <a:xfrm>
              <a:off x="11738846" y="-12802"/>
              <a:ext cx="450913" cy="1468751"/>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850" name="Straight Connector 84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955847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par>
                          <p:cTn id="19" fill="hold">
                            <p:stCondLst>
                              <p:cond delay="500"/>
                            </p:stCondLst>
                            <p:childTnLst>
                              <p:par>
                                <p:cTn id="20" presetID="10" presetClass="entr" presetSubtype="0" fill="hold" grpId="0" nodeType="afterEffect">
                                  <p:stCondLst>
                                    <p:cond delay="500"/>
                                  </p:stCondLst>
                                  <p:childTnLst>
                                    <p:set>
                                      <p:cBhvr>
                                        <p:cTn id="21" dur="1" fill="hold">
                                          <p:stCondLst>
                                            <p:cond delay="0"/>
                                          </p:stCondLst>
                                        </p:cTn>
                                        <p:tgtEl>
                                          <p:spTgt spid="523"/>
                                        </p:tgtEl>
                                        <p:attrNameLst>
                                          <p:attrName>style.visibility</p:attrName>
                                        </p:attrNameLst>
                                      </p:cBhvr>
                                      <p:to>
                                        <p:strVal val="visible"/>
                                      </p:to>
                                    </p:set>
                                    <p:animEffect transition="in" filter="fade">
                                      <p:cBhvr>
                                        <p:cTn id="22" dur="750"/>
                                        <p:tgtEl>
                                          <p:spTgt spid="523"/>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524"/>
                                        </p:tgtEl>
                                        <p:attrNameLst>
                                          <p:attrName>style.visibility</p:attrName>
                                        </p:attrNameLst>
                                      </p:cBhvr>
                                      <p:to>
                                        <p:strVal val="visible"/>
                                      </p:to>
                                    </p:set>
                                    <p:animEffect transition="in" filter="fade">
                                      <p:cBhvr>
                                        <p:cTn id="25" dur="750"/>
                                        <p:tgtEl>
                                          <p:spTgt spid="5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27"/>
                                        </p:tgtEl>
                                        <p:attrNameLst>
                                          <p:attrName>style.visibility</p:attrName>
                                        </p:attrNameLst>
                                      </p:cBhvr>
                                      <p:to>
                                        <p:strVal val="visible"/>
                                      </p:to>
                                    </p:set>
                                    <p:animEffect transition="in" filter="fade">
                                      <p:cBhvr>
                                        <p:cTn id="30" dur="500"/>
                                        <p:tgtEl>
                                          <p:spTgt spid="827"/>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501"/>
                                        </p:tgtEl>
                                        <p:attrNameLst>
                                          <p:attrName>style.visibility</p:attrName>
                                        </p:attrNameLst>
                                      </p:cBhvr>
                                      <p:to>
                                        <p:strVal val="visible"/>
                                      </p:to>
                                    </p:set>
                                    <p:animEffect transition="in" filter="fade">
                                      <p:cBhvr>
                                        <p:cTn id="33" dur="750"/>
                                        <p:tgtEl>
                                          <p:spTgt spid="50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31"/>
                                        </p:tgtEl>
                                        <p:attrNameLst>
                                          <p:attrName>style.visibility</p:attrName>
                                        </p:attrNameLst>
                                      </p:cBhvr>
                                      <p:to>
                                        <p:strVal val="visible"/>
                                      </p:to>
                                    </p:set>
                                    <p:animEffect transition="in" filter="fade">
                                      <p:cBhvr>
                                        <p:cTn id="38" dur="500"/>
                                        <p:tgtEl>
                                          <p:spTgt spid="5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24"/>
                                        </p:tgtEl>
                                        <p:attrNameLst>
                                          <p:attrName>style.visibility</p:attrName>
                                        </p:attrNameLst>
                                      </p:cBhvr>
                                      <p:to>
                                        <p:strVal val="visible"/>
                                      </p:to>
                                    </p:set>
                                    <p:animEffect transition="in" filter="fade">
                                      <p:cBhvr>
                                        <p:cTn id="41" dur="500"/>
                                        <p:tgtEl>
                                          <p:spTgt spid="824"/>
                                        </p:tgtEl>
                                      </p:cBhvr>
                                    </p:animEffec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534"/>
                                        </p:tgtEl>
                                        <p:attrNameLst>
                                          <p:attrName>style.visibility</p:attrName>
                                        </p:attrNameLst>
                                      </p:cBhvr>
                                      <p:to>
                                        <p:strVal val="visible"/>
                                      </p:to>
                                    </p:set>
                                    <p:animEffect transition="in" filter="wipe(down)">
                                      <p:cBhvr>
                                        <p:cTn id="45" dur="500"/>
                                        <p:tgtEl>
                                          <p:spTgt spid="534"/>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554"/>
                                        </p:tgtEl>
                                        <p:attrNameLst>
                                          <p:attrName>style.visibility</p:attrName>
                                        </p:attrNameLst>
                                      </p:cBhvr>
                                      <p:to>
                                        <p:strVal val="visible"/>
                                      </p:to>
                                    </p:set>
                                    <p:animEffect transition="in" filter="fade">
                                      <p:cBhvr>
                                        <p:cTn id="49" dur="500"/>
                                        <p:tgtEl>
                                          <p:spTgt spid="554"/>
                                        </p:tgtEl>
                                      </p:cBhvr>
                                    </p:animEffect>
                                  </p:childTnLst>
                                </p:cTn>
                              </p:par>
                              <p:par>
                                <p:cTn id="50" presetID="22" presetClass="entr" presetSubtype="4" fill="hold" nodeType="withEffect">
                                  <p:stCondLst>
                                    <p:cond delay="0"/>
                                  </p:stCondLst>
                                  <p:childTnLst>
                                    <p:set>
                                      <p:cBhvr>
                                        <p:cTn id="51" dur="1" fill="hold">
                                          <p:stCondLst>
                                            <p:cond delay="0"/>
                                          </p:stCondLst>
                                        </p:cTn>
                                        <p:tgtEl>
                                          <p:spTgt spid="532"/>
                                        </p:tgtEl>
                                        <p:attrNameLst>
                                          <p:attrName>style.visibility</p:attrName>
                                        </p:attrNameLst>
                                      </p:cBhvr>
                                      <p:to>
                                        <p:strVal val="visible"/>
                                      </p:to>
                                    </p:set>
                                    <p:animEffect transition="in" filter="wipe(down)">
                                      <p:cBhvr>
                                        <p:cTn id="52" dur="500"/>
                                        <p:tgtEl>
                                          <p:spTgt spid="532"/>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541"/>
                                        </p:tgtEl>
                                        <p:attrNameLst>
                                          <p:attrName>style.visibility</p:attrName>
                                        </p:attrNameLst>
                                      </p:cBhvr>
                                      <p:to>
                                        <p:strVal val="visible"/>
                                      </p:to>
                                    </p:set>
                                    <p:animEffect transition="in" filter="wipe(left)">
                                      <p:cBhvr>
                                        <p:cTn id="57" dur="500"/>
                                        <p:tgtEl>
                                          <p:spTgt spid="541"/>
                                        </p:tgtEl>
                                      </p:cBhvr>
                                    </p:animEffect>
                                  </p:childTnLst>
                                </p:cTn>
                              </p:par>
                              <p:par>
                                <p:cTn id="58" presetID="10" presetClass="entr" presetSubtype="0" fill="hold" nodeType="withEffect">
                                  <p:stCondLst>
                                    <p:cond delay="0"/>
                                  </p:stCondLst>
                                  <p:childTnLst>
                                    <p:set>
                                      <p:cBhvr>
                                        <p:cTn id="59" dur="1" fill="hold">
                                          <p:stCondLst>
                                            <p:cond delay="0"/>
                                          </p:stCondLst>
                                        </p:cTn>
                                        <p:tgtEl>
                                          <p:spTgt spid="576"/>
                                        </p:tgtEl>
                                        <p:attrNameLst>
                                          <p:attrName>style.visibility</p:attrName>
                                        </p:attrNameLst>
                                      </p:cBhvr>
                                      <p:to>
                                        <p:strVal val="visible"/>
                                      </p:to>
                                    </p:set>
                                    <p:animEffect transition="in" filter="fade">
                                      <p:cBhvr>
                                        <p:cTn id="60" dur="500"/>
                                        <p:tgtEl>
                                          <p:spTgt spid="576"/>
                                        </p:tgtEl>
                                      </p:cBhvr>
                                    </p:animEffect>
                                  </p:childTnLst>
                                </p:cTn>
                              </p:par>
                              <p:par>
                                <p:cTn id="61" presetID="22" presetClass="entr" presetSubtype="4" fill="hold" nodeType="withEffect">
                                  <p:stCondLst>
                                    <p:cond delay="0"/>
                                  </p:stCondLst>
                                  <p:childTnLst>
                                    <p:set>
                                      <p:cBhvr>
                                        <p:cTn id="62" dur="1" fill="hold">
                                          <p:stCondLst>
                                            <p:cond delay="0"/>
                                          </p:stCondLst>
                                        </p:cTn>
                                        <p:tgtEl>
                                          <p:spTgt spid="544"/>
                                        </p:tgtEl>
                                        <p:attrNameLst>
                                          <p:attrName>style.visibility</p:attrName>
                                        </p:attrNameLst>
                                      </p:cBhvr>
                                      <p:to>
                                        <p:strVal val="visible"/>
                                      </p:to>
                                    </p:set>
                                    <p:animEffect transition="in" filter="wipe(down)">
                                      <p:cBhvr>
                                        <p:cTn id="63" dur="500"/>
                                        <p:tgtEl>
                                          <p:spTgt spid="54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537"/>
                                        </p:tgtEl>
                                        <p:attrNameLst>
                                          <p:attrName>style.visibility</p:attrName>
                                        </p:attrNameLst>
                                      </p:cBhvr>
                                      <p:to>
                                        <p:strVal val="visible"/>
                                      </p:to>
                                    </p:set>
                                    <p:animEffect transition="in" filter="wipe(left)">
                                      <p:cBhvr>
                                        <p:cTn id="68" dur="500"/>
                                        <p:tgtEl>
                                          <p:spTgt spid="537"/>
                                        </p:tgtEl>
                                      </p:cBhvr>
                                    </p:animEffect>
                                  </p:childTnLst>
                                </p:cTn>
                              </p:par>
                            </p:childTnLst>
                          </p:cTn>
                        </p:par>
                        <p:par>
                          <p:cTn id="69" fill="hold">
                            <p:stCondLst>
                              <p:cond delay="500"/>
                            </p:stCondLst>
                            <p:childTnLst>
                              <p:par>
                                <p:cTn id="70" presetID="10" presetClass="entr" presetSubtype="0" fill="hold" nodeType="afterEffect">
                                  <p:stCondLst>
                                    <p:cond delay="0"/>
                                  </p:stCondLst>
                                  <p:childTnLst>
                                    <p:set>
                                      <p:cBhvr>
                                        <p:cTn id="71" dur="1" fill="hold">
                                          <p:stCondLst>
                                            <p:cond delay="0"/>
                                          </p:stCondLst>
                                        </p:cTn>
                                        <p:tgtEl>
                                          <p:spTgt spid="593"/>
                                        </p:tgtEl>
                                        <p:attrNameLst>
                                          <p:attrName>style.visibility</p:attrName>
                                        </p:attrNameLst>
                                      </p:cBhvr>
                                      <p:to>
                                        <p:strVal val="visible"/>
                                      </p:to>
                                    </p:set>
                                    <p:animEffect transition="in" filter="fade">
                                      <p:cBhvr>
                                        <p:cTn id="72" dur="500"/>
                                        <p:tgtEl>
                                          <p:spTgt spid="593"/>
                                        </p:tgtEl>
                                      </p:cBhvr>
                                    </p:animEffect>
                                  </p:childTnLst>
                                </p:cTn>
                              </p:par>
                              <p:par>
                                <p:cTn id="73" presetID="22" presetClass="entr" presetSubtype="4" fill="hold" nodeType="withEffect">
                                  <p:stCondLst>
                                    <p:cond delay="0"/>
                                  </p:stCondLst>
                                  <p:childTnLst>
                                    <p:set>
                                      <p:cBhvr>
                                        <p:cTn id="74" dur="1" fill="hold">
                                          <p:stCondLst>
                                            <p:cond delay="0"/>
                                          </p:stCondLst>
                                        </p:cTn>
                                        <p:tgtEl>
                                          <p:spTgt spid="533"/>
                                        </p:tgtEl>
                                        <p:attrNameLst>
                                          <p:attrName>style.visibility</p:attrName>
                                        </p:attrNameLst>
                                      </p:cBhvr>
                                      <p:to>
                                        <p:strVal val="visible"/>
                                      </p:to>
                                    </p:set>
                                    <p:animEffect transition="in" filter="wipe(down)">
                                      <p:cBhvr>
                                        <p:cTn id="75" dur="500"/>
                                        <p:tgtEl>
                                          <p:spTgt spid="533"/>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545"/>
                                        </p:tgtEl>
                                        <p:attrNameLst>
                                          <p:attrName>style.visibility</p:attrName>
                                        </p:attrNameLst>
                                      </p:cBhvr>
                                      <p:to>
                                        <p:strVal val="visible"/>
                                      </p:to>
                                    </p:set>
                                    <p:animEffect transition="in" filter="fade">
                                      <p:cBhvr>
                                        <p:cTn id="80" dur="500"/>
                                        <p:tgtEl>
                                          <p:spTgt spid="545"/>
                                        </p:tgtEl>
                                      </p:cBhvr>
                                    </p:animEffect>
                                  </p:childTnLst>
                                </p:cTn>
                              </p:par>
                              <p:par>
                                <p:cTn id="81" presetID="10" presetClass="entr" presetSubtype="0" fill="hold" nodeType="withEffect">
                                  <p:stCondLst>
                                    <p:cond delay="200"/>
                                  </p:stCondLst>
                                  <p:childTnLst>
                                    <p:set>
                                      <p:cBhvr>
                                        <p:cTn id="82" dur="1" fill="hold">
                                          <p:stCondLst>
                                            <p:cond delay="0"/>
                                          </p:stCondLst>
                                        </p:cTn>
                                        <p:tgtEl>
                                          <p:spTgt spid="809"/>
                                        </p:tgtEl>
                                        <p:attrNameLst>
                                          <p:attrName>style.visibility</p:attrName>
                                        </p:attrNameLst>
                                      </p:cBhvr>
                                      <p:to>
                                        <p:strVal val="visible"/>
                                      </p:to>
                                    </p:set>
                                    <p:animEffect transition="in" filter="fade">
                                      <p:cBhvr>
                                        <p:cTn id="83"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Freeform 2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91606" y="2574304"/>
            <a:ext cx="460244" cy="449535"/>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323772" y="2195616"/>
            <a:ext cx="7037263" cy="1139537"/>
          </a:xfrm>
          <a:prstGeom prst="rect">
            <a:avLst/>
          </a:prstGeom>
        </p:spPr>
        <p:txBody>
          <a:bodyPr lIns="149175" tIns="9324" rIns="149175" bIns="9324"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384" fontAlgn="base">
              <a:spcAft>
                <a:spcPct val="0"/>
              </a:spcAft>
              <a:defRPr/>
            </a:pPr>
            <a:r>
              <a:rPr lang="en-US" sz="4799" spc="-102" dirty="0">
                <a:solidFill>
                  <a:srgbClr val="0078D7"/>
                </a:solidFill>
                <a:latin typeface="Segoe UI Light"/>
              </a:rPr>
              <a:t>Azure </a:t>
            </a:r>
          </a:p>
          <a:p>
            <a:pPr defTabSz="932384" fontAlgn="base">
              <a:spcAft>
                <a:spcPct val="0"/>
              </a:spcAft>
              <a:defRPr/>
            </a:pPr>
            <a:r>
              <a:rPr lang="en-US" sz="4799" spc="-102" dirty="0">
                <a:solidFill>
                  <a:srgbClr val="0078D7"/>
                </a:solidFill>
                <a:latin typeface="Segoe UI Light"/>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323773" y="3639637"/>
            <a:ext cx="4762040" cy="1443956"/>
          </a:xfrm>
          <a:prstGeom prst="rect">
            <a:avLst/>
          </a:prstGeom>
        </p:spPr>
        <p:txBody>
          <a:bodyPr wrap="square" lIns="149175">
            <a:spAutoFit/>
          </a:bodyPr>
          <a:lstStyle/>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Protection through best practice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Detect threats and attack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Remediate issues</a:t>
            </a:r>
          </a:p>
        </p:txBody>
      </p:sp>
      <p:grpSp>
        <p:nvGrpSpPr>
          <p:cNvPr id="2" name="Group 1"/>
          <p:cNvGrpSpPr/>
          <p:nvPr/>
        </p:nvGrpSpPr>
        <p:grpSpPr>
          <a:xfrm>
            <a:off x="6259521" y="460920"/>
            <a:ext cx="6176073" cy="6462649"/>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descr="A screenshot of a computer&#10;&#10;Description generated with very high confidence">
              <a:extLst>
                <a:ext uri="{FF2B5EF4-FFF2-40B4-BE49-F238E27FC236}">
                  <a16:creationId xmlns:a16="http://schemas.microsoft.com/office/drawing/2014/main" id="{7F4BC64D-772A-494C-9045-9302C0F3B75A}"/>
                </a:ext>
              </a:extLst>
            </p:cNvPr>
            <p:cNvPicPr>
              <a:picLocks noChangeAspect="1"/>
            </p:cNvPicPr>
            <p:nvPr/>
          </p:nvPicPr>
          <p:blipFill rotWithShape="1">
            <a:blip r:embed="rId4"/>
            <a:srcRect r="19963" b="6321"/>
            <a:stretch/>
          </p:blipFill>
          <p:spPr>
            <a:xfrm>
              <a:off x="7100347" y="698726"/>
              <a:ext cx="5091654" cy="4307500"/>
            </a:xfrm>
            <a:prstGeom prst="rect">
              <a:avLst/>
            </a:prstGeom>
          </p:spPr>
        </p:pic>
      </p:grpSp>
    </p:spTree>
    <p:extLst>
      <p:ext uri="{BB962C8B-B14F-4D97-AF65-F5344CB8AC3E}">
        <p14:creationId xmlns:p14="http://schemas.microsoft.com/office/powerpoint/2010/main" val="78474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p:cNvGrpSpPr/>
          <p:nvPr/>
        </p:nvGrpSpPr>
        <p:grpSpPr>
          <a:xfrm>
            <a:off x="2310530" y="-16266"/>
            <a:ext cx="8215862" cy="6839709"/>
            <a:chOff x="10424520" y="-4607"/>
            <a:chExt cx="1762005" cy="1466870"/>
          </a:xfrm>
        </p:grpSpPr>
        <p:sp>
          <p:nvSpPr>
            <p:cNvPr id="100" name="Rectangle 9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1" name="Rectangle 10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2" name="Rectangle 10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3" name="Rectangle 102"/>
            <p:cNvSpPr/>
            <p:nvPr/>
          </p:nvSpPr>
          <p:spPr bwMode="auto">
            <a:xfrm>
              <a:off x="10679976" y="495165"/>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4" name="Rectangle 103"/>
            <p:cNvSpPr/>
            <p:nvPr/>
          </p:nvSpPr>
          <p:spPr bwMode="auto">
            <a:xfrm>
              <a:off x="10679976" y="973463"/>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5" name="Rectangle 104"/>
            <p:cNvSpPr/>
            <p:nvPr/>
          </p:nvSpPr>
          <p:spPr bwMode="auto">
            <a:xfrm>
              <a:off x="10679976" y="-4607"/>
              <a:ext cx="1353799" cy="50608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6" name="Rectangle 10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07" name="Rectangle 10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08" name="Rectangle 10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109" name="Group 108"/>
            <p:cNvGrpSpPr/>
            <p:nvPr/>
          </p:nvGrpSpPr>
          <p:grpSpPr>
            <a:xfrm>
              <a:off x="10464128" y="178742"/>
              <a:ext cx="189075" cy="189075"/>
              <a:chOff x="3521877" y="511997"/>
              <a:chExt cx="640398" cy="640398"/>
            </a:xfrm>
          </p:grpSpPr>
          <p:sp>
            <p:nvSpPr>
              <p:cNvPr id="132" name="Freeform 13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133" name="Oval 13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0" name="Group 109"/>
            <p:cNvGrpSpPr/>
            <p:nvPr/>
          </p:nvGrpSpPr>
          <p:grpSpPr>
            <a:xfrm>
              <a:off x="10458847" y="652091"/>
              <a:ext cx="201083" cy="201083"/>
              <a:chOff x="3500293" y="3151895"/>
              <a:chExt cx="681070" cy="681070"/>
            </a:xfrm>
          </p:grpSpPr>
          <p:grpSp>
            <p:nvGrpSpPr>
              <p:cNvPr id="128" name="Group 127"/>
              <p:cNvGrpSpPr/>
              <p:nvPr/>
            </p:nvGrpSpPr>
            <p:grpSpPr>
              <a:xfrm>
                <a:off x="3607832" y="3353215"/>
                <a:ext cx="469102" cy="355120"/>
                <a:chOff x="3268663" y="4287838"/>
                <a:chExt cx="4351337" cy="3294062"/>
              </a:xfrm>
              <a:solidFill>
                <a:schemeClr val="bg1"/>
              </a:solidFill>
            </p:grpSpPr>
            <p:sp>
              <p:nvSpPr>
                <p:cNvPr id="13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3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29" name="Oval 12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1" name="Group 110"/>
            <p:cNvGrpSpPr/>
            <p:nvPr/>
          </p:nvGrpSpPr>
          <p:grpSpPr>
            <a:xfrm>
              <a:off x="10483840" y="1167833"/>
              <a:ext cx="153842" cy="115459"/>
              <a:chOff x="2724150" y="20638"/>
              <a:chExt cx="4695825" cy="3524250"/>
            </a:xfrm>
            <a:solidFill>
              <a:schemeClr val="bg1"/>
            </a:solidFill>
          </p:grpSpPr>
          <p:sp>
            <p:nvSpPr>
              <p:cNvPr id="12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12" name="Rectangle 111"/>
            <p:cNvSpPr/>
            <p:nvPr/>
          </p:nvSpPr>
          <p:spPr bwMode="auto">
            <a:xfrm>
              <a:off x="10433220" y="501479"/>
              <a:ext cx="131021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13" name="Rectangle 112"/>
            <p:cNvSpPr/>
            <p:nvPr/>
          </p:nvSpPr>
          <p:spPr bwMode="auto">
            <a:xfrm>
              <a:off x="10433220" y="979777"/>
              <a:ext cx="130885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114" name="Straight Connector 11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 name="Rectangle 11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117" name="Group 11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12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12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12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118" name="Rectangle 117"/>
            <p:cNvSpPr/>
            <p:nvPr/>
          </p:nvSpPr>
          <p:spPr>
            <a:xfrm rot="16200000">
              <a:off x="11553088" y="881889"/>
              <a:ext cx="805161" cy="48008"/>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Stack + Hybrid</a:t>
              </a:r>
            </a:p>
          </p:txBody>
        </p:sp>
        <p:sp>
          <p:nvSpPr>
            <p:cNvPr id="119" name="Rectangle 118"/>
            <p:cNvSpPr/>
            <p:nvPr/>
          </p:nvSpPr>
          <p:spPr bwMode="auto">
            <a:xfrm>
              <a:off x="11738846" y="1707"/>
              <a:ext cx="447679" cy="1454242"/>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120" name="Straight Connector 11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3" name="TextBox 10">
            <a:extLst>
              <a:ext uri="{FF2B5EF4-FFF2-40B4-BE49-F238E27FC236}">
                <a16:creationId xmlns:a16="http://schemas.microsoft.com/office/drawing/2014/main" id="{896338E4-5E15-43CE-8AF9-7CEA7FF4CEDC}"/>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77293" y="3177938"/>
            <a:ext cx="747003" cy="74700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406985" y="3215629"/>
            <a:ext cx="687620" cy="671619"/>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95053" y="3171750"/>
            <a:ext cx="511484" cy="75937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2" name="Freeform 61"/>
          <p:cNvSpPr>
            <a:spLocks noChangeArrowheads="1"/>
          </p:cNvSpPr>
          <p:nvPr/>
        </p:nvSpPr>
        <p:spPr bwMode="auto">
          <a:xfrm>
            <a:off x="1347779" y="3152655"/>
            <a:ext cx="806031" cy="79756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73" name="Rectangle 172"/>
          <p:cNvSpPr/>
          <p:nvPr/>
        </p:nvSpPr>
        <p:spPr bwMode="auto">
          <a:xfrm>
            <a:off x="-9096" y="-27832"/>
            <a:ext cx="4379102" cy="7041520"/>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grpSp>
        <p:nvGrpSpPr>
          <p:cNvPr id="2" name="Group 1"/>
          <p:cNvGrpSpPr/>
          <p:nvPr/>
        </p:nvGrpSpPr>
        <p:grpSpPr>
          <a:xfrm>
            <a:off x="4370005" y="-27833"/>
            <a:ext cx="8092619" cy="7039827"/>
            <a:chOff x="4283844" y="-27289"/>
            <a:chExt cx="7934660" cy="6902418"/>
          </a:xfrm>
        </p:grpSpPr>
        <p:sp>
          <p:nvSpPr>
            <p:cNvPr id="158" name="Rectangle 157"/>
            <p:cNvSpPr/>
            <p:nvPr/>
          </p:nvSpPr>
          <p:spPr bwMode="auto">
            <a:xfrm>
              <a:off x="4283901" y="1655499"/>
              <a:ext cx="7913662" cy="3566877"/>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7" name="Rectangle 166"/>
            <p:cNvSpPr/>
            <p:nvPr/>
          </p:nvSpPr>
          <p:spPr bwMode="auto">
            <a:xfrm>
              <a:off x="4283901" y="5170853"/>
              <a:ext cx="7913662"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4" name="Rectangle 163"/>
            <p:cNvSpPr/>
            <p:nvPr/>
          </p:nvSpPr>
          <p:spPr bwMode="auto">
            <a:xfrm>
              <a:off x="4283844" y="-27289"/>
              <a:ext cx="7934660"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71" name="Rectangle 170"/>
            <p:cNvSpPr/>
            <p:nvPr/>
          </p:nvSpPr>
          <p:spPr bwMode="auto">
            <a:xfrm>
              <a:off x="11249886" y="-25052"/>
              <a:ext cx="968618" cy="69001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r>
                <a:rPr lang="en-US" sz="1836" b="1" dirty="0">
                  <a:gradFill>
                    <a:gsLst>
                      <a:gs pos="0">
                        <a:srgbClr val="FFFFFF"/>
                      </a:gs>
                      <a:gs pos="100000">
                        <a:srgbClr val="FFFFFF"/>
                      </a:gs>
                    </a:gsLst>
                    <a:lin ang="5400000" scaled="0"/>
                  </a:gradFill>
                  <a:latin typeface="Segoe UI Semibold" charset="0"/>
                  <a:ea typeface="Segoe UI Semibold" charset="0"/>
                  <a:cs typeface="Segoe UI Semibold" charset="0"/>
                </a:rPr>
                <a:t>Azure Stack + Hybrid</a:t>
              </a:r>
            </a:p>
          </p:txBody>
        </p:sp>
      </p:grpSp>
      <p:sp>
        <p:nvSpPr>
          <p:cNvPr id="168" name="Rectangle 167"/>
          <p:cNvSpPr/>
          <p:nvPr/>
        </p:nvSpPr>
        <p:spPr bwMode="auto">
          <a:xfrm>
            <a:off x="4640747" y="5506181"/>
            <a:ext cx="6380911" cy="548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69" name="Rectangle 168"/>
          <p:cNvSpPr/>
          <p:nvPr/>
        </p:nvSpPr>
        <p:spPr bwMode="auto">
          <a:xfrm>
            <a:off x="4450810"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Compute</a:t>
            </a:r>
          </a:p>
        </p:txBody>
      </p:sp>
      <p:sp>
        <p:nvSpPr>
          <p:cNvPr id="21" name="Rectangle 20"/>
          <p:cNvSpPr/>
          <p:nvPr/>
        </p:nvSpPr>
        <p:spPr bwMode="auto">
          <a:xfrm>
            <a:off x="6726081"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torage</a:t>
            </a:r>
          </a:p>
        </p:txBody>
      </p:sp>
      <p:sp>
        <p:nvSpPr>
          <p:cNvPr id="22" name="Rectangle 21"/>
          <p:cNvSpPr/>
          <p:nvPr/>
        </p:nvSpPr>
        <p:spPr bwMode="auto">
          <a:xfrm>
            <a:off x="9410602"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Networking</a:t>
            </a:r>
          </a:p>
        </p:txBody>
      </p:sp>
      <p:sp>
        <p:nvSpPr>
          <p:cNvPr id="23" name="Rectangle 22"/>
          <p:cNvSpPr/>
          <p:nvPr/>
        </p:nvSpPr>
        <p:spPr bwMode="auto">
          <a:xfrm>
            <a:off x="5643140" y="5987634"/>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ecurity</a:t>
            </a:r>
          </a:p>
        </p:txBody>
      </p:sp>
      <p:sp>
        <p:nvSpPr>
          <p:cNvPr id="24" name="Rectangle 23"/>
          <p:cNvSpPr/>
          <p:nvPr/>
        </p:nvSpPr>
        <p:spPr bwMode="auto">
          <a:xfrm>
            <a:off x="7802695" y="5987634"/>
            <a:ext cx="1753631"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Management</a:t>
            </a:r>
          </a:p>
        </p:txBody>
      </p:sp>
      <p:sp>
        <p:nvSpPr>
          <p:cNvPr id="160" name="Rectangle 159"/>
          <p:cNvSpPr/>
          <p:nvPr/>
        </p:nvSpPr>
        <p:spPr bwMode="auto">
          <a:xfrm>
            <a:off x="4639485" y="22376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61" name="Rectangle 160"/>
          <p:cNvSpPr/>
          <p:nvPr/>
        </p:nvSpPr>
        <p:spPr bwMode="auto">
          <a:xfrm>
            <a:off x="4660756"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Web + Mobile</a:t>
            </a:r>
            <a:br>
              <a:rPr lang="en-US" sz="1836" dirty="0">
                <a:solidFill>
                  <a:srgbClr val="505050">
                    <a:lumMod val="75000"/>
                  </a:srgbClr>
                </a:solidFill>
                <a:latin typeface="Segoe UI Semilight"/>
                <a:ea typeface="Segoe UI" pitchFamily="34" charset="0"/>
                <a:cs typeface="Segoe UI" pitchFamily="34" charset="0"/>
              </a:rPr>
            </a:br>
            <a:r>
              <a:rPr lang="en-US" sz="1836" dirty="0">
                <a:solidFill>
                  <a:srgbClr val="505050">
                    <a:lumMod val="75000"/>
                  </a:srgbClr>
                </a:solidFill>
                <a:latin typeface="Segoe UI Semilight"/>
                <a:ea typeface="Segoe UI" pitchFamily="34" charset="0"/>
                <a:cs typeface="Segoe UI" pitchFamily="34" charset="0"/>
              </a:rPr>
              <a:t>Internet of Thing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Micro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ntainer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Serverless</a:t>
            </a:r>
          </a:p>
        </p:txBody>
      </p:sp>
      <p:sp>
        <p:nvSpPr>
          <p:cNvPr id="162" name="Rectangle 161"/>
          <p:cNvSpPr/>
          <p:nvPr/>
        </p:nvSpPr>
        <p:spPr bwMode="auto">
          <a:xfrm>
            <a:off x="7377660"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Identity</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Data + Analytic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Artificial Intelligence</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gnitive 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High Performance Computing</a:t>
            </a:r>
          </a:p>
        </p:txBody>
      </p:sp>
      <p:sp>
        <p:nvSpPr>
          <p:cNvPr id="165" name="Rectangle 164"/>
          <p:cNvSpPr/>
          <p:nvPr/>
        </p:nvSpPr>
        <p:spPr bwMode="auto">
          <a:xfrm>
            <a:off x="4639485" y="2181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sp>
        <p:nvSpPr>
          <p:cNvPr id="166" name="Rectangle 165"/>
          <p:cNvSpPr/>
          <p:nvPr/>
        </p:nvSpPr>
        <p:spPr bwMode="auto">
          <a:xfrm>
            <a:off x="4660755" y="713182"/>
            <a:ext cx="5607371" cy="8438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3" spcCol="18288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eloper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Tools</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Ops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     </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Portal +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Scripting</a:t>
            </a:r>
          </a:p>
        </p:txBody>
      </p:sp>
      <p:cxnSp>
        <p:nvCxnSpPr>
          <p:cNvPr id="32" name="Straight Connector 31">
            <a:extLst>
              <a:ext uri="{FF2B5EF4-FFF2-40B4-BE49-F238E27FC236}">
                <a16:creationId xmlns:a16="http://schemas.microsoft.com/office/drawing/2014/main" id="{153D86BF-D60D-4D45-AD9A-B2638811C3FD}"/>
              </a:ext>
            </a:extLst>
          </p:cNvPr>
          <p:cNvCxnSpPr>
            <a:cxnSpLocks/>
          </p:cNvCxnSpPr>
          <p:nvPr/>
        </p:nvCxnSpPr>
        <p:spPr>
          <a:xfrm>
            <a:off x="3475953" y="496"/>
            <a:ext cx="0" cy="7025446"/>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1" name="Group 10"/>
          <p:cNvGrpSpPr/>
          <p:nvPr/>
        </p:nvGrpSpPr>
        <p:grpSpPr>
          <a:xfrm>
            <a:off x="3475955" y="1703912"/>
            <a:ext cx="881334" cy="3577108"/>
            <a:chOff x="3407244" y="1670654"/>
            <a:chExt cx="896670" cy="3507287"/>
          </a:xfrm>
        </p:grpSpPr>
        <p:cxnSp>
          <p:nvCxnSpPr>
            <p:cNvPr id="33" name="Straight Connector 32">
              <a:extLst>
                <a:ext uri="{FF2B5EF4-FFF2-40B4-BE49-F238E27FC236}">
                  <a16:creationId xmlns:a16="http://schemas.microsoft.com/office/drawing/2014/main" id="{153D86BF-D60D-4D45-AD9A-B2638811C3FD}"/>
                </a:ext>
              </a:extLst>
            </p:cNvPr>
            <p:cNvCxnSpPr>
              <a:cxnSpLocks/>
            </p:cNvCxnSpPr>
            <p:nvPr/>
          </p:nvCxnSpPr>
          <p:spPr>
            <a:xfrm>
              <a:off x="3407244" y="1670654"/>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153D86BF-D60D-4D45-AD9A-B2638811C3FD}"/>
                </a:ext>
              </a:extLst>
            </p:cNvPr>
            <p:cNvCxnSpPr>
              <a:cxnSpLocks/>
            </p:cNvCxnSpPr>
            <p:nvPr/>
          </p:nvCxnSpPr>
          <p:spPr>
            <a:xfrm>
              <a:off x="3407244" y="5177941"/>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p:cNvGrpSpPr/>
          <p:nvPr/>
        </p:nvGrpSpPr>
        <p:grpSpPr>
          <a:xfrm>
            <a:off x="3589101" y="552272"/>
            <a:ext cx="653147" cy="653147"/>
            <a:chOff x="3521877" y="511997"/>
            <a:chExt cx="640398" cy="640398"/>
          </a:xfrm>
        </p:grpSpPr>
        <p:sp>
          <p:nvSpPr>
            <p:cNvPr id="34" name="Freeform 33"/>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1836">
                <a:solidFill>
                  <a:srgbClr val="505050"/>
                </a:solidFill>
                <a:latin typeface="Segoe UI"/>
              </a:endParaRPr>
            </a:p>
          </p:txBody>
        </p:sp>
        <p:sp>
          <p:nvSpPr>
            <p:cNvPr id="5" name="Oval 4"/>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a:off x="3570856" y="3214641"/>
            <a:ext cx="694628" cy="694628"/>
            <a:chOff x="3500293" y="3151895"/>
            <a:chExt cx="681070" cy="681070"/>
          </a:xfrm>
        </p:grpSpPr>
        <p:grpSp>
          <p:nvGrpSpPr>
            <p:cNvPr id="40" name="Group 39"/>
            <p:cNvGrpSpPr/>
            <p:nvPr/>
          </p:nvGrpSpPr>
          <p:grpSpPr>
            <a:xfrm>
              <a:off x="3607832" y="3353215"/>
              <a:ext cx="469102" cy="355120"/>
              <a:chOff x="3268663" y="4287838"/>
              <a:chExt cx="4351337" cy="3294062"/>
            </a:xfrm>
            <a:solidFill>
              <a:schemeClr val="bg1"/>
            </a:solidFill>
          </p:grpSpPr>
          <p:sp>
            <p:nvSpPr>
              <p:cNvPr id="41"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42"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7" name="Oval 6"/>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1" name="Group 50"/>
          <p:cNvGrpSpPr/>
          <p:nvPr/>
        </p:nvGrpSpPr>
        <p:grpSpPr>
          <a:xfrm>
            <a:off x="3657194" y="5911502"/>
            <a:ext cx="531439" cy="398847"/>
            <a:chOff x="2724150" y="20638"/>
            <a:chExt cx="4695825" cy="3524250"/>
          </a:xfrm>
          <a:solidFill>
            <a:schemeClr val="bg1"/>
          </a:solidFill>
        </p:grpSpPr>
        <p:sp>
          <p:nvSpPr>
            <p:cNvPr id="52"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3"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5"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44" name="Group 43">
            <a:extLst>
              <a:ext uri="{FF2B5EF4-FFF2-40B4-BE49-F238E27FC236}">
                <a16:creationId xmlns:a16="http://schemas.microsoft.com/office/drawing/2014/main" id="{61249D4F-2BF9-4EDD-A8F1-E113D4AF9FA9}"/>
              </a:ext>
            </a:extLst>
          </p:cNvPr>
          <p:cNvGrpSpPr>
            <a:grpSpLocks noChangeAspect="1"/>
          </p:cNvGrpSpPr>
          <p:nvPr/>
        </p:nvGrpSpPr>
        <p:grpSpPr>
          <a:xfrm>
            <a:off x="11727414" y="579191"/>
            <a:ext cx="440225" cy="559562"/>
            <a:chOff x="2173288" y="115909"/>
            <a:chExt cx="5797550" cy="7369175"/>
          </a:xfrm>
          <a:solidFill>
            <a:srgbClr val="FFFFFF"/>
          </a:solidFill>
        </p:grpSpPr>
        <p:sp>
          <p:nvSpPr>
            <p:cNvPr id="46"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dirty="0">
                <a:solidFill>
                  <a:srgbClr val="FFFFFF"/>
                </a:solidFill>
                <a:latin typeface="Segoe UI"/>
              </a:endParaRPr>
            </a:p>
          </p:txBody>
        </p:sp>
        <p:sp>
          <p:nvSpPr>
            <p:cNvPr id="47"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sp>
          <p:nvSpPr>
            <p:cNvPr id="48"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gr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88535" y="3080860"/>
            <a:ext cx="2423077" cy="853076"/>
          </a:xfrm>
          <a:prstGeom prst="rect">
            <a:avLst/>
          </a:prstGeom>
        </p:spPr>
      </p:pic>
    </p:spTree>
    <p:extLst>
      <p:ext uri="{BB962C8B-B14F-4D97-AF65-F5344CB8AC3E}">
        <p14:creationId xmlns:p14="http://schemas.microsoft.com/office/powerpoint/2010/main" val="947833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Virtual Networking Services</a:t>
            </a:r>
          </a:p>
        </p:txBody>
      </p:sp>
      <p:pic>
        <p:nvPicPr>
          <p:cNvPr id="7" name="Picture Placeholder 6" descr="A picture containing scene, road, way&#10;&#10;Description generated with high confidence">
            <a:extLst>
              <a:ext uri="{FF2B5EF4-FFF2-40B4-BE49-F238E27FC236}">
                <a16:creationId xmlns:a16="http://schemas.microsoft.com/office/drawing/2014/main" id="{D947569C-CE1F-4E92-9DEA-5AB95DAE6F76}"/>
              </a:ext>
            </a:extLst>
          </p:cNvPr>
          <p:cNvPicPr>
            <a:picLocks noGrp="1" noChangeAspect="1"/>
          </p:cNvPicPr>
          <p:nvPr>
            <p:ph type="pic" sz="quarter" idx="10"/>
          </p:nvPr>
        </p:nvPicPr>
        <p:blipFill>
          <a:blip r:embed="rId3"/>
          <a:srcRect l="27775" r="27775"/>
          <a:stretch>
            <a:fillRect/>
          </a:stretch>
        </p:blipFill>
        <p:spPr/>
      </p:pic>
    </p:spTree>
    <p:extLst>
      <p:ext uri="{BB962C8B-B14F-4D97-AF65-F5344CB8AC3E}">
        <p14:creationId xmlns:p14="http://schemas.microsoft.com/office/powerpoint/2010/main" val="989712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361404"/>
            <a:ext cx="11449272" cy="538104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505420"/>
            <a:ext cx="4392488" cy="4955203"/>
          </a:xfrm>
        </p:spPr>
        <p:txBody>
          <a:bodyPr/>
          <a:lstStyle/>
          <a:p>
            <a:pPr marL="0" indent="0">
              <a:spcAft>
                <a:spcPts val="1800"/>
              </a:spcAft>
              <a:buNone/>
            </a:pPr>
            <a:r>
              <a:rPr lang="en-GB" sz="2000" b="1">
                <a:latin typeface="+mn-lt"/>
                <a:cs typeface="Segoe UI Light" panose="020B0502040204020203" pitchFamily="34" charset="0"/>
              </a:rPr>
              <a:t>VNET</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Secure IPv4 / IPv6 private network</a:t>
            </a:r>
          </a:p>
          <a:p>
            <a:pPr marL="0" indent="0">
              <a:spcAft>
                <a:spcPts val="1800"/>
              </a:spcAft>
              <a:buNone/>
            </a:pPr>
            <a:r>
              <a:rPr lang="en-GB" sz="2000" b="1">
                <a:latin typeface="+mn-lt"/>
                <a:cs typeface="Segoe UI Light" panose="020B0502040204020203" pitchFamily="34" charset="0"/>
              </a:rPr>
              <a:t>NIC</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Network interface </a:t>
            </a:r>
            <a:br>
              <a:rPr lang="en-GB" sz="2000">
                <a:solidFill>
                  <a:schemeClr val="tx1"/>
                </a:solidFill>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with up to 25Gps throughput)</a:t>
            </a:r>
          </a:p>
          <a:p>
            <a:pPr marL="0" indent="0">
              <a:spcAft>
                <a:spcPts val="1800"/>
              </a:spcAft>
              <a:buNone/>
            </a:pPr>
            <a:r>
              <a:rPr lang="en-GB" sz="2000" b="1">
                <a:latin typeface="+mn-lt"/>
                <a:cs typeface="Segoe UI Light" panose="020B0502040204020203" pitchFamily="34" charset="0"/>
              </a:rPr>
              <a:t>Network Security Groups</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Firewall and ACL</a:t>
            </a:r>
            <a:br>
              <a:rPr lang="en-GB" sz="2000">
                <a:solidFill>
                  <a:schemeClr val="tx1"/>
                </a:solidFill>
                <a:latin typeface="Segoe UI Light" panose="020B0502040204020203" pitchFamily="34" charset="0"/>
                <a:cs typeface="Segoe UI Light" panose="020B0502040204020203" pitchFamily="34" charset="0"/>
              </a:rPr>
            </a:br>
            <a:endParaRPr lang="en-GB" sz="2000">
              <a:solidFill>
                <a:schemeClr val="tx1"/>
              </a:solidFill>
              <a:latin typeface="Segoe UI Light" panose="020B0502040204020203" pitchFamily="34" charset="0"/>
              <a:cs typeface="Segoe UI Light" panose="020B0502040204020203" pitchFamily="34" charset="0"/>
            </a:endParaRPr>
          </a:p>
          <a:p>
            <a:pPr marL="0" indent="0">
              <a:spcAft>
                <a:spcPts val="1800"/>
              </a:spcAft>
              <a:buNone/>
            </a:pPr>
            <a:r>
              <a:rPr lang="en-GB" sz="2000" b="1">
                <a:latin typeface="+mn-lt"/>
                <a:cs typeface="Segoe UI Light" panose="020B0502040204020203" pitchFamily="34" charset="0"/>
              </a:rPr>
              <a:t>Load Balancer</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Layer 4 load balancer with flexible NAT &amp; rules</a:t>
            </a:r>
          </a:p>
          <a:p>
            <a:pPr marL="0" indent="0">
              <a:spcAft>
                <a:spcPts val="1800"/>
              </a:spcAft>
              <a:buNone/>
            </a:pPr>
            <a:r>
              <a:rPr lang="en-GB" sz="2000" b="1">
                <a:latin typeface="+mn-lt"/>
              </a:rPr>
              <a:t>VPN Gateway</a:t>
            </a:r>
            <a:br>
              <a:rPr lang="en-GB" sz="2000"/>
            </a:br>
            <a:r>
              <a:rPr lang="en-GB" sz="2000"/>
              <a:t>Site to Site IPsec VPN tunnels</a:t>
            </a:r>
            <a:endParaRPr lang="en-GB" sz="200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GB"/>
              <a:t>Azure Networking – Core Services</a:t>
            </a:r>
          </a:p>
        </p:txBody>
      </p:sp>
      <p:pic>
        <p:nvPicPr>
          <p:cNvPr id="4" name="Picture 3"/>
          <p:cNvPicPr>
            <a:picLocks noChangeAspect="1"/>
          </p:cNvPicPr>
          <p:nvPr/>
        </p:nvPicPr>
        <p:blipFill>
          <a:blip r:embed="rId3"/>
          <a:stretch>
            <a:fillRect/>
          </a:stretch>
        </p:blipFill>
        <p:spPr>
          <a:xfrm>
            <a:off x="960920" y="1590611"/>
            <a:ext cx="576000" cy="576000"/>
          </a:xfrm>
          <a:prstGeom prst="rect">
            <a:avLst/>
          </a:prstGeom>
        </p:spPr>
      </p:pic>
      <p:pic>
        <p:nvPicPr>
          <p:cNvPr id="5" name="Picture 4"/>
          <p:cNvPicPr>
            <a:picLocks noChangeAspect="1"/>
          </p:cNvPicPr>
          <p:nvPr/>
        </p:nvPicPr>
        <p:blipFill>
          <a:blip r:embed="rId4"/>
          <a:stretch>
            <a:fillRect/>
          </a:stretch>
        </p:blipFill>
        <p:spPr>
          <a:xfrm>
            <a:off x="960920" y="3641757"/>
            <a:ext cx="576000" cy="576000"/>
          </a:xfrm>
          <a:prstGeom prst="rect">
            <a:avLst/>
          </a:prstGeom>
        </p:spPr>
      </p:pic>
      <p:pic>
        <p:nvPicPr>
          <p:cNvPr id="6" name="Picture 5"/>
          <p:cNvPicPr>
            <a:picLocks noChangeAspect="1"/>
          </p:cNvPicPr>
          <p:nvPr/>
        </p:nvPicPr>
        <p:blipFill>
          <a:blip r:embed="rId5"/>
          <a:stretch>
            <a:fillRect/>
          </a:stretch>
        </p:blipFill>
        <p:spPr>
          <a:xfrm>
            <a:off x="960920" y="4736981"/>
            <a:ext cx="576000" cy="576000"/>
          </a:xfrm>
          <a:prstGeom prst="rect">
            <a:avLst/>
          </a:prstGeom>
        </p:spPr>
      </p:pic>
      <p:pic>
        <p:nvPicPr>
          <p:cNvPr id="13" name="Picture 12"/>
          <p:cNvPicPr>
            <a:picLocks noChangeAspect="1"/>
          </p:cNvPicPr>
          <p:nvPr/>
        </p:nvPicPr>
        <p:blipFill>
          <a:blip r:embed="rId6"/>
          <a:stretch>
            <a:fillRect/>
          </a:stretch>
        </p:blipFill>
        <p:spPr>
          <a:xfrm>
            <a:off x="990904" y="2605876"/>
            <a:ext cx="492186" cy="492186"/>
          </a:xfrm>
          <a:prstGeom prst="rect">
            <a:avLst/>
          </a:prstGeom>
        </p:spPr>
      </p:pic>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505420"/>
            <a:ext cx="4824536" cy="5232202"/>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a:t>Application Gateway</a:t>
            </a:r>
            <a:br>
              <a:rPr lang="en-GB"/>
            </a:br>
            <a:r>
              <a:rPr lang="en-GB">
                <a:latin typeface="+mj-lt"/>
              </a:rPr>
              <a:t>Layer 7 LB with SSL offloading &amp; affinity rules</a:t>
            </a:r>
          </a:p>
          <a:p>
            <a:r>
              <a:rPr lang="en-GB"/>
              <a:t>Traffic Manager</a:t>
            </a:r>
            <a:br>
              <a:rPr lang="en-GB"/>
            </a:br>
            <a:r>
              <a:rPr lang="en-GB">
                <a:latin typeface="+mj-lt"/>
              </a:rPr>
              <a:t>Globally distribute load across regions </a:t>
            </a:r>
          </a:p>
          <a:p>
            <a:br>
              <a:rPr lang="en-GB">
                <a:latin typeface="+mj-lt"/>
              </a:rPr>
            </a:br>
            <a:r>
              <a:rPr lang="en-GB"/>
              <a:t>Azure CDN</a:t>
            </a:r>
            <a:br>
              <a:rPr lang="en-GB"/>
            </a:br>
            <a:r>
              <a:rPr lang="en-GB">
                <a:latin typeface="+mj-lt"/>
              </a:rPr>
              <a:t>Scalable content caching from </a:t>
            </a:r>
            <a:r>
              <a:rPr lang="en-GB" err="1">
                <a:latin typeface="+mj-lt"/>
              </a:rPr>
              <a:t>Akami</a:t>
            </a:r>
            <a:r>
              <a:rPr lang="en-GB">
                <a:latin typeface="+mj-lt"/>
              </a:rPr>
              <a:t> &amp; Verizon</a:t>
            </a:r>
          </a:p>
          <a:p>
            <a:r>
              <a:rPr lang="en-GB"/>
              <a:t>Azure DNS</a:t>
            </a:r>
            <a:br>
              <a:rPr lang="en-GB"/>
            </a:br>
            <a:r>
              <a:rPr lang="en-GB">
                <a:latin typeface="+mj-lt"/>
              </a:rPr>
              <a:t>Name servers &amp; manageable DNS zones</a:t>
            </a:r>
          </a:p>
          <a:p>
            <a:r>
              <a:rPr lang="en-GB"/>
              <a:t>Express Route</a:t>
            </a:r>
            <a:br>
              <a:rPr lang="en-GB"/>
            </a:br>
            <a:r>
              <a:rPr lang="en-GB">
                <a:latin typeface="+mj-lt"/>
              </a:rPr>
              <a:t>Private L3 provider connection </a:t>
            </a:r>
            <a:br>
              <a:rPr lang="en-GB">
                <a:latin typeface="+mj-lt"/>
              </a:rPr>
            </a:br>
            <a:r>
              <a:rPr lang="en-GB">
                <a:latin typeface="+mj-lt"/>
              </a:rPr>
              <a:t>into Azure </a:t>
            </a:r>
            <a:r>
              <a:rPr lang="en-GB" err="1">
                <a:latin typeface="+mj-lt"/>
              </a:rPr>
              <a:t>datacenters</a:t>
            </a:r>
            <a:endParaRPr lang="en-GB">
              <a:latin typeface="+mj-lt"/>
            </a:endParaRPr>
          </a:p>
        </p:txBody>
      </p:sp>
      <p:pic>
        <p:nvPicPr>
          <p:cNvPr id="9" name="Picture 8">
            <a:extLst>
              <a:ext uri="{FF2B5EF4-FFF2-40B4-BE49-F238E27FC236}">
                <a16:creationId xmlns:a16="http://schemas.microsoft.com/office/drawing/2014/main" id="{58E00D3F-EDCE-445B-8BC2-3F3065535045}"/>
              </a:ext>
            </a:extLst>
          </p:cNvPr>
          <p:cNvPicPr>
            <a:picLocks noChangeAspect="1"/>
          </p:cNvPicPr>
          <p:nvPr/>
        </p:nvPicPr>
        <p:blipFill>
          <a:blip r:embed="rId7"/>
          <a:stretch>
            <a:fillRect/>
          </a:stretch>
        </p:blipFill>
        <p:spPr>
          <a:xfrm>
            <a:off x="6069439" y="1631346"/>
            <a:ext cx="576000" cy="576000"/>
          </a:xfrm>
          <a:prstGeom prst="rect">
            <a:avLst/>
          </a:prstGeom>
        </p:spPr>
      </p:pic>
      <p:pic>
        <p:nvPicPr>
          <p:cNvPr id="10" name="Picture 9">
            <a:extLst>
              <a:ext uri="{FF2B5EF4-FFF2-40B4-BE49-F238E27FC236}">
                <a16:creationId xmlns:a16="http://schemas.microsoft.com/office/drawing/2014/main" id="{6608B730-A35F-4332-80C4-B07CA56C6E26}"/>
              </a:ext>
            </a:extLst>
          </p:cNvPr>
          <p:cNvPicPr>
            <a:picLocks noChangeAspect="1"/>
          </p:cNvPicPr>
          <p:nvPr/>
        </p:nvPicPr>
        <p:blipFill>
          <a:blip r:embed="rId8"/>
          <a:stretch>
            <a:fillRect/>
          </a:stretch>
        </p:blipFill>
        <p:spPr>
          <a:xfrm>
            <a:off x="6069439" y="2721569"/>
            <a:ext cx="556393" cy="556393"/>
          </a:xfrm>
          <a:prstGeom prst="rect">
            <a:avLst/>
          </a:prstGeom>
        </p:spPr>
      </p:pic>
      <p:pic>
        <p:nvPicPr>
          <p:cNvPr id="11" name="Picture 10">
            <a:extLst>
              <a:ext uri="{FF2B5EF4-FFF2-40B4-BE49-F238E27FC236}">
                <a16:creationId xmlns:a16="http://schemas.microsoft.com/office/drawing/2014/main" id="{9D236B0B-495E-45A5-AE8E-34A7B740500D}"/>
              </a:ext>
            </a:extLst>
          </p:cNvPr>
          <p:cNvPicPr>
            <a:picLocks noChangeAspect="1"/>
          </p:cNvPicPr>
          <p:nvPr/>
        </p:nvPicPr>
        <p:blipFill>
          <a:blip r:embed="rId9"/>
          <a:stretch>
            <a:fillRect/>
          </a:stretch>
        </p:blipFill>
        <p:spPr>
          <a:xfrm>
            <a:off x="6049832" y="3894931"/>
            <a:ext cx="576000" cy="576000"/>
          </a:xfrm>
          <a:prstGeom prst="rect">
            <a:avLst/>
          </a:prstGeom>
        </p:spPr>
      </p:pic>
      <p:pic>
        <p:nvPicPr>
          <p:cNvPr id="12" name="Picture 11">
            <a:extLst>
              <a:ext uri="{FF2B5EF4-FFF2-40B4-BE49-F238E27FC236}">
                <a16:creationId xmlns:a16="http://schemas.microsoft.com/office/drawing/2014/main" id="{31723053-1DD1-4C1D-B660-5AF2C10E43E2}"/>
              </a:ext>
            </a:extLst>
          </p:cNvPr>
          <p:cNvPicPr>
            <a:picLocks noChangeAspect="1"/>
          </p:cNvPicPr>
          <p:nvPr/>
        </p:nvPicPr>
        <p:blipFill>
          <a:blip r:embed="rId10"/>
          <a:stretch>
            <a:fillRect/>
          </a:stretch>
        </p:blipFill>
        <p:spPr>
          <a:xfrm>
            <a:off x="6069439" y="4915342"/>
            <a:ext cx="576000" cy="576000"/>
          </a:xfrm>
          <a:prstGeom prst="rect">
            <a:avLst/>
          </a:prstGeom>
        </p:spPr>
      </p:pic>
      <p:pic>
        <p:nvPicPr>
          <p:cNvPr id="15" name="Picture 14">
            <a:extLst>
              <a:ext uri="{FF2B5EF4-FFF2-40B4-BE49-F238E27FC236}">
                <a16:creationId xmlns:a16="http://schemas.microsoft.com/office/drawing/2014/main" id="{A2160193-6070-4FDD-83E6-3E463652F334}"/>
              </a:ext>
            </a:extLst>
          </p:cNvPr>
          <p:cNvPicPr>
            <a:picLocks noChangeAspect="1"/>
          </p:cNvPicPr>
          <p:nvPr/>
        </p:nvPicPr>
        <p:blipFill>
          <a:blip r:embed="rId11"/>
          <a:stretch>
            <a:fillRect/>
          </a:stretch>
        </p:blipFill>
        <p:spPr>
          <a:xfrm>
            <a:off x="966533" y="5751646"/>
            <a:ext cx="561013" cy="561013"/>
          </a:xfrm>
          <a:prstGeom prst="rect">
            <a:avLst/>
          </a:prstGeom>
        </p:spPr>
      </p:pic>
      <p:pic>
        <p:nvPicPr>
          <p:cNvPr id="22" name="Graphic 21">
            <a:extLst>
              <a:ext uri="{FF2B5EF4-FFF2-40B4-BE49-F238E27FC236}">
                <a16:creationId xmlns:a16="http://schemas.microsoft.com/office/drawing/2014/main" id="{328BCA80-FDAB-4E79-B3AB-ED191766BB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43122" y="5911091"/>
            <a:ext cx="628633" cy="628633"/>
          </a:xfrm>
          <a:prstGeom prst="rect">
            <a:avLst/>
          </a:prstGeom>
        </p:spPr>
      </p:pic>
    </p:spTree>
    <p:extLst>
      <p:ext uri="{BB962C8B-B14F-4D97-AF65-F5344CB8AC3E}">
        <p14:creationId xmlns:p14="http://schemas.microsoft.com/office/powerpoint/2010/main" val="996514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29017" y="-464870"/>
            <a:ext cx="487464" cy="865480"/>
            <a:chOff x="749671" y="1272712"/>
            <a:chExt cx="477949" cy="848587"/>
          </a:xfrm>
        </p:grpSpPr>
        <p:grpSp>
          <p:nvGrpSpPr>
            <p:cNvPr id="37" name="Group 135"/>
            <p:cNvGrpSpPr>
              <a:grpSpLocks noChangeAspect="1"/>
            </p:cNvGrpSpPr>
            <p:nvPr/>
          </p:nvGrpSpPr>
          <p:grpSpPr bwMode="auto">
            <a:xfrm>
              <a:off x="860163" y="1548571"/>
              <a:ext cx="273312" cy="331910"/>
              <a:chOff x="3828" y="2131"/>
              <a:chExt cx="237" cy="419"/>
            </a:xfrm>
            <a:solidFill>
              <a:srgbClr val="001F50"/>
            </a:solidFill>
          </p:grpSpPr>
          <p:sp>
            <p:nvSpPr>
              <p:cNvPr id="3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0"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1"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2"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38"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3" name="Group 42"/>
          <p:cNvGrpSpPr/>
          <p:nvPr/>
        </p:nvGrpSpPr>
        <p:grpSpPr>
          <a:xfrm>
            <a:off x="704202" y="-1091321"/>
            <a:ext cx="989344" cy="811944"/>
            <a:chOff x="2657475" y="611188"/>
            <a:chExt cx="1611313" cy="1322388"/>
          </a:xfrm>
        </p:grpSpPr>
        <p:sp>
          <p:nvSpPr>
            <p:cNvPr id="44"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8" name="Group 47"/>
          <p:cNvGrpSpPr/>
          <p:nvPr/>
        </p:nvGrpSpPr>
        <p:grpSpPr>
          <a:xfrm>
            <a:off x="5062299" y="-1265165"/>
            <a:ext cx="997367" cy="997366"/>
            <a:chOff x="6461125" y="374650"/>
            <a:chExt cx="1751013" cy="1751012"/>
          </a:xfrm>
        </p:grpSpPr>
        <p:sp>
          <p:nvSpPr>
            <p:cNvPr id="49"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51" name="Freeform 21"/>
          <p:cNvSpPr>
            <a:spLocks noEditPoints="1"/>
          </p:cNvSpPr>
          <p:nvPr/>
        </p:nvSpPr>
        <p:spPr bwMode="auto">
          <a:xfrm>
            <a:off x="8521160" y="-975784"/>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52" name="Group 51"/>
          <p:cNvGrpSpPr/>
          <p:nvPr/>
        </p:nvGrpSpPr>
        <p:grpSpPr>
          <a:xfrm>
            <a:off x="12794778" y="1302201"/>
            <a:ext cx="739544" cy="580354"/>
            <a:chOff x="8963025" y="-1204913"/>
            <a:chExt cx="1873251" cy="1470026"/>
          </a:xfrm>
          <a:solidFill>
            <a:srgbClr val="001F50"/>
          </a:solidFill>
        </p:grpSpPr>
        <p:sp>
          <p:nvSpPr>
            <p:cNvPr id="53"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5"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6"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7"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0"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1" name="Group 60"/>
          <p:cNvGrpSpPr/>
          <p:nvPr/>
        </p:nvGrpSpPr>
        <p:grpSpPr>
          <a:xfrm>
            <a:off x="10575511" y="-1171769"/>
            <a:ext cx="887125" cy="936773"/>
            <a:chOff x="8907463" y="388938"/>
            <a:chExt cx="1503363" cy="1587500"/>
          </a:xfrm>
          <a:solidFill>
            <a:srgbClr val="001F50"/>
          </a:solidFill>
        </p:grpSpPr>
        <p:sp>
          <p:nvSpPr>
            <p:cNvPr id="62"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3"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4"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6" name="Group 65"/>
          <p:cNvGrpSpPr/>
          <p:nvPr/>
        </p:nvGrpSpPr>
        <p:grpSpPr>
          <a:xfrm>
            <a:off x="-1114634" y="7097854"/>
            <a:ext cx="796618" cy="490528"/>
            <a:chOff x="2960687" y="4940300"/>
            <a:chExt cx="1611314" cy="992187"/>
          </a:xfrm>
          <a:solidFill>
            <a:srgbClr val="001F50"/>
          </a:solidFill>
        </p:grpSpPr>
        <p:sp>
          <p:nvSpPr>
            <p:cNvPr id="67"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2"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3"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4"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5"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6"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7"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8" name="Freeform 56"/>
          <p:cNvSpPr>
            <a:spLocks noEditPoints="1"/>
          </p:cNvSpPr>
          <p:nvPr/>
        </p:nvSpPr>
        <p:spPr bwMode="auto">
          <a:xfrm>
            <a:off x="4637705" y="7257172"/>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9" name="Group 78"/>
          <p:cNvGrpSpPr/>
          <p:nvPr/>
        </p:nvGrpSpPr>
        <p:grpSpPr>
          <a:xfrm>
            <a:off x="12042830" y="7227676"/>
            <a:ext cx="1031315" cy="702106"/>
            <a:chOff x="10160000" y="4967288"/>
            <a:chExt cx="1611313" cy="1096962"/>
          </a:xfrm>
        </p:grpSpPr>
        <p:sp>
          <p:nvSpPr>
            <p:cNvPr id="80"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1"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547538"/>
            <a:ext cx="219393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ngage your customers</a:t>
            </a:r>
          </a:p>
        </p:txBody>
      </p:sp>
      <p:sp>
        <p:nvSpPr>
          <p:cNvPr id="71" name="empower"/>
          <p:cNvSpPr/>
          <p:nvPr/>
        </p:nvSpPr>
        <p:spPr bwMode="auto">
          <a:xfrm>
            <a:off x="1315005" y="4760638"/>
            <a:ext cx="256407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mpower your employees</a:t>
            </a:r>
          </a:p>
        </p:txBody>
      </p:sp>
      <p:sp>
        <p:nvSpPr>
          <p:cNvPr id="70" name="optimize"/>
          <p:cNvSpPr/>
          <p:nvPr/>
        </p:nvSpPr>
        <p:spPr bwMode="auto">
          <a:xfrm>
            <a:off x="8099682" y="4760638"/>
            <a:ext cx="261328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Optimize your operations</a:t>
            </a:r>
          </a:p>
        </p:txBody>
      </p:sp>
      <p:sp>
        <p:nvSpPr>
          <p:cNvPr id="68" name="transform"/>
          <p:cNvSpPr/>
          <p:nvPr/>
        </p:nvSpPr>
        <p:spPr bwMode="auto">
          <a:xfrm>
            <a:off x="8238877" y="1547538"/>
            <a:ext cx="2367185"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Virtual Network</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16982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Private network address space(s)</a:t>
            </a:r>
          </a:p>
          <a:p>
            <a:pPr marL="285750" indent="-285750">
              <a:spcAft>
                <a:spcPts val="600"/>
              </a:spcAft>
              <a:buFont typeface="Arial" panose="020B0604020202020204" pitchFamily="34" charset="0"/>
              <a:buChar char="•"/>
            </a:pPr>
            <a:r>
              <a:rPr lang="en-GB" sz="2000"/>
              <a:t>Dedicated to the subscription</a:t>
            </a:r>
          </a:p>
          <a:p>
            <a:pPr marL="285750" indent="-285750">
              <a:spcAft>
                <a:spcPts val="600"/>
              </a:spcAft>
              <a:buFont typeface="Arial" panose="020B0604020202020204" pitchFamily="34" charset="0"/>
              <a:buChar char="•"/>
            </a:pPr>
            <a:r>
              <a:rPr lang="en-GB" sz="2000"/>
              <a:t>Isolated</a:t>
            </a:r>
          </a:p>
          <a:p>
            <a:pPr marL="285750" indent="-285750">
              <a:spcAft>
                <a:spcPts val="600"/>
              </a:spcAft>
              <a:buFont typeface="Arial" panose="020B0604020202020204" pitchFamily="34" charset="0"/>
              <a:buChar char="•"/>
            </a:pPr>
            <a:r>
              <a:rPr lang="en-GB" sz="2000"/>
              <a:t>CIDR notation</a:t>
            </a:r>
          </a:p>
        </p:txBody>
      </p:sp>
      <p:sp>
        <p:nvSpPr>
          <p:cNvPr id="10" name="TextBox 9">
            <a:extLst>
              <a:ext uri="{FF2B5EF4-FFF2-40B4-BE49-F238E27FC236}">
                <a16:creationId xmlns:a16="http://schemas.microsoft.com/office/drawing/2014/main" id="{49619E7B-1D00-43B7-BAAC-E2C49992DF82}"/>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7" name="TextBox 6">
            <a:extLst>
              <a:ext uri="{FF2B5EF4-FFF2-40B4-BE49-F238E27FC236}">
                <a16:creationId xmlns:a16="http://schemas.microsoft.com/office/drawing/2014/main" id="{F623520A-1A7C-419A-8DF0-7EC6204FCF5B}"/>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Tree>
    <p:extLst>
      <p:ext uri="{BB962C8B-B14F-4D97-AF65-F5344CB8AC3E}">
        <p14:creationId xmlns:p14="http://schemas.microsoft.com/office/powerpoint/2010/main" val="4163426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10" presetClass="entr" presetSubtype="0" fill="hold" nodeType="withEffect">
                                  <p:stCondLst>
                                    <p:cond delay="1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fade">
                                      <p:cBhvr>
                                        <p:cTn id="21" dur="500"/>
                                        <p:tgtEl>
                                          <p:spTgt spid="9">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1" end="1"/>
                                            </p:txEl>
                                          </p:spTgt>
                                        </p:tgtEl>
                                        <p:attrNameLst>
                                          <p:attrName>style.visibility</p:attrName>
                                        </p:attrNameLst>
                                      </p:cBhvr>
                                      <p:to>
                                        <p:strVal val="visible"/>
                                      </p:to>
                                    </p:set>
                                    <p:animEffect transition="in" filter="fade">
                                      <p:cBhvr>
                                        <p:cTn id="24" dur="500"/>
                                        <p:tgtEl>
                                          <p:spTgt spid="9">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2" end="2"/>
                                            </p:txEl>
                                          </p:spTgt>
                                        </p:tgtEl>
                                        <p:attrNameLst>
                                          <p:attrName>style.visibility</p:attrName>
                                        </p:attrNameLst>
                                      </p:cBhvr>
                                      <p:to>
                                        <p:strVal val="visible"/>
                                      </p:to>
                                    </p:set>
                                    <p:animEffect transition="in" filter="fade">
                                      <p:cBhvr>
                                        <p:cTn id="27" dur="500"/>
                                        <p:tgtEl>
                                          <p:spTgt spid="9">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build="allAtOnce"/>
      <p:bldP spid="10"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Subnet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347787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ubnets within the vNet address space </a:t>
            </a:r>
          </a:p>
          <a:p>
            <a:pPr marL="285750" indent="-285750">
              <a:spcAft>
                <a:spcPts val="600"/>
              </a:spcAft>
              <a:buFont typeface="Arial" panose="020B0604020202020204" pitchFamily="34" charset="0"/>
              <a:buChar char="•"/>
            </a:pPr>
            <a:r>
              <a:rPr lang="en-GB" sz="2000"/>
              <a:t>Non-overlapping</a:t>
            </a:r>
          </a:p>
          <a:p>
            <a:pPr marL="285750" indent="-285750">
              <a:spcAft>
                <a:spcPts val="600"/>
              </a:spcAft>
              <a:buFont typeface="Arial" panose="020B0604020202020204" pitchFamily="34" charset="0"/>
              <a:buChar char="•"/>
            </a:pPr>
            <a:r>
              <a:rPr lang="en-GB" sz="2000"/>
              <a:t>Do not need to be contiguous</a:t>
            </a:r>
          </a:p>
          <a:p>
            <a:pPr marL="285750" indent="-285750">
              <a:spcAft>
                <a:spcPts val="600"/>
              </a:spcAft>
              <a:buFont typeface="Arial" panose="020B0604020202020204" pitchFamily="34" charset="0"/>
              <a:buChar char="•"/>
            </a:pPr>
            <a:r>
              <a:rPr lang="en-GB" sz="2000"/>
              <a:t>Automatic route table between subnets</a:t>
            </a:r>
          </a:p>
          <a:p>
            <a:pPr marL="285750" indent="-285750">
              <a:spcAft>
                <a:spcPts val="600"/>
              </a:spcAft>
              <a:buFont typeface="Arial" panose="020B0604020202020204" pitchFamily="34" charset="0"/>
              <a:buChar char="•"/>
            </a:pPr>
            <a:r>
              <a:rPr lang="en-GB" sz="2000"/>
              <a:t>Default route out to internet</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73386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2000"/>
                                        <p:tgtEl>
                                          <p:spTgt spid="10"/>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3000"/>
                            </p:stCondLst>
                            <p:childTnLst>
                              <p:par>
                                <p:cTn id="17" presetID="21" presetClass="entr" presetSubtype="1"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heel(1)">
                                      <p:cBhvr>
                                        <p:cTn id="19" dur="2000"/>
                                        <p:tgtEl>
                                          <p:spTgt spid="8"/>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p:bldP spid="12" grpId="0"/>
      <p:bldP spid="14" grpId="0"/>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etwork Security Grou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440120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Layer 4 security rules</a:t>
            </a:r>
          </a:p>
          <a:p>
            <a:pPr marL="285750" indent="-285750">
              <a:spcAft>
                <a:spcPts val="600"/>
              </a:spcAft>
              <a:buFont typeface="Arial" panose="020B0604020202020204" pitchFamily="34" charset="0"/>
              <a:buChar char="•"/>
            </a:pPr>
            <a:r>
              <a:rPr lang="en-GB" sz="2000"/>
              <a:t>Inbound &amp; outbound</a:t>
            </a:r>
          </a:p>
          <a:p>
            <a:pPr marL="285750" indent="-285750">
              <a:spcAft>
                <a:spcPts val="600"/>
              </a:spcAft>
              <a:buFont typeface="Arial" panose="020B0604020202020204" pitchFamily="34" charset="0"/>
              <a:buChar char="•"/>
            </a:pPr>
            <a:r>
              <a:rPr lang="en-GB" sz="2000"/>
              <a:t>Tuples – address, port, protocol</a:t>
            </a:r>
          </a:p>
          <a:p>
            <a:pPr marL="285750" indent="-285750">
              <a:spcAft>
                <a:spcPts val="600"/>
              </a:spcAft>
              <a:buFont typeface="Arial" panose="020B0604020202020204" pitchFamily="34" charset="0"/>
              <a:buChar char="•"/>
            </a:pPr>
            <a:r>
              <a:rPr lang="en-GB" sz="2000"/>
              <a:t>Subnets and NICs</a:t>
            </a:r>
          </a:p>
          <a:p>
            <a:pPr marL="285750" indent="-285750">
              <a:spcAft>
                <a:spcPts val="600"/>
              </a:spcAft>
              <a:buFont typeface="Arial" panose="020B0604020202020204" pitchFamily="34" charset="0"/>
              <a:buChar char="•"/>
            </a:pPr>
            <a:r>
              <a:rPr lang="en-GB" sz="2000"/>
              <a:t>Defaults</a:t>
            </a:r>
          </a:p>
          <a:p>
            <a:pPr marL="752121" lvl="1" indent="-285750">
              <a:spcAft>
                <a:spcPts val="600"/>
              </a:spcAft>
              <a:buFont typeface="Arial" panose="020B0604020202020204" pitchFamily="34" charset="0"/>
              <a:buChar char="•"/>
            </a:pPr>
            <a:r>
              <a:rPr lang="en-GB" sz="2000"/>
              <a:t>Within vNet</a:t>
            </a:r>
          </a:p>
          <a:p>
            <a:pPr marL="752121" lvl="1" indent="-285750">
              <a:spcAft>
                <a:spcPts val="600"/>
              </a:spcAft>
              <a:buFont typeface="Arial" panose="020B0604020202020204" pitchFamily="34" charset="0"/>
              <a:buChar char="•"/>
            </a:pPr>
            <a:r>
              <a:rPr lang="en-GB" sz="2000"/>
              <a:t>To the internet</a:t>
            </a:r>
          </a:p>
          <a:p>
            <a:pPr marL="752121" lvl="1" indent="-285750">
              <a:spcAft>
                <a:spcPts val="600"/>
              </a:spcAft>
              <a:buFont typeface="Arial" panose="020B0604020202020204" pitchFamily="34" charset="0"/>
              <a:buChar char="•"/>
            </a:pPr>
            <a:r>
              <a:rPr lang="en-GB" sz="2000"/>
              <a:t>Load balancer</a:t>
            </a:r>
          </a:p>
          <a:p>
            <a:pPr marL="752121" lvl="1" indent="-285750">
              <a:spcAft>
                <a:spcPts val="600"/>
              </a:spcAft>
              <a:buFont typeface="Arial" panose="020B0604020202020204" pitchFamily="34" charset="0"/>
              <a:buChar char="•"/>
            </a:pPr>
            <a:r>
              <a:rPr lang="en-GB" sz="2000"/>
              <a:t>RDP &amp; SSH</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Tree>
    <p:extLst>
      <p:ext uri="{BB962C8B-B14F-4D97-AF65-F5344CB8AC3E}">
        <p14:creationId xmlns:p14="http://schemas.microsoft.com/office/powerpoint/2010/main" val="2043587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2000"/>
                                        <p:tgtEl>
                                          <p:spTgt spid="17"/>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circle(out)">
                                      <p:cBhvr>
                                        <p:cTn id="11"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b="1" dirty="0">
                <a:solidFill>
                  <a:schemeClr val="tx1"/>
                </a:solidFill>
              </a:rPr>
              <a:t>Augmented Rules</a:t>
            </a:r>
            <a:endParaRPr lang="en-US" dirty="0"/>
          </a:p>
        </p:txBody>
      </p:sp>
      <p:sp>
        <p:nvSpPr>
          <p:cNvPr id="5" name="Text Placeholder 2">
            <a:extLst>
              <a:ext uri="{FF2B5EF4-FFF2-40B4-BE49-F238E27FC236}">
                <a16:creationId xmlns:a16="http://schemas.microsoft.com/office/drawing/2014/main" id="{F0792BFE-97AC-489E-A755-499637BA56A5}"/>
              </a:ext>
            </a:extLst>
          </p:cNvPr>
          <p:cNvSpPr>
            <a:spLocks noGrp="1"/>
          </p:cNvSpPr>
          <p:nvPr>
            <p:ph type="body" sz="quarter" idx="10"/>
          </p:nvPr>
        </p:nvSpPr>
        <p:spPr>
          <a:xfrm>
            <a:off x="29824" y="1122766"/>
            <a:ext cx="5971393" cy="5154744"/>
          </a:xfrm>
        </p:spPr>
        <p:txBody>
          <a:bodyPr/>
          <a:lstStyle/>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Simplified security definition for larger and more complex network security policies with fewer rules.</a:t>
            </a:r>
          </a:p>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Multiple source/destination IP ranges and multiple ports in a single rule to improve maintenance of network security policies.</a:t>
            </a:r>
          </a:p>
          <a:p>
            <a:endParaRPr lang="en-US" dirty="0"/>
          </a:p>
        </p:txBody>
      </p:sp>
      <p:pic>
        <p:nvPicPr>
          <p:cNvPr id="9" name="Picture 8">
            <a:extLst>
              <a:ext uri="{FF2B5EF4-FFF2-40B4-BE49-F238E27FC236}">
                <a16:creationId xmlns:a16="http://schemas.microsoft.com/office/drawing/2014/main" id="{E96BC392-7ABC-4DFC-B483-F143CAC612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1560" y="1370537"/>
            <a:ext cx="836061" cy="911168"/>
          </a:xfrm>
          <a:prstGeom prst="rect">
            <a:avLst/>
          </a:prstGeom>
        </p:spPr>
      </p:pic>
      <p:cxnSp>
        <p:nvCxnSpPr>
          <p:cNvPr id="10" name="Straight Connector 9">
            <a:extLst>
              <a:ext uri="{FF2B5EF4-FFF2-40B4-BE49-F238E27FC236}">
                <a16:creationId xmlns:a16="http://schemas.microsoft.com/office/drawing/2014/main" id="{43FEBEF3-A666-4E69-9277-0B3DB4EED286}"/>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11" name="Freeform: Shape 15">
            <a:extLst>
              <a:ext uri="{FF2B5EF4-FFF2-40B4-BE49-F238E27FC236}">
                <a16:creationId xmlns:a16="http://schemas.microsoft.com/office/drawing/2014/main" id="{CA9D3E5F-09C1-4B2B-BD9C-AC66D6D69D38}"/>
              </a:ext>
            </a:extLst>
          </p:cNvPr>
          <p:cNvSpPr/>
          <p:nvPr/>
        </p:nvSpPr>
        <p:spPr bwMode="auto">
          <a:xfrm>
            <a:off x="8575794" y="5861123"/>
            <a:ext cx="1430705" cy="825014"/>
          </a:xfrm>
          <a:custGeom>
            <a:avLst/>
            <a:gdLst>
              <a:gd name="connsiteX0" fmla="*/ 921462 w 2666999"/>
              <a:gd name="connsiteY0" fmla="*/ 0 h 1537922"/>
              <a:gd name="connsiteX1" fmla="*/ 1360789 w 2666999"/>
              <a:gd name="connsiteY1" fmla="*/ 181976 h 1537922"/>
              <a:gd name="connsiteX2" fmla="*/ 1425393 w 2666999"/>
              <a:gd name="connsiteY2" fmla="*/ 260276 h 1537922"/>
              <a:gd name="connsiteX3" fmla="*/ 1457522 w 2666999"/>
              <a:gd name="connsiteY3" fmla="*/ 233767 h 1537922"/>
              <a:gd name="connsiteX4" fmla="*/ 1733576 w 2666999"/>
              <a:gd name="connsiteY4" fmla="*/ 149444 h 1537922"/>
              <a:gd name="connsiteX5" fmla="*/ 2227315 w 2666999"/>
              <a:gd name="connsiteY5" fmla="*/ 643183 h 1537922"/>
              <a:gd name="connsiteX6" fmla="*/ 2224150 w 2666999"/>
              <a:gd name="connsiteY6" fmla="*/ 674580 h 1537922"/>
              <a:gd name="connsiteX7" fmla="*/ 2235328 w 2666999"/>
              <a:gd name="connsiteY7" fmla="*/ 674580 h 1537922"/>
              <a:gd name="connsiteX8" fmla="*/ 2666999 w 2666999"/>
              <a:gd name="connsiteY8" fmla="*/ 1106251 h 1537922"/>
              <a:gd name="connsiteX9" fmla="*/ 2235328 w 2666999"/>
              <a:gd name="connsiteY9" fmla="*/ 1537922 h 1537922"/>
              <a:gd name="connsiteX10" fmla="*/ 431671 w 2666999"/>
              <a:gd name="connsiteY10" fmla="*/ 1537922 h 1537922"/>
              <a:gd name="connsiteX11" fmla="*/ 0 w 2666999"/>
              <a:gd name="connsiteY11" fmla="*/ 1106251 h 1537922"/>
              <a:gd name="connsiteX12" fmla="*/ 263645 w 2666999"/>
              <a:gd name="connsiteY12" fmla="*/ 708503 h 1537922"/>
              <a:gd name="connsiteX13" fmla="*/ 307575 w 2666999"/>
              <a:gd name="connsiteY13" fmla="*/ 694867 h 1537922"/>
              <a:gd name="connsiteX14" fmla="*/ 300159 w 2666999"/>
              <a:gd name="connsiteY14" fmla="*/ 621303 h 1537922"/>
              <a:gd name="connsiteX15" fmla="*/ 921462 w 2666999"/>
              <a:gd name="connsiteY15" fmla="*/ 0 h 153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66999" h="1537922">
                <a:moveTo>
                  <a:pt x="921462" y="0"/>
                </a:moveTo>
                <a:cubicBezTo>
                  <a:pt x="1093030" y="0"/>
                  <a:pt x="1248356" y="69542"/>
                  <a:pt x="1360789" y="181976"/>
                </a:cubicBezTo>
                <a:lnTo>
                  <a:pt x="1425393" y="260276"/>
                </a:lnTo>
                <a:lnTo>
                  <a:pt x="1457522" y="233767"/>
                </a:lnTo>
                <a:cubicBezTo>
                  <a:pt x="1536323" y="180530"/>
                  <a:pt x="1631319" y="149444"/>
                  <a:pt x="1733576" y="149444"/>
                </a:cubicBezTo>
                <a:cubicBezTo>
                  <a:pt x="2006261" y="149444"/>
                  <a:pt x="2227315" y="370498"/>
                  <a:pt x="2227315" y="643183"/>
                </a:cubicBezTo>
                <a:lnTo>
                  <a:pt x="2224150" y="674580"/>
                </a:lnTo>
                <a:lnTo>
                  <a:pt x="2235328" y="674580"/>
                </a:lnTo>
                <a:cubicBezTo>
                  <a:pt x="2473733" y="674580"/>
                  <a:pt x="2666999" y="867846"/>
                  <a:pt x="2666999" y="1106251"/>
                </a:cubicBezTo>
                <a:cubicBezTo>
                  <a:pt x="2666999" y="1344656"/>
                  <a:pt x="2473733" y="1537922"/>
                  <a:pt x="2235328" y="1537922"/>
                </a:cubicBezTo>
                <a:lnTo>
                  <a:pt x="431671" y="1537922"/>
                </a:lnTo>
                <a:cubicBezTo>
                  <a:pt x="193266" y="1537922"/>
                  <a:pt x="0" y="1344656"/>
                  <a:pt x="0" y="1106251"/>
                </a:cubicBezTo>
                <a:cubicBezTo>
                  <a:pt x="0" y="927448"/>
                  <a:pt x="108712" y="774034"/>
                  <a:pt x="263645" y="708503"/>
                </a:cubicBezTo>
                <a:lnTo>
                  <a:pt x="307575" y="694867"/>
                </a:lnTo>
                <a:lnTo>
                  <a:pt x="300159" y="621303"/>
                </a:lnTo>
                <a:cubicBezTo>
                  <a:pt x="300159" y="278167"/>
                  <a:pt x="578326" y="0"/>
                  <a:pt x="921462" y="0"/>
                </a:cubicBezTo>
                <a:close/>
              </a:path>
            </a:pathLst>
          </a:custGeom>
          <a:noFill/>
          <a:ln w="317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268927" numCol="1" spcCol="0" rtlCol="0" fromWordArt="0" anchor="b" anchorCtr="0" forceAA="0" compatLnSpc="1">
            <a:prstTxWarp prst="textNoShape">
              <a:avLst/>
            </a:prstTxWarp>
            <a:noAutofit/>
          </a:bodyPr>
          <a:lstStyle/>
          <a:p>
            <a:pPr defTabSz="914367">
              <a:lnSpc>
                <a:spcPct val="90000"/>
              </a:lnSpc>
              <a:spcAft>
                <a:spcPts val="588"/>
              </a:spcAft>
              <a:defRPr/>
            </a:pPr>
            <a:endParaRPr lang="en-US" sz="2353" dirty="0">
              <a:gradFill>
                <a:gsLst>
                  <a:gs pos="2917">
                    <a:srgbClr val="353535"/>
                  </a:gs>
                  <a:gs pos="30000">
                    <a:srgbClr val="353535"/>
                  </a:gs>
                </a:gsLst>
                <a:lin ang="5400000" scaled="0"/>
              </a:gradFill>
              <a:latin typeface="Segoe UI Semilight"/>
            </a:endParaRPr>
          </a:p>
        </p:txBody>
      </p:sp>
      <p:cxnSp>
        <p:nvCxnSpPr>
          <p:cNvPr id="13" name="Connector: Elbow 17">
            <a:extLst>
              <a:ext uri="{FF2B5EF4-FFF2-40B4-BE49-F238E27FC236}">
                <a16:creationId xmlns:a16="http://schemas.microsoft.com/office/drawing/2014/main" id="{9829E475-EA78-4C3D-9C34-540743F8431B}"/>
              </a:ext>
            </a:extLst>
          </p:cNvPr>
          <p:cNvCxnSpPr>
            <a:cxnSpLocks/>
          </p:cNvCxnSpPr>
          <p:nvPr/>
        </p:nvCxnSpPr>
        <p:spPr>
          <a:xfrm rot="5400000" flipH="1" flipV="1">
            <a:off x="8505249" y="3751283"/>
            <a:ext cx="4174236" cy="1154451"/>
          </a:xfrm>
          <a:prstGeom prst="bentConnector3">
            <a:avLst>
              <a:gd name="adj1" fmla="val 748"/>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 name="Connector: Elbow 18">
            <a:extLst>
              <a:ext uri="{FF2B5EF4-FFF2-40B4-BE49-F238E27FC236}">
                <a16:creationId xmlns:a16="http://schemas.microsoft.com/office/drawing/2014/main" id="{B7596B7F-3FA7-4741-85D9-657B062A4BBB}"/>
              </a:ext>
            </a:extLst>
          </p:cNvPr>
          <p:cNvCxnSpPr>
            <a:cxnSpLocks/>
            <a:endCxn id="12" idx="1"/>
          </p:cNvCxnSpPr>
          <p:nvPr/>
        </p:nvCxnSpPr>
        <p:spPr>
          <a:xfrm rot="16200000" flipH="1">
            <a:off x="5768947" y="3451100"/>
            <a:ext cx="4147659" cy="1448739"/>
          </a:xfrm>
          <a:prstGeom prst="bentConnector2">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aphicFrame>
        <p:nvGraphicFramePr>
          <p:cNvPr id="15" name="Table 14">
            <a:extLst>
              <a:ext uri="{FF2B5EF4-FFF2-40B4-BE49-F238E27FC236}">
                <a16:creationId xmlns:a16="http://schemas.microsoft.com/office/drawing/2014/main" id="{98EA3062-771B-4BAC-969C-22497E888DEA}"/>
              </a:ext>
            </a:extLst>
          </p:cNvPr>
          <p:cNvGraphicFramePr>
            <a:graphicFrameLocks noGrp="1"/>
          </p:cNvGraphicFramePr>
          <p:nvPr>
            <p:extLst/>
          </p:nvPr>
        </p:nvGraphicFramePr>
        <p:xfrm>
          <a:off x="6276314" y="3079151"/>
          <a:ext cx="5966370" cy="2915920"/>
        </p:xfrm>
        <a:graphic>
          <a:graphicData uri="http://schemas.openxmlformats.org/drawingml/2006/table">
            <a:tbl>
              <a:tblPr>
                <a:tableStyleId>{1E171933-4619-4E11-9A3F-F7608DF75F80}</a:tableStyleId>
              </a:tblPr>
              <a:tblGrid>
                <a:gridCol w="554194">
                  <a:extLst>
                    <a:ext uri="{9D8B030D-6E8A-4147-A177-3AD203B41FA5}">
                      <a16:colId xmlns:a16="http://schemas.microsoft.com/office/drawing/2014/main" val="878956919"/>
                    </a:ext>
                  </a:extLst>
                </a:gridCol>
                <a:gridCol w="1642387">
                  <a:extLst>
                    <a:ext uri="{9D8B030D-6E8A-4147-A177-3AD203B41FA5}">
                      <a16:colId xmlns:a16="http://schemas.microsoft.com/office/drawing/2014/main" val="1546973202"/>
                    </a:ext>
                  </a:extLst>
                </a:gridCol>
                <a:gridCol w="1246380">
                  <a:extLst>
                    <a:ext uri="{9D8B030D-6E8A-4147-A177-3AD203B41FA5}">
                      <a16:colId xmlns:a16="http://schemas.microsoft.com/office/drawing/2014/main" val="236321253"/>
                    </a:ext>
                  </a:extLst>
                </a:gridCol>
                <a:gridCol w="1894723">
                  <a:extLst>
                    <a:ext uri="{9D8B030D-6E8A-4147-A177-3AD203B41FA5}">
                      <a16:colId xmlns:a16="http://schemas.microsoft.com/office/drawing/2014/main" val="2021927125"/>
                    </a:ext>
                  </a:extLst>
                </a:gridCol>
                <a:gridCol w="628686">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1200" b="1" dirty="0">
                          <a:effectLst/>
                        </a:rPr>
                        <a:t>Ac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Nam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Sourc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Destina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Port</a:t>
                      </a:r>
                      <a:endParaRPr lang="en-US" sz="12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solidFill>
                            <a:srgbClr val="222222"/>
                          </a:solidFill>
                          <a:effectLst/>
                          <a:latin typeface="+mn-lt"/>
                        </a:rPr>
                        <a:t>AllowMyOnPremises</a:t>
                      </a:r>
                    </a:p>
                  </a:txBody>
                  <a:tcPr marL="50800" marR="50800" marT="50800" marB="50800" anchor="ctr"/>
                </a:tc>
                <a:tc>
                  <a:txBody>
                    <a:bodyPr/>
                    <a:lstStyle/>
                    <a:p>
                      <a:pPr marL="0" marR="0" fontAlgn="t">
                        <a:spcBef>
                          <a:spcPts val="0"/>
                        </a:spcBef>
                        <a:spcAft>
                          <a:spcPts val="0"/>
                        </a:spcAft>
                      </a:pPr>
                      <a:r>
                        <a:rPr lang="en-US" sz="1200" dirty="0">
                          <a:effectLst/>
                        </a:rPr>
                        <a:t>10.100.1.0/24,</a:t>
                      </a:r>
                    </a:p>
                    <a:p>
                      <a:pPr marL="0" marR="0" fontAlgn="t">
                        <a:spcBef>
                          <a:spcPts val="0"/>
                        </a:spcBef>
                        <a:spcAft>
                          <a:spcPts val="0"/>
                        </a:spcAft>
                      </a:pPr>
                      <a:r>
                        <a:rPr lang="en-US" sz="1200" dirty="0">
                          <a:effectLst/>
                        </a:rPr>
                        <a:t>192.168.24.128/25,</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0.1.0/24,</a:t>
                      </a:r>
                      <a:endParaRPr lang="en-US" sz="1200" dirty="0">
                        <a:solidFill>
                          <a:srgbClr val="222222"/>
                        </a:solidFill>
                        <a:effectLst/>
                        <a:latin typeface="+mn-lt"/>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30.14.0/26</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13.68.120.64/28, 17.116.1.0/25,</a:t>
                      </a:r>
                    </a:p>
                    <a:p>
                      <a:pPr marL="0" marR="0" fontAlgn="t">
                        <a:spcBef>
                          <a:spcPts val="0"/>
                        </a:spcBef>
                        <a:spcAft>
                          <a:spcPts val="0"/>
                        </a:spcAft>
                      </a:pPr>
                      <a:r>
                        <a:rPr lang="en-US" sz="1200" dirty="0">
                          <a:solidFill>
                            <a:srgbClr val="222222"/>
                          </a:solidFill>
                          <a:effectLst/>
                          <a:latin typeface="+mn-lt"/>
                        </a:rPr>
                        <a:t>19.27.160.224/28</a:t>
                      </a:r>
                    </a:p>
                    <a:p>
                      <a:pPr marL="0" marR="0" fontAlgn="t">
                        <a:spcBef>
                          <a:spcPts val="0"/>
                        </a:spcBef>
                        <a:spcAft>
                          <a:spcPts val="0"/>
                        </a:spcAft>
                      </a:pP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p>
                      <a:pPr marL="0" marR="0" fontAlgn="t">
                        <a:spcBef>
                          <a:spcPts val="0"/>
                        </a:spcBef>
                        <a:spcAft>
                          <a:spcPts val="0"/>
                        </a:spcAft>
                      </a:pPr>
                      <a:r>
                        <a:rPr lang="en-US" sz="1200" dirty="0">
                          <a:solidFill>
                            <a:srgbClr val="222222"/>
                          </a:solidFill>
                          <a:effectLst/>
                          <a:latin typeface="+mn-lt"/>
                        </a:rPr>
                        <a:t>22</a:t>
                      </a:r>
                    </a:p>
                  </a:txBody>
                  <a:tcPr marL="50800" marR="50800" marT="50800" marB="50800" anchor="ctr"/>
                </a:tc>
                <a:extLst>
                  <a:ext uri="{0D108BD9-81ED-4DB2-BD59-A6C34878D82A}">
                    <a16:rowId xmlns:a16="http://schemas.microsoft.com/office/drawing/2014/main" val="1048954723"/>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AllowMyExternalRanges</a:t>
                      </a:r>
                    </a:p>
                  </a:txBody>
                  <a:tcPr marL="50800" marR="50800" marT="50800" marB="50800" anchor="ctr"/>
                </a:tc>
                <a:tc>
                  <a:txBody>
                    <a:bodyPr/>
                    <a:lstStyle/>
                    <a:p>
                      <a:pPr marL="0" marR="0" fontAlgn="t">
                        <a:spcBef>
                          <a:spcPts val="0"/>
                        </a:spcBef>
                        <a:spcAft>
                          <a:spcPts val="0"/>
                        </a:spcAft>
                      </a:pPr>
                      <a:r>
                        <a:rPr lang="en-US" sz="1200" dirty="0">
                          <a:effectLst/>
                        </a:rPr>
                        <a:t>10.1.1.0/24,</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1.0/24,</a:t>
                      </a:r>
                    </a:p>
                    <a:p>
                      <a:pPr marL="0" marR="0" fontAlgn="t">
                        <a:spcBef>
                          <a:spcPts val="0"/>
                        </a:spcBef>
                        <a:spcAft>
                          <a:spcPts val="0"/>
                        </a:spcAft>
                      </a:pPr>
                      <a:r>
                        <a:rPr lang="en-US" sz="1200" dirty="0">
                          <a:effectLst/>
                        </a:rPr>
                        <a:t>192.168.24.128/25</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3.68.120.64/28, 137.116.1.0/25,</a:t>
                      </a:r>
                    </a:p>
                    <a:p>
                      <a:pPr marL="0" marR="0" fontAlgn="t">
                        <a:spcBef>
                          <a:spcPts val="0"/>
                        </a:spcBef>
                        <a:spcAft>
                          <a:spcPts val="0"/>
                        </a:spcAft>
                      </a:pPr>
                      <a:r>
                        <a:rPr lang="en-US" sz="1200" dirty="0">
                          <a:solidFill>
                            <a:srgbClr val="222222"/>
                          </a:solidFill>
                          <a:effectLst/>
                          <a:latin typeface="+mn-lt"/>
                        </a:rPr>
                        <a:t>191.237.160.224/28</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txBody>
                  <a:tcPr marL="50800" marR="50800" marT="50800" marB="50800" anchor="ctr"/>
                </a:tc>
                <a:extLst>
                  <a:ext uri="{0D108BD9-81ED-4DB2-BD59-A6C34878D82A}">
                    <a16:rowId xmlns:a16="http://schemas.microsoft.com/office/drawing/2014/main" val="940694489"/>
                  </a:ext>
                </a:extLst>
              </a:tr>
              <a:tr h="0">
                <a:tc>
                  <a:txBody>
                    <a:bodyPr/>
                    <a:lstStyle/>
                    <a:p>
                      <a:pPr marL="0" marR="0" fontAlgn="t">
                        <a:spcBef>
                          <a:spcPts val="0"/>
                        </a:spcBef>
                        <a:spcAft>
                          <a:spcPts val="0"/>
                        </a:spcAft>
                      </a:pPr>
                      <a:r>
                        <a:rPr lang="en-US" sz="12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200" dirty="0">
                          <a:effectLst/>
                        </a:rPr>
                        <a:t>DenyAllOutBound</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6"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35873AB0-056B-4DF9-8599-3FE072926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3220" y="2503816"/>
            <a:ext cx="350378" cy="3349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4A064AD-BC53-4729-AE43-DB3A64E06B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94402" y="2509303"/>
            <a:ext cx="350378" cy="334924"/>
          </a:xfrm>
          <a:prstGeom prst="rect">
            <a:avLst/>
          </a:prstGeom>
          <a:noFill/>
          <a:extLst>
            <a:ext uri="{909E8E84-426E-40DD-AFC4-6F175D3DCCD1}">
              <a14:hiddenFill xmlns:a14="http://schemas.microsoft.com/office/drawing/2010/main">
                <a:solidFill>
                  <a:srgbClr val="FFFFFF"/>
                </a:solidFill>
              </a14:hiddenFill>
            </a:ext>
          </a:extLst>
        </p:spPr>
      </p:pic>
      <p:sp>
        <p:nvSpPr>
          <p:cNvPr id="18" name="AutoShape 3">
            <a:extLst>
              <a:ext uri="{FF2B5EF4-FFF2-40B4-BE49-F238E27FC236}">
                <a16:creationId xmlns:a16="http://schemas.microsoft.com/office/drawing/2014/main" id="{0746E95D-73A6-451D-937F-37D64521F6B5}"/>
              </a:ext>
            </a:extLst>
          </p:cNvPr>
          <p:cNvSpPr>
            <a:spLocks noChangeAspect="1" noChangeArrowheads="1" noTextEdit="1"/>
          </p:cNvSpPr>
          <p:nvPr/>
        </p:nvSpPr>
        <p:spPr bwMode="auto">
          <a:xfrm>
            <a:off x="6100307" y="730338"/>
            <a:ext cx="2308193" cy="1583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9" name="Rectangle 5">
            <a:extLst>
              <a:ext uri="{FF2B5EF4-FFF2-40B4-BE49-F238E27FC236}">
                <a16:creationId xmlns:a16="http://schemas.microsoft.com/office/drawing/2014/main" id="{787D636D-565B-4D66-9DBF-16BCEA11E662}"/>
              </a:ext>
            </a:extLst>
          </p:cNvPr>
          <p:cNvSpPr>
            <a:spLocks noChangeArrowheads="1"/>
          </p:cNvSpPr>
          <p:nvPr/>
        </p:nvSpPr>
        <p:spPr bwMode="auto">
          <a:xfrm>
            <a:off x="7938314" y="1342126"/>
            <a:ext cx="470188" cy="96384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0" name="Rectangle 6">
            <a:extLst>
              <a:ext uri="{FF2B5EF4-FFF2-40B4-BE49-F238E27FC236}">
                <a16:creationId xmlns:a16="http://schemas.microsoft.com/office/drawing/2014/main" id="{6477F42F-6FA3-4DE3-B47E-3E0421506FF1}"/>
              </a:ext>
            </a:extLst>
          </p:cNvPr>
          <p:cNvSpPr>
            <a:spLocks noChangeArrowheads="1"/>
          </p:cNvSpPr>
          <p:nvPr/>
        </p:nvSpPr>
        <p:spPr bwMode="auto">
          <a:xfrm>
            <a:off x="8307470"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1" name="Rectangle 7">
            <a:extLst>
              <a:ext uri="{FF2B5EF4-FFF2-40B4-BE49-F238E27FC236}">
                <a16:creationId xmlns:a16="http://schemas.microsoft.com/office/drawing/2014/main" id="{F6D12539-8207-4D1B-BCCA-D675948197A2}"/>
              </a:ext>
            </a:extLst>
          </p:cNvPr>
          <p:cNvSpPr>
            <a:spLocks noChangeArrowheads="1"/>
          </p:cNvSpPr>
          <p:nvPr/>
        </p:nvSpPr>
        <p:spPr bwMode="auto">
          <a:xfrm>
            <a:off x="8204496"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2" name="Rectangle 8">
            <a:extLst>
              <a:ext uri="{FF2B5EF4-FFF2-40B4-BE49-F238E27FC236}">
                <a16:creationId xmlns:a16="http://schemas.microsoft.com/office/drawing/2014/main" id="{96D959BC-2E5E-4EBC-B5C2-5A1E761A8706}"/>
              </a:ext>
            </a:extLst>
          </p:cNvPr>
          <p:cNvSpPr>
            <a:spLocks noChangeArrowheads="1"/>
          </p:cNvSpPr>
          <p:nvPr/>
        </p:nvSpPr>
        <p:spPr bwMode="auto">
          <a:xfrm>
            <a:off x="8101519" y="1421013"/>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3" name="Rectangle 9">
            <a:extLst>
              <a:ext uri="{FF2B5EF4-FFF2-40B4-BE49-F238E27FC236}">
                <a16:creationId xmlns:a16="http://schemas.microsoft.com/office/drawing/2014/main" id="{B80BB856-F20C-43C4-8F23-F819EF44613B}"/>
              </a:ext>
            </a:extLst>
          </p:cNvPr>
          <p:cNvSpPr>
            <a:spLocks noChangeArrowheads="1"/>
          </p:cNvSpPr>
          <p:nvPr/>
        </p:nvSpPr>
        <p:spPr bwMode="auto">
          <a:xfrm>
            <a:off x="7998544" y="1421013"/>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4" name="Rectangle 10">
            <a:extLst>
              <a:ext uri="{FF2B5EF4-FFF2-40B4-BE49-F238E27FC236}">
                <a16:creationId xmlns:a16="http://schemas.microsoft.com/office/drawing/2014/main" id="{D865EBFF-E4EB-40C5-B2B7-92820E369B54}"/>
              </a:ext>
            </a:extLst>
          </p:cNvPr>
          <p:cNvSpPr>
            <a:spLocks noChangeArrowheads="1"/>
          </p:cNvSpPr>
          <p:nvPr/>
        </p:nvSpPr>
        <p:spPr bwMode="auto">
          <a:xfrm>
            <a:off x="8307470"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5" name="Rectangle 11">
            <a:extLst>
              <a:ext uri="{FF2B5EF4-FFF2-40B4-BE49-F238E27FC236}">
                <a16:creationId xmlns:a16="http://schemas.microsoft.com/office/drawing/2014/main" id="{BCCAA872-C136-4894-A552-B80ABA4F1125}"/>
              </a:ext>
            </a:extLst>
          </p:cNvPr>
          <p:cNvSpPr>
            <a:spLocks noChangeArrowheads="1"/>
          </p:cNvSpPr>
          <p:nvPr/>
        </p:nvSpPr>
        <p:spPr bwMode="auto">
          <a:xfrm>
            <a:off x="8204496"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6" name="Rectangle 12">
            <a:extLst>
              <a:ext uri="{FF2B5EF4-FFF2-40B4-BE49-F238E27FC236}">
                <a16:creationId xmlns:a16="http://schemas.microsoft.com/office/drawing/2014/main" id="{7E2C3D7A-E283-4521-B07C-118FB4548216}"/>
              </a:ext>
            </a:extLst>
          </p:cNvPr>
          <p:cNvSpPr>
            <a:spLocks noChangeArrowheads="1"/>
          </p:cNvSpPr>
          <p:nvPr/>
        </p:nvSpPr>
        <p:spPr bwMode="auto">
          <a:xfrm>
            <a:off x="8101519" y="1521999"/>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7" name="Rectangle 13">
            <a:extLst>
              <a:ext uri="{FF2B5EF4-FFF2-40B4-BE49-F238E27FC236}">
                <a16:creationId xmlns:a16="http://schemas.microsoft.com/office/drawing/2014/main" id="{D523560D-E432-412A-81D1-D8CE155538DF}"/>
              </a:ext>
            </a:extLst>
          </p:cNvPr>
          <p:cNvSpPr>
            <a:spLocks noChangeArrowheads="1"/>
          </p:cNvSpPr>
          <p:nvPr/>
        </p:nvSpPr>
        <p:spPr bwMode="auto">
          <a:xfrm>
            <a:off x="7998544" y="1521999"/>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8" name="Rectangle 14">
            <a:extLst>
              <a:ext uri="{FF2B5EF4-FFF2-40B4-BE49-F238E27FC236}">
                <a16:creationId xmlns:a16="http://schemas.microsoft.com/office/drawing/2014/main" id="{92A80776-599F-4FE5-BCEB-5A27F533618D}"/>
              </a:ext>
            </a:extLst>
          </p:cNvPr>
          <p:cNvSpPr>
            <a:spLocks noChangeArrowheads="1"/>
          </p:cNvSpPr>
          <p:nvPr/>
        </p:nvSpPr>
        <p:spPr bwMode="auto">
          <a:xfrm>
            <a:off x="8307470"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9" name="Rectangle 15">
            <a:extLst>
              <a:ext uri="{FF2B5EF4-FFF2-40B4-BE49-F238E27FC236}">
                <a16:creationId xmlns:a16="http://schemas.microsoft.com/office/drawing/2014/main" id="{C6D4F44A-08DC-4486-B700-DA86B722657F}"/>
              </a:ext>
            </a:extLst>
          </p:cNvPr>
          <p:cNvSpPr>
            <a:spLocks noChangeArrowheads="1"/>
          </p:cNvSpPr>
          <p:nvPr/>
        </p:nvSpPr>
        <p:spPr bwMode="auto">
          <a:xfrm>
            <a:off x="8204496"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0" name="Rectangle 16">
            <a:extLst>
              <a:ext uri="{FF2B5EF4-FFF2-40B4-BE49-F238E27FC236}">
                <a16:creationId xmlns:a16="http://schemas.microsoft.com/office/drawing/2014/main" id="{1E217632-53FA-4C30-ABAA-697B8655C0FC}"/>
              </a:ext>
            </a:extLst>
          </p:cNvPr>
          <p:cNvSpPr>
            <a:spLocks noChangeArrowheads="1"/>
          </p:cNvSpPr>
          <p:nvPr/>
        </p:nvSpPr>
        <p:spPr bwMode="auto">
          <a:xfrm>
            <a:off x="8101519" y="1624996"/>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1" name="Rectangle 17">
            <a:extLst>
              <a:ext uri="{FF2B5EF4-FFF2-40B4-BE49-F238E27FC236}">
                <a16:creationId xmlns:a16="http://schemas.microsoft.com/office/drawing/2014/main" id="{D2E0F0A5-88C6-4033-9D2B-8A9BA7D519F9}"/>
              </a:ext>
            </a:extLst>
          </p:cNvPr>
          <p:cNvSpPr>
            <a:spLocks noChangeArrowheads="1"/>
          </p:cNvSpPr>
          <p:nvPr/>
        </p:nvSpPr>
        <p:spPr bwMode="auto">
          <a:xfrm>
            <a:off x="7998544" y="1624996"/>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2" name="Rectangle 18">
            <a:extLst>
              <a:ext uri="{FF2B5EF4-FFF2-40B4-BE49-F238E27FC236}">
                <a16:creationId xmlns:a16="http://schemas.microsoft.com/office/drawing/2014/main" id="{8C870088-F88F-437D-964B-24F610C1FD8E}"/>
              </a:ext>
            </a:extLst>
          </p:cNvPr>
          <p:cNvSpPr>
            <a:spLocks noChangeArrowheads="1"/>
          </p:cNvSpPr>
          <p:nvPr/>
        </p:nvSpPr>
        <p:spPr bwMode="auto">
          <a:xfrm>
            <a:off x="8307470"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3" name="Rectangle 19">
            <a:extLst>
              <a:ext uri="{FF2B5EF4-FFF2-40B4-BE49-F238E27FC236}">
                <a16:creationId xmlns:a16="http://schemas.microsoft.com/office/drawing/2014/main" id="{67DE1988-1F3D-4287-AF19-F98D01DCC856}"/>
              </a:ext>
            </a:extLst>
          </p:cNvPr>
          <p:cNvSpPr>
            <a:spLocks noChangeArrowheads="1"/>
          </p:cNvSpPr>
          <p:nvPr/>
        </p:nvSpPr>
        <p:spPr bwMode="auto">
          <a:xfrm>
            <a:off x="8204496"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4" name="Rectangle 20">
            <a:extLst>
              <a:ext uri="{FF2B5EF4-FFF2-40B4-BE49-F238E27FC236}">
                <a16:creationId xmlns:a16="http://schemas.microsoft.com/office/drawing/2014/main" id="{DFC58754-7441-49B1-98B3-25EFC327478D}"/>
              </a:ext>
            </a:extLst>
          </p:cNvPr>
          <p:cNvSpPr>
            <a:spLocks noChangeArrowheads="1"/>
          </p:cNvSpPr>
          <p:nvPr/>
        </p:nvSpPr>
        <p:spPr bwMode="auto">
          <a:xfrm>
            <a:off x="8101519" y="1726028"/>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5" name="Rectangle 21">
            <a:extLst>
              <a:ext uri="{FF2B5EF4-FFF2-40B4-BE49-F238E27FC236}">
                <a16:creationId xmlns:a16="http://schemas.microsoft.com/office/drawing/2014/main" id="{D831965A-0832-46CE-9964-CB1B2FD53371}"/>
              </a:ext>
            </a:extLst>
          </p:cNvPr>
          <p:cNvSpPr>
            <a:spLocks noChangeArrowheads="1"/>
          </p:cNvSpPr>
          <p:nvPr/>
        </p:nvSpPr>
        <p:spPr bwMode="auto">
          <a:xfrm>
            <a:off x="7998544" y="1726028"/>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6" name="Rectangle 22">
            <a:extLst>
              <a:ext uri="{FF2B5EF4-FFF2-40B4-BE49-F238E27FC236}">
                <a16:creationId xmlns:a16="http://schemas.microsoft.com/office/drawing/2014/main" id="{0F090705-21BD-4C9B-8FC8-9B84869C080A}"/>
              </a:ext>
            </a:extLst>
          </p:cNvPr>
          <p:cNvSpPr>
            <a:spLocks noChangeArrowheads="1"/>
          </p:cNvSpPr>
          <p:nvPr/>
        </p:nvSpPr>
        <p:spPr bwMode="auto">
          <a:xfrm>
            <a:off x="8307470"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7" name="Rectangle 23">
            <a:extLst>
              <a:ext uri="{FF2B5EF4-FFF2-40B4-BE49-F238E27FC236}">
                <a16:creationId xmlns:a16="http://schemas.microsoft.com/office/drawing/2014/main" id="{4DC5222A-35AA-4672-B867-96522EBB6EFF}"/>
              </a:ext>
            </a:extLst>
          </p:cNvPr>
          <p:cNvSpPr>
            <a:spLocks noChangeArrowheads="1"/>
          </p:cNvSpPr>
          <p:nvPr/>
        </p:nvSpPr>
        <p:spPr bwMode="auto">
          <a:xfrm>
            <a:off x="8204496"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8" name="Rectangle 24">
            <a:extLst>
              <a:ext uri="{FF2B5EF4-FFF2-40B4-BE49-F238E27FC236}">
                <a16:creationId xmlns:a16="http://schemas.microsoft.com/office/drawing/2014/main" id="{70578688-1FDF-4A59-A023-60A4CE869A50}"/>
              </a:ext>
            </a:extLst>
          </p:cNvPr>
          <p:cNvSpPr>
            <a:spLocks noChangeArrowheads="1"/>
          </p:cNvSpPr>
          <p:nvPr/>
        </p:nvSpPr>
        <p:spPr bwMode="auto">
          <a:xfrm>
            <a:off x="8101519" y="1830970"/>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9" name="Rectangle 25">
            <a:extLst>
              <a:ext uri="{FF2B5EF4-FFF2-40B4-BE49-F238E27FC236}">
                <a16:creationId xmlns:a16="http://schemas.microsoft.com/office/drawing/2014/main" id="{966B2A94-A179-48BF-A43C-AEEF4C7E880B}"/>
              </a:ext>
            </a:extLst>
          </p:cNvPr>
          <p:cNvSpPr>
            <a:spLocks noChangeArrowheads="1"/>
          </p:cNvSpPr>
          <p:nvPr/>
        </p:nvSpPr>
        <p:spPr bwMode="auto">
          <a:xfrm>
            <a:off x="7998544" y="1830970"/>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0" name="Rectangle 26">
            <a:extLst>
              <a:ext uri="{FF2B5EF4-FFF2-40B4-BE49-F238E27FC236}">
                <a16:creationId xmlns:a16="http://schemas.microsoft.com/office/drawing/2014/main" id="{7A34DE85-6FA0-4693-B962-C1287951F5AD}"/>
              </a:ext>
            </a:extLst>
          </p:cNvPr>
          <p:cNvSpPr>
            <a:spLocks noChangeArrowheads="1"/>
          </p:cNvSpPr>
          <p:nvPr/>
        </p:nvSpPr>
        <p:spPr bwMode="auto">
          <a:xfrm>
            <a:off x="8307470"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1" name="Rectangle 27">
            <a:extLst>
              <a:ext uri="{FF2B5EF4-FFF2-40B4-BE49-F238E27FC236}">
                <a16:creationId xmlns:a16="http://schemas.microsoft.com/office/drawing/2014/main" id="{443CA25C-B379-435A-9BFB-98C20F156C6B}"/>
              </a:ext>
            </a:extLst>
          </p:cNvPr>
          <p:cNvSpPr>
            <a:spLocks noChangeArrowheads="1"/>
          </p:cNvSpPr>
          <p:nvPr/>
        </p:nvSpPr>
        <p:spPr bwMode="auto">
          <a:xfrm>
            <a:off x="8204496"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2" name="Rectangle 28">
            <a:extLst>
              <a:ext uri="{FF2B5EF4-FFF2-40B4-BE49-F238E27FC236}">
                <a16:creationId xmlns:a16="http://schemas.microsoft.com/office/drawing/2014/main" id="{ADB4089A-EF93-4C3D-A1BE-F47073402F70}"/>
              </a:ext>
            </a:extLst>
          </p:cNvPr>
          <p:cNvSpPr>
            <a:spLocks noChangeArrowheads="1"/>
          </p:cNvSpPr>
          <p:nvPr/>
        </p:nvSpPr>
        <p:spPr bwMode="auto">
          <a:xfrm>
            <a:off x="8101519" y="1932002"/>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3" name="Rectangle 29">
            <a:extLst>
              <a:ext uri="{FF2B5EF4-FFF2-40B4-BE49-F238E27FC236}">
                <a16:creationId xmlns:a16="http://schemas.microsoft.com/office/drawing/2014/main" id="{A6CDC068-2F83-4C49-BD51-1F463572DE8D}"/>
              </a:ext>
            </a:extLst>
          </p:cNvPr>
          <p:cNvSpPr>
            <a:spLocks noChangeArrowheads="1"/>
          </p:cNvSpPr>
          <p:nvPr/>
        </p:nvSpPr>
        <p:spPr bwMode="auto">
          <a:xfrm>
            <a:off x="7998544" y="1932002"/>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4" name="Rectangle 30">
            <a:extLst>
              <a:ext uri="{FF2B5EF4-FFF2-40B4-BE49-F238E27FC236}">
                <a16:creationId xmlns:a16="http://schemas.microsoft.com/office/drawing/2014/main" id="{05A0E72B-FF29-41E3-A219-230DFEBEAB13}"/>
              </a:ext>
            </a:extLst>
          </p:cNvPr>
          <p:cNvSpPr>
            <a:spLocks noChangeArrowheads="1"/>
          </p:cNvSpPr>
          <p:nvPr/>
        </p:nvSpPr>
        <p:spPr bwMode="auto">
          <a:xfrm>
            <a:off x="8307470"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5" name="Rectangle 31">
            <a:extLst>
              <a:ext uri="{FF2B5EF4-FFF2-40B4-BE49-F238E27FC236}">
                <a16:creationId xmlns:a16="http://schemas.microsoft.com/office/drawing/2014/main" id="{CB618A2F-7D33-48A5-BEC6-172524CF6E0D}"/>
              </a:ext>
            </a:extLst>
          </p:cNvPr>
          <p:cNvSpPr>
            <a:spLocks noChangeArrowheads="1"/>
          </p:cNvSpPr>
          <p:nvPr/>
        </p:nvSpPr>
        <p:spPr bwMode="auto">
          <a:xfrm>
            <a:off x="8204496"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6" name="Rectangle 32">
            <a:extLst>
              <a:ext uri="{FF2B5EF4-FFF2-40B4-BE49-F238E27FC236}">
                <a16:creationId xmlns:a16="http://schemas.microsoft.com/office/drawing/2014/main" id="{186D6CCF-EE21-4F61-BC36-8472BC5376DB}"/>
              </a:ext>
            </a:extLst>
          </p:cNvPr>
          <p:cNvSpPr>
            <a:spLocks noChangeArrowheads="1"/>
          </p:cNvSpPr>
          <p:nvPr/>
        </p:nvSpPr>
        <p:spPr bwMode="auto">
          <a:xfrm>
            <a:off x="8101519" y="2034953"/>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7" name="Rectangle 33">
            <a:extLst>
              <a:ext uri="{FF2B5EF4-FFF2-40B4-BE49-F238E27FC236}">
                <a16:creationId xmlns:a16="http://schemas.microsoft.com/office/drawing/2014/main" id="{B7378E5C-03D9-4B1F-9FDE-88A6BF77C0BC}"/>
              </a:ext>
            </a:extLst>
          </p:cNvPr>
          <p:cNvSpPr>
            <a:spLocks noChangeArrowheads="1"/>
          </p:cNvSpPr>
          <p:nvPr/>
        </p:nvSpPr>
        <p:spPr bwMode="auto">
          <a:xfrm>
            <a:off x="7998544" y="2034953"/>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8" name="Rectangle 34">
            <a:extLst>
              <a:ext uri="{FF2B5EF4-FFF2-40B4-BE49-F238E27FC236}">
                <a16:creationId xmlns:a16="http://schemas.microsoft.com/office/drawing/2014/main" id="{33CE2532-9494-4262-A8E0-755ECA03972E}"/>
              </a:ext>
            </a:extLst>
          </p:cNvPr>
          <p:cNvSpPr>
            <a:spLocks noChangeArrowheads="1"/>
          </p:cNvSpPr>
          <p:nvPr/>
        </p:nvSpPr>
        <p:spPr bwMode="auto">
          <a:xfrm>
            <a:off x="8307470"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9" name="Rectangle 35">
            <a:extLst>
              <a:ext uri="{FF2B5EF4-FFF2-40B4-BE49-F238E27FC236}">
                <a16:creationId xmlns:a16="http://schemas.microsoft.com/office/drawing/2014/main" id="{AFC91074-133D-4E90-8262-55FAC61609E5}"/>
              </a:ext>
            </a:extLst>
          </p:cNvPr>
          <p:cNvSpPr>
            <a:spLocks noChangeArrowheads="1"/>
          </p:cNvSpPr>
          <p:nvPr/>
        </p:nvSpPr>
        <p:spPr bwMode="auto">
          <a:xfrm>
            <a:off x="8204496"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0" name="Rectangle 36">
            <a:extLst>
              <a:ext uri="{FF2B5EF4-FFF2-40B4-BE49-F238E27FC236}">
                <a16:creationId xmlns:a16="http://schemas.microsoft.com/office/drawing/2014/main" id="{9EB348E8-E714-4E84-BD16-128D1B37B34B}"/>
              </a:ext>
            </a:extLst>
          </p:cNvPr>
          <p:cNvSpPr>
            <a:spLocks noChangeArrowheads="1"/>
          </p:cNvSpPr>
          <p:nvPr/>
        </p:nvSpPr>
        <p:spPr bwMode="auto">
          <a:xfrm>
            <a:off x="8101519" y="2135963"/>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1" name="Rectangle 37">
            <a:extLst>
              <a:ext uri="{FF2B5EF4-FFF2-40B4-BE49-F238E27FC236}">
                <a16:creationId xmlns:a16="http://schemas.microsoft.com/office/drawing/2014/main" id="{8CA2FFF7-420A-4673-B5B0-F7655585D934}"/>
              </a:ext>
            </a:extLst>
          </p:cNvPr>
          <p:cNvSpPr>
            <a:spLocks noChangeArrowheads="1"/>
          </p:cNvSpPr>
          <p:nvPr/>
        </p:nvSpPr>
        <p:spPr bwMode="auto">
          <a:xfrm>
            <a:off x="7998544" y="2135963"/>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2" name="Rectangle 38">
            <a:extLst>
              <a:ext uri="{FF2B5EF4-FFF2-40B4-BE49-F238E27FC236}">
                <a16:creationId xmlns:a16="http://schemas.microsoft.com/office/drawing/2014/main" id="{91253E16-F0F1-493A-ADFD-F55E0473AEE9}"/>
              </a:ext>
            </a:extLst>
          </p:cNvPr>
          <p:cNvSpPr>
            <a:spLocks noChangeArrowheads="1"/>
          </p:cNvSpPr>
          <p:nvPr/>
        </p:nvSpPr>
        <p:spPr bwMode="auto">
          <a:xfrm>
            <a:off x="6931878" y="1806378"/>
            <a:ext cx="273953" cy="4938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3" name="Rectangle 39">
            <a:extLst>
              <a:ext uri="{FF2B5EF4-FFF2-40B4-BE49-F238E27FC236}">
                <a16:creationId xmlns:a16="http://schemas.microsoft.com/office/drawing/2014/main" id="{25071D37-062A-401C-8685-F2CDA9D48914}"/>
              </a:ext>
            </a:extLst>
          </p:cNvPr>
          <p:cNvSpPr>
            <a:spLocks noChangeArrowheads="1"/>
          </p:cNvSpPr>
          <p:nvPr/>
        </p:nvSpPr>
        <p:spPr bwMode="auto">
          <a:xfrm>
            <a:off x="7744020" y="1548679"/>
            <a:ext cx="273953" cy="75474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4" name="Rectangle 40">
            <a:extLst>
              <a:ext uri="{FF2B5EF4-FFF2-40B4-BE49-F238E27FC236}">
                <a16:creationId xmlns:a16="http://schemas.microsoft.com/office/drawing/2014/main" id="{08C6043D-C7F5-4E94-88EB-C3533EE49CC8}"/>
              </a:ext>
            </a:extLst>
          </p:cNvPr>
          <p:cNvSpPr>
            <a:spLocks noChangeArrowheads="1"/>
          </p:cNvSpPr>
          <p:nvPr/>
        </p:nvSpPr>
        <p:spPr bwMode="auto">
          <a:xfrm>
            <a:off x="7085370" y="1555179"/>
            <a:ext cx="460474" cy="3803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5" name="Freeform 41">
            <a:extLst>
              <a:ext uri="{FF2B5EF4-FFF2-40B4-BE49-F238E27FC236}">
                <a16:creationId xmlns:a16="http://schemas.microsoft.com/office/drawing/2014/main" id="{64E0EC1A-2109-4D35-967E-1B5E73742E53}"/>
              </a:ext>
            </a:extLst>
          </p:cNvPr>
          <p:cNvSpPr>
            <a:spLocks/>
          </p:cNvSpPr>
          <p:nvPr/>
        </p:nvSpPr>
        <p:spPr bwMode="auto">
          <a:xfrm>
            <a:off x="7349609" y="870006"/>
            <a:ext cx="394414" cy="1441782"/>
          </a:xfrm>
          <a:custGeom>
            <a:avLst/>
            <a:gdLst>
              <a:gd name="T0" fmla="*/ 0 w 203"/>
              <a:gd name="T1" fmla="*/ 0 h 724"/>
              <a:gd name="T2" fmla="*/ 203 w 203"/>
              <a:gd name="T3" fmla="*/ 0 h 724"/>
              <a:gd name="T4" fmla="*/ 203 w 203"/>
              <a:gd name="T5" fmla="*/ 724 h 724"/>
              <a:gd name="T6" fmla="*/ 0 w 203"/>
              <a:gd name="T7" fmla="*/ 724 h 724"/>
              <a:gd name="T8" fmla="*/ 0 w 203"/>
              <a:gd name="T9" fmla="*/ 472 h 724"/>
              <a:gd name="T10" fmla="*/ 0 w 203"/>
              <a:gd name="T11" fmla="*/ 0 h 724"/>
            </a:gdLst>
            <a:ahLst/>
            <a:cxnLst>
              <a:cxn ang="0">
                <a:pos x="T0" y="T1"/>
              </a:cxn>
              <a:cxn ang="0">
                <a:pos x="T2" y="T3"/>
              </a:cxn>
              <a:cxn ang="0">
                <a:pos x="T4" y="T5"/>
              </a:cxn>
              <a:cxn ang="0">
                <a:pos x="T6" y="T7"/>
              </a:cxn>
              <a:cxn ang="0">
                <a:pos x="T8" y="T9"/>
              </a:cxn>
              <a:cxn ang="0">
                <a:pos x="T10" y="T11"/>
              </a:cxn>
            </a:cxnLst>
            <a:rect l="0" t="0" r="r" b="b"/>
            <a:pathLst>
              <a:path w="203" h="724">
                <a:moveTo>
                  <a:pt x="0" y="0"/>
                </a:moveTo>
                <a:lnTo>
                  <a:pt x="203" y="0"/>
                </a:lnTo>
                <a:lnTo>
                  <a:pt x="203" y="724"/>
                </a:lnTo>
                <a:lnTo>
                  <a:pt x="0" y="724"/>
                </a:lnTo>
                <a:lnTo>
                  <a:pt x="0" y="472"/>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6" name="Freeform 42">
            <a:extLst>
              <a:ext uri="{FF2B5EF4-FFF2-40B4-BE49-F238E27FC236}">
                <a16:creationId xmlns:a16="http://schemas.microsoft.com/office/drawing/2014/main" id="{8AA3C272-2EA9-4EB5-B3FB-6F15E9B99FDA}"/>
              </a:ext>
            </a:extLst>
          </p:cNvPr>
          <p:cNvSpPr>
            <a:spLocks/>
          </p:cNvSpPr>
          <p:nvPr/>
        </p:nvSpPr>
        <p:spPr bwMode="auto">
          <a:xfrm>
            <a:off x="7085370" y="1556548"/>
            <a:ext cx="264238" cy="746778"/>
          </a:xfrm>
          <a:custGeom>
            <a:avLst/>
            <a:gdLst>
              <a:gd name="T0" fmla="*/ 0 w 136"/>
              <a:gd name="T1" fmla="*/ 188 h 375"/>
              <a:gd name="T2" fmla="*/ 0 w 136"/>
              <a:gd name="T3" fmla="*/ 375 h 375"/>
              <a:gd name="T4" fmla="*/ 136 w 136"/>
              <a:gd name="T5" fmla="*/ 375 h 375"/>
              <a:gd name="T6" fmla="*/ 136 w 136"/>
              <a:gd name="T7" fmla="*/ 0 h 375"/>
              <a:gd name="T8" fmla="*/ 0 w 136"/>
              <a:gd name="T9" fmla="*/ 188 h 375"/>
            </a:gdLst>
            <a:ahLst/>
            <a:cxnLst>
              <a:cxn ang="0">
                <a:pos x="T0" y="T1"/>
              </a:cxn>
              <a:cxn ang="0">
                <a:pos x="T2" y="T3"/>
              </a:cxn>
              <a:cxn ang="0">
                <a:pos x="T4" y="T5"/>
              </a:cxn>
              <a:cxn ang="0">
                <a:pos x="T6" y="T7"/>
              </a:cxn>
              <a:cxn ang="0">
                <a:pos x="T8" y="T9"/>
              </a:cxn>
            </a:cxnLst>
            <a:rect l="0" t="0" r="r" b="b"/>
            <a:pathLst>
              <a:path w="136" h="375">
                <a:moveTo>
                  <a:pt x="0" y="188"/>
                </a:moveTo>
                <a:lnTo>
                  <a:pt x="0" y="375"/>
                </a:lnTo>
                <a:lnTo>
                  <a:pt x="136" y="375"/>
                </a:lnTo>
                <a:lnTo>
                  <a:pt x="136" y="0"/>
                </a:lnTo>
                <a:lnTo>
                  <a:pt x="0" y="188"/>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7" name="Rectangle 43">
            <a:extLst>
              <a:ext uri="{FF2B5EF4-FFF2-40B4-BE49-F238E27FC236}">
                <a16:creationId xmlns:a16="http://schemas.microsoft.com/office/drawing/2014/main" id="{28D55F0E-03EE-4648-9F08-AF858379E528}"/>
              </a:ext>
            </a:extLst>
          </p:cNvPr>
          <p:cNvSpPr>
            <a:spLocks noChangeArrowheads="1"/>
          </p:cNvSpPr>
          <p:nvPr/>
        </p:nvSpPr>
        <p:spPr bwMode="auto">
          <a:xfrm>
            <a:off x="7398180" y="96435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8" name="Rectangle 44">
            <a:extLst>
              <a:ext uri="{FF2B5EF4-FFF2-40B4-BE49-F238E27FC236}">
                <a16:creationId xmlns:a16="http://schemas.microsoft.com/office/drawing/2014/main" id="{3F0D59EB-6AEB-42BA-8BA4-2835019D9815}"/>
              </a:ext>
            </a:extLst>
          </p:cNvPr>
          <p:cNvSpPr>
            <a:spLocks noChangeArrowheads="1"/>
          </p:cNvSpPr>
          <p:nvPr/>
        </p:nvSpPr>
        <p:spPr bwMode="auto">
          <a:xfrm>
            <a:off x="7485612"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9" name="Rectangle 45">
            <a:extLst>
              <a:ext uri="{FF2B5EF4-FFF2-40B4-BE49-F238E27FC236}">
                <a16:creationId xmlns:a16="http://schemas.microsoft.com/office/drawing/2014/main" id="{0493E148-3257-4251-A11A-A758A22985DE}"/>
              </a:ext>
            </a:extLst>
          </p:cNvPr>
          <p:cNvSpPr>
            <a:spLocks noChangeArrowheads="1"/>
          </p:cNvSpPr>
          <p:nvPr/>
        </p:nvSpPr>
        <p:spPr bwMode="auto">
          <a:xfrm>
            <a:off x="7569157"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0" name="Rectangle 46">
            <a:extLst>
              <a:ext uri="{FF2B5EF4-FFF2-40B4-BE49-F238E27FC236}">
                <a16:creationId xmlns:a16="http://schemas.microsoft.com/office/drawing/2014/main" id="{EA268C5B-B848-4D30-B611-5316178B564F}"/>
              </a:ext>
            </a:extLst>
          </p:cNvPr>
          <p:cNvSpPr>
            <a:spLocks noChangeArrowheads="1"/>
          </p:cNvSpPr>
          <p:nvPr/>
        </p:nvSpPr>
        <p:spPr bwMode="auto">
          <a:xfrm>
            <a:off x="7654646"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1" name="Rectangle 47">
            <a:extLst>
              <a:ext uri="{FF2B5EF4-FFF2-40B4-BE49-F238E27FC236}">
                <a16:creationId xmlns:a16="http://schemas.microsoft.com/office/drawing/2014/main" id="{D3F7EF8E-A320-4CE6-970C-A3E2B3FDFF36}"/>
              </a:ext>
            </a:extLst>
          </p:cNvPr>
          <p:cNvSpPr>
            <a:spLocks noChangeArrowheads="1"/>
          </p:cNvSpPr>
          <p:nvPr/>
        </p:nvSpPr>
        <p:spPr bwMode="auto">
          <a:xfrm>
            <a:off x="7398180" y="1075127"/>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2" name="Rectangle 48">
            <a:extLst>
              <a:ext uri="{FF2B5EF4-FFF2-40B4-BE49-F238E27FC236}">
                <a16:creationId xmlns:a16="http://schemas.microsoft.com/office/drawing/2014/main" id="{3ADB5864-F419-4BB2-93CB-5B83A4EACA84}"/>
              </a:ext>
            </a:extLst>
          </p:cNvPr>
          <p:cNvSpPr>
            <a:spLocks noChangeArrowheads="1"/>
          </p:cNvSpPr>
          <p:nvPr/>
        </p:nvSpPr>
        <p:spPr bwMode="auto">
          <a:xfrm>
            <a:off x="7485612"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3" name="Rectangle 49">
            <a:extLst>
              <a:ext uri="{FF2B5EF4-FFF2-40B4-BE49-F238E27FC236}">
                <a16:creationId xmlns:a16="http://schemas.microsoft.com/office/drawing/2014/main" id="{52844C09-E477-42C2-8139-80DE06D02F7E}"/>
              </a:ext>
            </a:extLst>
          </p:cNvPr>
          <p:cNvSpPr>
            <a:spLocks noChangeArrowheads="1"/>
          </p:cNvSpPr>
          <p:nvPr/>
        </p:nvSpPr>
        <p:spPr bwMode="auto">
          <a:xfrm>
            <a:off x="7569157"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4" name="Rectangle 50">
            <a:extLst>
              <a:ext uri="{FF2B5EF4-FFF2-40B4-BE49-F238E27FC236}">
                <a16:creationId xmlns:a16="http://schemas.microsoft.com/office/drawing/2014/main" id="{E75180BA-D436-46CC-9F52-110CA04C54F0}"/>
              </a:ext>
            </a:extLst>
          </p:cNvPr>
          <p:cNvSpPr>
            <a:spLocks noChangeArrowheads="1"/>
          </p:cNvSpPr>
          <p:nvPr/>
        </p:nvSpPr>
        <p:spPr bwMode="auto">
          <a:xfrm>
            <a:off x="7654646"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5" name="Rectangle 51">
            <a:extLst>
              <a:ext uri="{FF2B5EF4-FFF2-40B4-BE49-F238E27FC236}">
                <a16:creationId xmlns:a16="http://schemas.microsoft.com/office/drawing/2014/main" id="{E32B7907-239A-4067-9C65-CD134E3661A6}"/>
              </a:ext>
            </a:extLst>
          </p:cNvPr>
          <p:cNvSpPr>
            <a:spLocks noChangeArrowheads="1"/>
          </p:cNvSpPr>
          <p:nvPr/>
        </p:nvSpPr>
        <p:spPr bwMode="auto">
          <a:xfrm>
            <a:off x="7398180" y="118390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6" name="Rectangle 52">
            <a:extLst>
              <a:ext uri="{FF2B5EF4-FFF2-40B4-BE49-F238E27FC236}">
                <a16:creationId xmlns:a16="http://schemas.microsoft.com/office/drawing/2014/main" id="{41BCF4C9-5712-459B-9A1C-8AC91052E130}"/>
              </a:ext>
            </a:extLst>
          </p:cNvPr>
          <p:cNvSpPr>
            <a:spLocks noChangeArrowheads="1"/>
          </p:cNvSpPr>
          <p:nvPr/>
        </p:nvSpPr>
        <p:spPr bwMode="auto">
          <a:xfrm>
            <a:off x="7485612"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7" name="Rectangle 53">
            <a:extLst>
              <a:ext uri="{FF2B5EF4-FFF2-40B4-BE49-F238E27FC236}">
                <a16:creationId xmlns:a16="http://schemas.microsoft.com/office/drawing/2014/main" id="{C88566C1-7A3C-49D6-89AE-5F528F577B14}"/>
              </a:ext>
            </a:extLst>
          </p:cNvPr>
          <p:cNvSpPr>
            <a:spLocks noChangeArrowheads="1"/>
          </p:cNvSpPr>
          <p:nvPr/>
        </p:nvSpPr>
        <p:spPr bwMode="auto">
          <a:xfrm>
            <a:off x="7569157"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8" name="Rectangle 54">
            <a:extLst>
              <a:ext uri="{FF2B5EF4-FFF2-40B4-BE49-F238E27FC236}">
                <a16:creationId xmlns:a16="http://schemas.microsoft.com/office/drawing/2014/main" id="{1F5E232D-53BA-4B71-AC21-29D9083722F5}"/>
              </a:ext>
            </a:extLst>
          </p:cNvPr>
          <p:cNvSpPr>
            <a:spLocks noChangeArrowheads="1"/>
          </p:cNvSpPr>
          <p:nvPr/>
        </p:nvSpPr>
        <p:spPr bwMode="auto">
          <a:xfrm>
            <a:off x="7654646"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9" name="Rectangle 55">
            <a:extLst>
              <a:ext uri="{FF2B5EF4-FFF2-40B4-BE49-F238E27FC236}">
                <a16:creationId xmlns:a16="http://schemas.microsoft.com/office/drawing/2014/main" id="{4BA5B211-C389-4A0D-847D-B1BBD2EDC6CB}"/>
              </a:ext>
            </a:extLst>
          </p:cNvPr>
          <p:cNvSpPr>
            <a:spLocks noChangeArrowheads="1"/>
          </p:cNvSpPr>
          <p:nvPr/>
        </p:nvSpPr>
        <p:spPr bwMode="auto">
          <a:xfrm>
            <a:off x="7398180" y="129465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0" name="Rectangle 56">
            <a:extLst>
              <a:ext uri="{FF2B5EF4-FFF2-40B4-BE49-F238E27FC236}">
                <a16:creationId xmlns:a16="http://schemas.microsoft.com/office/drawing/2014/main" id="{4FDD9D54-758E-4A43-8805-DC07B524101D}"/>
              </a:ext>
            </a:extLst>
          </p:cNvPr>
          <p:cNvSpPr>
            <a:spLocks noChangeArrowheads="1"/>
          </p:cNvSpPr>
          <p:nvPr/>
        </p:nvSpPr>
        <p:spPr bwMode="auto">
          <a:xfrm>
            <a:off x="7485612"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1" name="Rectangle 57">
            <a:extLst>
              <a:ext uri="{FF2B5EF4-FFF2-40B4-BE49-F238E27FC236}">
                <a16:creationId xmlns:a16="http://schemas.microsoft.com/office/drawing/2014/main" id="{45F49739-0E83-4E27-AB73-417A1AF8B263}"/>
              </a:ext>
            </a:extLst>
          </p:cNvPr>
          <p:cNvSpPr>
            <a:spLocks noChangeArrowheads="1"/>
          </p:cNvSpPr>
          <p:nvPr/>
        </p:nvSpPr>
        <p:spPr bwMode="auto">
          <a:xfrm>
            <a:off x="7569157"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2" name="Rectangle 58">
            <a:extLst>
              <a:ext uri="{FF2B5EF4-FFF2-40B4-BE49-F238E27FC236}">
                <a16:creationId xmlns:a16="http://schemas.microsoft.com/office/drawing/2014/main" id="{676DB481-A6A3-4B14-9153-82C641A8F0D6}"/>
              </a:ext>
            </a:extLst>
          </p:cNvPr>
          <p:cNvSpPr>
            <a:spLocks noChangeArrowheads="1"/>
          </p:cNvSpPr>
          <p:nvPr/>
        </p:nvSpPr>
        <p:spPr bwMode="auto">
          <a:xfrm>
            <a:off x="7654646"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3" name="Rectangle 59">
            <a:extLst>
              <a:ext uri="{FF2B5EF4-FFF2-40B4-BE49-F238E27FC236}">
                <a16:creationId xmlns:a16="http://schemas.microsoft.com/office/drawing/2014/main" id="{B73EB78C-338A-49D0-9128-860CF2F3ECF7}"/>
              </a:ext>
            </a:extLst>
          </p:cNvPr>
          <p:cNvSpPr>
            <a:spLocks noChangeArrowheads="1"/>
          </p:cNvSpPr>
          <p:nvPr/>
        </p:nvSpPr>
        <p:spPr bwMode="auto">
          <a:xfrm>
            <a:off x="7398180" y="1405400"/>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4" name="Rectangle 60">
            <a:extLst>
              <a:ext uri="{FF2B5EF4-FFF2-40B4-BE49-F238E27FC236}">
                <a16:creationId xmlns:a16="http://schemas.microsoft.com/office/drawing/2014/main" id="{1421A0AC-50F3-4E8C-86FC-1BD5DE91132E}"/>
              </a:ext>
            </a:extLst>
          </p:cNvPr>
          <p:cNvSpPr>
            <a:spLocks noChangeArrowheads="1"/>
          </p:cNvSpPr>
          <p:nvPr/>
        </p:nvSpPr>
        <p:spPr bwMode="auto">
          <a:xfrm>
            <a:off x="7485612"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5" name="Rectangle 61">
            <a:extLst>
              <a:ext uri="{FF2B5EF4-FFF2-40B4-BE49-F238E27FC236}">
                <a16:creationId xmlns:a16="http://schemas.microsoft.com/office/drawing/2014/main" id="{6BAD61EE-37EE-4C35-9652-8C9D84763872}"/>
              </a:ext>
            </a:extLst>
          </p:cNvPr>
          <p:cNvSpPr>
            <a:spLocks noChangeArrowheads="1"/>
          </p:cNvSpPr>
          <p:nvPr/>
        </p:nvSpPr>
        <p:spPr bwMode="auto">
          <a:xfrm>
            <a:off x="7569157"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6" name="Rectangle 62">
            <a:extLst>
              <a:ext uri="{FF2B5EF4-FFF2-40B4-BE49-F238E27FC236}">
                <a16:creationId xmlns:a16="http://schemas.microsoft.com/office/drawing/2014/main" id="{ABB952C7-D6CA-4F38-91A9-41833C1D471E}"/>
              </a:ext>
            </a:extLst>
          </p:cNvPr>
          <p:cNvSpPr>
            <a:spLocks noChangeArrowheads="1"/>
          </p:cNvSpPr>
          <p:nvPr/>
        </p:nvSpPr>
        <p:spPr bwMode="auto">
          <a:xfrm>
            <a:off x="7654646"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7" name="Rectangle 63">
            <a:extLst>
              <a:ext uri="{FF2B5EF4-FFF2-40B4-BE49-F238E27FC236}">
                <a16:creationId xmlns:a16="http://schemas.microsoft.com/office/drawing/2014/main" id="{F162D483-613F-44D8-8530-46E270F4BC87}"/>
              </a:ext>
            </a:extLst>
          </p:cNvPr>
          <p:cNvSpPr>
            <a:spLocks noChangeArrowheads="1"/>
          </p:cNvSpPr>
          <p:nvPr/>
        </p:nvSpPr>
        <p:spPr bwMode="auto">
          <a:xfrm>
            <a:off x="7398180" y="151614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8" name="Rectangle 64">
            <a:extLst>
              <a:ext uri="{FF2B5EF4-FFF2-40B4-BE49-F238E27FC236}">
                <a16:creationId xmlns:a16="http://schemas.microsoft.com/office/drawing/2014/main" id="{11A04E99-5540-4288-ADE0-1500655C1926}"/>
              </a:ext>
            </a:extLst>
          </p:cNvPr>
          <p:cNvSpPr>
            <a:spLocks noChangeArrowheads="1"/>
          </p:cNvSpPr>
          <p:nvPr/>
        </p:nvSpPr>
        <p:spPr bwMode="auto">
          <a:xfrm>
            <a:off x="7485612"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9" name="Rectangle 65">
            <a:extLst>
              <a:ext uri="{FF2B5EF4-FFF2-40B4-BE49-F238E27FC236}">
                <a16:creationId xmlns:a16="http://schemas.microsoft.com/office/drawing/2014/main" id="{8EAA805F-D45F-46A7-AB0D-DBAE418BB8F4}"/>
              </a:ext>
            </a:extLst>
          </p:cNvPr>
          <p:cNvSpPr>
            <a:spLocks noChangeArrowheads="1"/>
          </p:cNvSpPr>
          <p:nvPr/>
        </p:nvSpPr>
        <p:spPr bwMode="auto">
          <a:xfrm>
            <a:off x="7569157"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0" name="Rectangle 66">
            <a:extLst>
              <a:ext uri="{FF2B5EF4-FFF2-40B4-BE49-F238E27FC236}">
                <a16:creationId xmlns:a16="http://schemas.microsoft.com/office/drawing/2014/main" id="{FEFA1BA0-46AB-4F19-8CCA-C9A24F978F25}"/>
              </a:ext>
            </a:extLst>
          </p:cNvPr>
          <p:cNvSpPr>
            <a:spLocks noChangeArrowheads="1"/>
          </p:cNvSpPr>
          <p:nvPr/>
        </p:nvSpPr>
        <p:spPr bwMode="auto">
          <a:xfrm>
            <a:off x="7654646"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1" name="Rectangle 67">
            <a:extLst>
              <a:ext uri="{FF2B5EF4-FFF2-40B4-BE49-F238E27FC236}">
                <a16:creationId xmlns:a16="http://schemas.microsoft.com/office/drawing/2014/main" id="{DF37E4A8-D6E7-47EA-8881-DDEC03F03633}"/>
              </a:ext>
            </a:extLst>
          </p:cNvPr>
          <p:cNvSpPr>
            <a:spLocks noChangeArrowheads="1"/>
          </p:cNvSpPr>
          <p:nvPr/>
        </p:nvSpPr>
        <p:spPr bwMode="auto">
          <a:xfrm>
            <a:off x="7398180"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2" name="Rectangle 68">
            <a:extLst>
              <a:ext uri="{FF2B5EF4-FFF2-40B4-BE49-F238E27FC236}">
                <a16:creationId xmlns:a16="http://schemas.microsoft.com/office/drawing/2014/main" id="{250B574A-6EC7-4836-8DC3-F684144B4FBB}"/>
              </a:ext>
            </a:extLst>
          </p:cNvPr>
          <p:cNvSpPr>
            <a:spLocks noChangeArrowheads="1"/>
          </p:cNvSpPr>
          <p:nvPr/>
        </p:nvSpPr>
        <p:spPr bwMode="auto">
          <a:xfrm>
            <a:off x="7485612"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3" name="Rectangle 69">
            <a:extLst>
              <a:ext uri="{FF2B5EF4-FFF2-40B4-BE49-F238E27FC236}">
                <a16:creationId xmlns:a16="http://schemas.microsoft.com/office/drawing/2014/main" id="{6FF2C248-EEB7-47D5-9D46-A4D5627D4E4B}"/>
              </a:ext>
            </a:extLst>
          </p:cNvPr>
          <p:cNvSpPr>
            <a:spLocks noChangeArrowheads="1"/>
          </p:cNvSpPr>
          <p:nvPr/>
        </p:nvSpPr>
        <p:spPr bwMode="auto">
          <a:xfrm>
            <a:off x="7569157"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4" name="Rectangle 70">
            <a:extLst>
              <a:ext uri="{FF2B5EF4-FFF2-40B4-BE49-F238E27FC236}">
                <a16:creationId xmlns:a16="http://schemas.microsoft.com/office/drawing/2014/main" id="{08F91A47-4F3B-4089-BEB2-B11185536B9D}"/>
              </a:ext>
            </a:extLst>
          </p:cNvPr>
          <p:cNvSpPr>
            <a:spLocks noChangeArrowheads="1"/>
          </p:cNvSpPr>
          <p:nvPr/>
        </p:nvSpPr>
        <p:spPr bwMode="auto">
          <a:xfrm>
            <a:off x="7654646"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5" name="Rectangle 71">
            <a:extLst>
              <a:ext uri="{FF2B5EF4-FFF2-40B4-BE49-F238E27FC236}">
                <a16:creationId xmlns:a16="http://schemas.microsoft.com/office/drawing/2014/main" id="{FC2FC08E-CD1A-4C9B-9A65-8C51FD55600E}"/>
              </a:ext>
            </a:extLst>
          </p:cNvPr>
          <p:cNvSpPr>
            <a:spLocks noChangeArrowheads="1"/>
          </p:cNvSpPr>
          <p:nvPr/>
        </p:nvSpPr>
        <p:spPr bwMode="auto">
          <a:xfrm>
            <a:off x="7398180" y="184255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6" name="Rectangle 72">
            <a:extLst>
              <a:ext uri="{FF2B5EF4-FFF2-40B4-BE49-F238E27FC236}">
                <a16:creationId xmlns:a16="http://schemas.microsoft.com/office/drawing/2014/main" id="{EBFA38EE-A3B5-4C11-9E46-090DFA18A49C}"/>
              </a:ext>
            </a:extLst>
          </p:cNvPr>
          <p:cNvSpPr>
            <a:spLocks noChangeArrowheads="1"/>
          </p:cNvSpPr>
          <p:nvPr/>
        </p:nvSpPr>
        <p:spPr bwMode="auto">
          <a:xfrm>
            <a:off x="7485612"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7" name="Rectangle 73">
            <a:extLst>
              <a:ext uri="{FF2B5EF4-FFF2-40B4-BE49-F238E27FC236}">
                <a16:creationId xmlns:a16="http://schemas.microsoft.com/office/drawing/2014/main" id="{1E2BBB39-0345-410C-A7CF-86909E804C2D}"/>
              </a:ext>
            </a:extLst>
          </p:cNvPr>
          <p:cNvSpPr>
            <a:spLocks noChangeArrowheads="1"/>
          </p:cNvSpPr>
          <p:nvPr/>
        </p:nvSpPr>
        <p:spPr bwMode="auto">
          <a:xfrm>
            <a:off x="7569157"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8" name="Rectangle 74">
            <a:extLst>
              <a:ext uri="{FF2B5EF4-FFF2-40B4-BE49-F238E27FC236}">
                <a16:creationId xmlns:a16="http://schemas.microsoft.com/office/drawing/2014/main" id="{7F2D0183-E795-497D-879C-2FC4401212D7}"/>
              </a:ext>
            </a:extLst>
          </p:cNvPr>
          <p:cNvSpPr>
            <a:spLocks noChangeArrowheads="1"/>
          </p:cNvSpPr>
          <p:nvPr/>
        </p:nvSpPr>
        <p:spPr bwMode="auto">
          <a:xfrm>
            <a:off x="7654646"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9" name="Rectangle 75">
            <a:extLst>
              <a:ext uri="{FF2B5EF4-FFF2-40B4-BE49-F238E27FC236}">
                <a16:creationId xmlns:a16="http://schemas.microsoft.com/office/drawing/2014/main" id="{3237CEF7-DF61-4A37-8CC6-5143320D5E67}"/>
              </a:ext>
            </a:extLst>
          </p:cNvPr>
          <p:cNvSpPr>
            <a:spLocks noChangeArrowheads="1"/>
          </p:cNvSpPr>
          <p:nvPr/>
        </p:nvSpPr>
        <p:spPr bwMode="auto">
          <a:xfrm>
            <a:off x="7398180" y="1729868"/>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0" name="Rectangle 76">
            <a:extLst>
              <a:ext uri="{FF2B5EF4-FFF2-40B4-BE49-F238E27FC236}">
                <a16:creationId xmlns:a16="http://schemas.microsoft.com/office/drawing/2014/main" id="{62BBE6CE-E46B-4B1A-B6C1-744EB4251FA3}"/>
              </a:ext>
            </a:extLst>
          </p:cNvPr>
          <p:cNvSpPr>
            <a:spLocks noChangeArrowheads="1"/>
          </p:cNvSpPr>
          <p:nvPr/>
        </p:nvSpPr>
        <p:spPr bwMode="auto">
          <a:xfrm>
            <a:off x="7485612"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1" name="Rectangle 77">
            <a:extLst>
              <a:ext uri="{FF2B5EF4-FFF2-40B4-BE49-F238E27FC236}">
                <a16:creationId xmlns:a16="http://schemas.microsoft.com/office/drawing/2014/main" id="{49F1E75A-55ED-419A-831B-220EC3BC98FA}"/>
              </a:ext>
            </a:extLst>
          </p:cNvPr>
          <p:cNvSpPr>
            <a:spLocks noChangeArrowheads="1"/>
          </p:cNvSpPr>
          <p:nvPr/>
        </p:nvSpPr>
        <p:spPr bwMode="auto">
          <a:xfrm>
            <a:off x="7569157"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2" name="Rectangle 78">
            <a:extLst>
              <a:ext uri="{FF2B5EF4-FFF2-40B4-BE49-F238E27FC236}">
                <a16:creationId xmlns:a16="http://schemas.microsoft.com/office/drawing/2014/main" id="{20AB922D-C74C-4A8A-B4BA-64864D8FAA5A}"/>
              </a:ext>
            </a:extLst>
          </p:cNvPr>
          <p:cNvSpPr>
            <a:spLocks noChangeArrowheads="1"/>
          </p:cNvSpPr>
          <p:nvPr/>
        </p:nvSpPr>
        <p:spPr bwMode="auto">
          <a:xfrm>
            <a:off x="7654646"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3" name="Rectangle 79">
            <a:extLst>
              <a:ext uri="{FF2B5EF4-FFF2-40B4-BE49-F238E27FC236}">
                <a16:creationId xmlns:a16="http://schemas.microsoft.com/office/drawing/2014/main" id="{0C8C0280-3AA6-4B73-BDB6-39F522D058DD}"/>
              </a:ext>
            </a:extLst>
          </p:cNvPr>
          <p:cNvSpPr>
            <a:spLocks noChangeArrowheads="1"/>
          </p:cNvSpPr>
          <p:nvPr/>
        </p:nvSpPr>
        <p:spPr bwMode="auto">
          <a:xfrm>
            <a:off x="7398180" y="195330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4" name="Rectangle 80">
            <a:extLst>
              <a:ext uri="{FF2B5EF4-FFF2-40B4-BE49-F238E27FC236}">
                <a16:creationId xmlns:a16="http://schemas.microsoft.com/office/drawing/2014/main" id="{FD8955B2-0594-4171-A6FA-B6213B5DD0CA}"/>
              </a:ext>
            </a:extLst>
          </p:cNvPr>
          <p:cNvSpPr>
            <a:spLocks noChangeArrowheads="1"/>
          </p:cNvSpPr>
          <p:nvPr/>
        </p:nvSpPr>
        <p:spPr bwMode="auto">
          <a:xfrm>
            <a:off x="7485612"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5" name="Rectangle 81">
            <a:extLst>
              <a:ext uri="{FF2B5EF4-FFF2-40B4-BE49-F238E27FC236}">
                <a16:creationId xmlns:a16="http://schemas.microsoft.com/office/drawing/2014/main" id="{CC09F45F-452D-40A9-AF89-83526914FE1C}"/>
              </a:ext>
            </a:extLst>
          </p:cNvPr>
          <p:cNvSpPr>
            <a:spLocks noChangeArrowheads="1"/>
          </p:cNvSpPr>
          <p:nvPr/>
        </p:nvSpPr>
        <p:spPr bwMode="auto">
          <a:xfrm>
            <a:off x="7569157"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6" name="Rectangle 82">
            <a:extLst>
              <a:ext uri="{FF2B5EF4-FFF2-40B4-BE49-F238E27FC236}">
                <a16:creationId xmlns:a16="http://schemas.microsoft.com/office/drawing/2014/main" id="{BFD4E438-4B4D-4A1B-B7A0-DE90BE330BD6}"/>
              </a:ext>
            </a:extLst>
          </p:cNvPr>
          <p:cNvSpPr>
            <a:spLocks noChangeArrowheads="1"/>
          </p:cNvSpPr>
          <p:nvPr/>
        </p:nvSpPr>
        <p:spPr bwMode="auto">
          <a:xfrm>
            <a:off x="7654646"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7" name="Rectangle 83">
            <a:extLst>
              <a:ext uri="{FF2B5EF4-FFF2-40B4-BE49-F238E27FC236}">
                <a16:creationId xmlns:a16="http://schemas.microsoft.com/office/drawing/2014/main" id="{8325C925-3BCB-4617-BF2E-49F0A0C4286B}"/>
              </a:ext>
            </a:extLst>
          </p:cNvPr>
          <p:cNvSpPr>
            <a:spLocks noChangeArrowheads="1"/>
          </p:cNvSpPr>
          <p:nvPr/>
        </p:nvSpPr>
        <p:spPr bwMode="auto">
          <a:xfrm>
            <a:off x="7398180" y="206793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8" name="Rectangle 84">
            <a:extLst>
              <a:ext uri="{FF2B5EF4-FFF2-40B4-BE49-F238E27FC236}">
                <a16:creationId xmlns:a16="http://schemas.microsoft.com/office/drawing/2014/main" id="{5C8DEB33-3377-4610-BF82-5CBFC15A0E36}"/>
              </a:ext>
            </a:extLst>
          </p:cNvPr>
          <p:cNvSpPr>
            <a:spLocks noChangeArrowheads="1"/>
          </p:cNvSpPr>
          <p:nvPr/>
        </p:nvSpPr>
        <p:spPr bwMode="auto">
          <a:xfrm>
            <a:off x="7485612"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9" name="Rectangle 85">
            <a:extLst>
              <a:ext uri="{FF2B5EF4-FFF2-40B4-BE49-F238E27FC236}">
                <a16:creationId xmlns:a16="http://schemas.microsoft.com/office/drawing/2014/main" id="{8B9976EE-AABD-4302-8042-CFB94C01AE5A}"/>
              </a:ext>
            </a:extLst>
          </p:cNvPr>
          <p:cNvSpPr>
            <a:spLocks noChangeArrowheads="1"/>
          </p:cNvSpPr>
          <p:nvPr/>
        </p:nvSpPr>
        <p:spPr bwMode="auto">
          <a:xfrm>
            <a:off x="7569157"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0" name="Rectangle 86">
            <a:extLst>
              <a:ext uri="{FF2B5EF4-FFF2-40B4-BE49-F238E27FC236}">
                <a16:creationId xmlns:a16="http://schemas.microsoft.com/office/drawing/2014/main" id="{F6AA3115-C097-4182-8FAF-220197CE491E}"/>
              </a:ext>
            </a:extLst>
          </p:cNvPr>
          <p:cNvSpPr>
            <a:spLocks noChangeArrowheads="1"/>
          </p:cNvSpPr>
          <p:nvPr/>
        </p:nvSpPr>
        <p:spPr bwMode="auto">
          <a:xfrm>
            <a:off x="7654646"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1" name="Rectangle 87">
            <a:extLst>
              <a:ext uri="{FF2B5EF4-FFF2-40B4-BE49-F238E27FC236}">
                <a16:creationId xmlns:a16="http://schemas.microsoft.com/office/drawing/2014/main" id="{11FD7ADB-D166-4346-BBFA-D385EC873D32}"/>
              </a:ext>
            </a:extLst>
          </p:cNvPr>
          <p:cNvSpPr>
            <a:spLocks noChangeArrowheads="1"/>
          </p:cNvSpPr>
          <p:nvPr/>
        </p:nvSpPr>
        <p:spPr bwMode="auto">
          <a:xfrm>
            <a:off x="7398180" y="217868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2" name="Rectangle 88">
            <a:extLst>
              <a:ext uri="{FF2B5EF4-FFF2-40B4-BE49-F238E27FC236}">
                <a16:creationId xmlns:a16="http://schemas.microsoft.com/office/drawing/2014/main" id="{926D9F0C-DF3E-47A0-8A3B-C999B4D25EC0}"/>
              </a:ext>
            </a:extLst>
          </p:cNvPr>
          <p:cNvSpPr>
            <a:spLocks noChangeArrowheads="1"/>
          </p:cNvSpPr>
          <p:nvPr/>
        </p:nvSpPr>
        <p:spPr bwMode="auto">
          <a:xfrm>
            <a:off x="7485612"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3" name="Rectangle 89">
            <a:extLst>
              <a:ext uri="{FF2B5EF4-FFF2-40B4-BE49-F238E27FC236}">
                <a16:creationId xmlns:a16="http://schemas.microsoft.com/office/drawing/2014/main" id="{3B3523D3-F0EE-4377-9E93-8D33CF104DBE}"/>
              </a:ext>
            </a:extLst>
          </p:cNvPr>
          <p:cNvSpPr>
            <a:spLocks noChangeArrowheads="1"/>
          </p:cNvSpPr>
          <p:nvPr/>
        </p:nvSpPr>
        <p:spPr bwMode="auto">
          <a:xfrm>
            <a:off x="7569157"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4" name="Rectangle 90">
            <a:extLst>
              <a:ext uri="{FF2B5EF4-FFF2-40B4-BE49-F238E27FC236}">
                <a16:creationId xmlns:a16="http://schemas.microsoft.com/office/drawing/2014/main" id="{5F5622A4-928F-4C06-B89E-727C1BE8857F}"/>
              </a:ext>
            </a:extLst>
          </p:cNvPr>
          <p:cNvSpPr>
            <a:spLocks noChangeArrowheads="1"/>
          </p:cNvSpPr>
          <p:nvPr/>
        </p:nvSpPr>
        <p:spPr bwMode="auto">
          <a:xfrm>
            <a:off x="7654646"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5" name="Rectangle 91">
            <a:extLst>
              <a:ext uri="{FF2B5EF4-FFF2-40B4-BE49-F238E27FC236}">
                <a16:creationId xmlns:a16="http://schemas.microsoft.com/office/drawing/2014/main" id="{26CA11A5-0B47-4C6D-A1C9-C3D2AD2FD119}"/>
              </a:ext>
            </a:extLst>
          </p:cNvPr>
          <p:cNvSpPr>
            <a:spLocks noChangeArrowheads="1"/>
          </p:cNvSpPr>
          <p:nvPr/>
        </p:nvSpPr>
        <p:spPr bwMode="auto">
          <a:xfrm>
            <a:off x="7112571"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6" name="Rectangle 92">
            <a:extLst>
              <a:ext uri="{FF2B5EF4-FFF2-40B4-BE49-F238E27FC236}">
                <a16:creationId xmlns:a16="http://schemas.microsoft.com/office/drawing/2014/main" id="{A106527A-260D-4888-98A6-40155EF8F7C2}"/>
              </a:ext>
            </a:extLst>
          </p:cNvPr>
          <p:cNvSpPr>
            <a:spLocks noChangeArrowheads="1"/>
          </p:cNvSpPr>
          <p:nvPr/>
        </p:nvSpPr>
        <p:spPr bwMode="auto">
          <a:xfrm>
            <a:off x="7198061" y="1626893"/>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7" name="Rectangle 93">
            <a:extLst>
              <a:ext uri="{FF2B5EF4-FFF2-40B4-BE49-F238E27FC236}">
                <a16:creationId xmlns:a16="http://schemas.microsoft.com/office/drawing/2014/main" id="{36C47076-08F8-425E-9100-95D6CCDE72CB}"/>
              </a:ext>
            </a:extLst>
          </p:cNvPr>
          <p:cNvSpPr>
            <a:spLocks noChangeArrowheads="1"/>
          </p:cNvSpPr>
          <p:nvPr/>
        </p:nvSpPr>
        <p:spPr bwMode="auto">
          <a:xfrm>
            <a:off x="7281605"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8" name="Rectangle 94">
            <a:extLst>
              <a:ext uri="{FF2B5EF4-FFF2-40B4-BE49-F238E27FC236}">
                <a16:creationId xmlns:a16="http://schemas.microsoft.com/office/drawing/2014/main" id="{986EF941-B225-4F3F-8E5B-95192918ED25}"/>
              </a:ext>
            </a:extLst>
          </p:cNvPr>
          <p:cNvSpPr>
            <a:spLocks noChangeArrowheads="1"/>
          </p:cNvSpPr>
          <p:nvPr/>
        </p:nvSpPr>
        <p:spPr bwMode="auto">
          <a:xfrm>
            <a:off x="7112571"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9" name="Rectangle 95">
            <a:extLst>
              <a:ext uri="{FF2B5EF4-FFF2-40B4-BE49-F238E27FC236}">
                <a16:creationId xmlns:a16="http://schemas.microsoft.com/office/drawing/2014/main" id="{DDD43BA5-635E-4DB8-94F0-EF1D211B59B0}"/>
              </a:ext>
            </a:extLst>
          </p:cNvPr>
          <p:cNvSpPr>
            <a:spLocks noChangeArrowheads="1"/>
          </p:cNvSpPr>
          <p:nvPr/>
        </p:nvSpPr>
        <p:spPr bwMode="auto">
          <a:xfrm>
            <a:off x="7198061" y="1737639"/>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0" name="Rectangle 96">
            <a:extLst>
              <a:ext uri="{FF2B5EF4-FFF2-40B4-BE49-F238E27FC236}">
                <a16:creationId xmlns:a16="http://schemas.microsoft.com/office/drawing/2014/main" id="{AF9345F1-B6A2-4433-935A-115FFDC6B97D}"/>
              </a:ext>
            </a:extLst>
          </p:cNvPr>
          <p:cNvSpPr>
            <a:spLocks noChangeArrowheads="1"/>
          </p:cNvSpPr>
          <p:nvPr/>
        </p:nvSpPr>
        <p:spPr bwMode="auto">
          <a:xfrm>
            <a:off x="7281605"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1" name="Rectangle 97">
            <a:extLst>
              <a:ext uri="{FF2B5EF4-FFF2-40B4-BE49-F238E27FC236}">
                <a16:creationId xmlns:a16="http://schemas.microsoft.com/office/drawing/2014/main" id="{ED78A014-DA58-47FE-8F1E-1FA3C72B0747}"/>
              </a:ext>
            </a:extLst>
          </p:cNvPr>
          <p:cNvSpPr>
            <a:spLocks noChangeArrowheads="1"/>
          </p:cNvSpPr>
          <p:nvPr/>
        </p:nvSpPr>
        <p:spPr bwMode="auto">
          <a:xfrm>
            <a:off x="7112571" y="1840615"/>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2" name="Rectangle 98">
            <a:extLst>
              <a:ext uri="{FF2B5EF4-FFF2-40B4-BE49-F238E27FC236}">
                <a16:creationId xmlns:a16="http://schemas.microsoft.com/office/drawing/2014/main" id="{6D83D8E8-0DE6-4A82-810D-A1F14705D2E7}"/>
              </a:ext>
            </a:extLst>
          </p:cNvPr>
          <p:cNvSpPr>
            <a:spLocks noChangeArrowheads="1"/>
          </p:cNvSpPr>
          <p:nvPr/>
        </p:nvSpPr>
        <p:spPr bwMode="auto">
          <a:xfrm>
            <a:off x="7198061" y="1840615"/>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3" name="Rectangle 99">
            <a:extLst>
              <a:ext uri="{FF2B5EF4-FFF2-40B4-BE49-F238E27FC236}">
                <a16:creationId xmlns:a16="http://schemas.microsoft.com/office/drawing/2014/main" id="{C4A52500-EE86-4D67-A221-405CA358BD88}"/>
              </a:ext>
            </a:extLst>
          </p:cNvPr>
          <p:cNvSpPr>
            <a:spLocks noChangeArrowheads="1"/>
          </p:cNvSpPr>
          <p:nvPr/>
        </p:nvSpPr>
        <p:spPr bwMode="auto">
          <a:xfrm>
            <a:off x="7281605" y="1840615"/>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4" name="Rectangle 100">
            <a:extLst>
              <a:ext uri="{FF2B5EF4-FFF2-40B4-BE49-F238E27FC236}">
                <a16:creationId xmlns:a16="http://schemas.microsoft.com/office/drawing/2014/main" id="{CDF0C244-49F1-469E-9110-4D0B9A11A7E7}"/>
              </a:ext>
            </a:extLst>
          </p:cNvPr>
          <p:cNvSpPr>
            <a:spLocks noChangeArrowheads="1"/>
          </p:cNvSpPr>
          <p:nvPr/>
        </p:nvSpPr>
        <p:spPr bwMode="auto">
          <a:xfrm>
            <a:off x="7112571" y="194164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5" name="Rectangle 101">
            <a:extLst>
              <a:ext uri="{FF2B5EF4-FFF2-40B4-BE49-F238E27FC236}">
                <a16:creationId xmlns:a16="http://schemas.microsoft.com/office/drawing/2014/main" id="{63CEDD11-11D5-4330-9822-E568E4FB9EED}"/>
              </a:ext>
            </a:extLst>
          </p:cNvPr>
          <p:cNvSpPr>
            <a:spLocks noChangeArrowheads="1"/>
          </p:cNvSpPr>
          <p:nvPr/>
        </p:nvSpPr>
        <p:spPr bwMode="auto">
          <a:xfrm>
            <a:off x="7198061" y="194164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6" name="Rectangle 102">
            <a:extLst>
              <a:ext uri="{FF2B5EF4-FFF2-40B4-BE49-F238E27FC236}">
                <a16:creationId xmlns:a16="http://schemas.microsoft.com/office/drawing/2014/main" id="{112A6B24-DC80-4EC7-972A-F801DCA01485}"/>
              </a:ext>
            </a:extLst>
          </p:cNvPr>
          <p:cNvSpPr>
            <a:spLocks noChangeArrowheads="1"/>
          </p:cNvSpPr>
          <p:nvPr/>
        </p:nvSpPr>
        <p:spPr bwMode="auto">
          <a:xfrm>
            <a:off x="7281605" y="194164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7" name="Rectangle 103">
            <a:extLst>
              <a:ext uri="{FF2B5EF4-FFF2-40B4-BE49-F238E27FC236}">
                <a16:creationId xmlns:a16="http://schemas.microsoft.com/office/drawing/2014/main" id="{66F544E0-7B2E-4B77-A028-BCD2E1ADDCA2}"/>
              </a:ext>
            </a:extLst>
          </p:cNvPr>
          <p:cNvSpPr>
            <a:spLocks noChangeArrowheads="1"/>
          </p:cNvSpPr>
          <p:nvPr/>
        </p:nvSpPr>
        <p:spPr bwMode="auto">
          <a:xfrm>
            <a:off x="7112571" y="2046611"/>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8" name="Rectangle 104">
            <a:extLst>
              <a:ext uri="{FF2B5EF4-FFF2-40B4-BE49-F238E27FC236}">
                <a16:creationId xmlns:a16="http://schemas.microsoft.com/office/drawing/2014/main" id="{0A76B35A-7A3B-42F7-9155-14C97CB8A31B}"/>
              </a:ext>
            </a:extLst>
          </p:cNvPr>
          <p:cNvSpPr>
            <a:spLocks noChangeArrowheads="1"/>
          </p:cNvSpPr>
          <p:nvPr/>
        </p:nvSpPr>
        <p:spPr bwMode="auto">
          <a:xfrm>
            <a:off x="7198061" y="2046611"/>
            <a:ext cx="36916"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9" name="Rectangle 105">
            <a:extLst>
              <a:ext uri="{FF2B5EF4-FFF2-40B4-BE49-F238E27FC236}">
                <a16:creationId xmlns:a16="http://schemas.microsoft.com/office/drawing/2014/main" id="{EFE3F6B1-8540-4DCA-9636-B4DF73EA0DA4}"/>
              </a:ext>
            </a:extLst>
          </p:cNvPr>
          <p:cNvSpPr>
            <a:spLocks noChangeArrowheads="1"/>
          </p:cNvSpPr>
          <p:nvPr/>
        </p:nvSpPr>
        <p:spPr bwMode="auto">
          <a:xfrm>
            <a:off x="7281605" y="2046611"/>
            <a:ext cx="40802"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0" name="Rectangle 106">
            <a:extLst>
              <a:ext uri="{FF2B5EF4-FFF2-40B4-BE49-F238E27FC236}">
                <a16:creationId xmlns:a16="http://schemas.microsoft.com/office/drawing/2014/main" id="{42AEF7A5-A04E-4A99-85B1-B31141E9B067}"/>
              </a:ext>
            </a:extLst>
          </p:cNvPr>
          <p:cNvSpPr>
            <a:spLocks noChangeArrowheads="1"/>
          </p:cNvSpPr>
          <p:nvPr/>
        </p:nvSpPr>
        <p:spPr bwMode="auto">
          <a:xfrm>
            <a:off x="7112571"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1" name="Rectangle 107">
            <a:extLst>
              <a:ext uri="{FF2B5EF4-FFF2-40B4-BE49-F238E27FC236}">
                <a16:creationId xmlns:a16="http://schemas.microsoft.com/office/drawing/2014/main" id="{44F6AFAA-69D5-4882-A208-F1C920C65E6E}"/>
              </a:ext>
            </a:extLst>
          </p:cNvPr>
          <p:cNvSpPr>
            <a:spLocks noChangeArrowheads="1"/>
          </p:cNvSpPr>
          <p:nvPr/>
        </p:nvSpPr>
        <p:spPr bwMode="auto">
          <a:xfrm>
            <a:off x="7198061" y="214759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2" name="Rectangle 108">
            <a:extLst>
              <a:ext uri="{FF2B5EF4-FFF2-40B4-BE49-F238E27FC236}">
                <a16:creationId xmlns:a16="http://schemas.microsoft.com/office/drawing/2014/main" id="{EB0EA769-5FC9-45A9-BD3C-653429FF6DCD}"/>
              </a:ext>
            </a:extLst>
          </p:cNvPr>
          <p:cNvSpPr>
            <a:spLocks noChangeArrowheads="1"/>
          </p:cNvSpPr>
          <p:nvPr/>
        </p:nvSpPr>
        <p:spPr bwMode="auto">
          <a:xfrm>
            <a:off x="7281605"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3" name="Rectangle 109">
            <a:extLst>
              <a:ext uri="{FF2B5EF4-FFF2-40B4-BE49-F238E27FC236}">
                <a16:creationId xmlns:a16="http://schemas.microsoft.com/office/drawing/2014/main" id="{F463B485-CBB6-431B-9090-BCBD48CF4841}"/>
              </a:ext>
            </a:extLst>
          </p:cNvPr>
          <p:cNvSpPr>
            <a:spLocks noChangeArrowheads="1"/>
          </p:cNvSpPr>
          <p:nvPr/>
        </p:nvSpPr>
        <p:spPr bwMode="auto">
          <a:xfrm>
            <a:off x="7569157" y="812808"/>
            <a:ext cx="124347"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4" name="Rectangle 110">
            <a:extLst>
              <a:ext uri="{FF2B5EF4-FFF2-40B4-BE49-F238E27FC236}">
                <a16:creationId xmlns:a16="http://schemas.microsoft.com/office/drawing/2014/main" id="{1CC80DF8-02DB-4791-AF7C-1641898486F1}"/>
              </a:ext>
            </a:extLst>
          </p:cNvPr>
          <p:cNvSpPr>
            <a:spLocks noChangeArrowheads="1"/>
          </p:cNvSpPr>
          <p:nvPr/>
        </p:nvSpPr>
        <p:spPr bwMode="auto">
          <a:xfrm>
            <a:off x="7438982" y="765596"/>
            <a:ext cx="25259" cy="12346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5" name="Freeform 111">
            <a:extLst>
              <a:ext uri="{FF2B5EF4-FFF2-40B4-BE49-F238E27FC236}">
                <a16:creationId xmlns:a16="http://schemas.microsoft.com/office/drawing/2014/main" id="{97A4667B-918C-4404-9D1C-8D4D9754E7A6}"/>
              </a:ext>
            </a:extLst>
          </p:cNvPr>
          <p:cNvSpPr>
            <a:spLocks/>
          </p:cNvSpPr>
          <p:nvPr/>
        </p:nvSpPr>
        <p:spPr bwMode="auto">
          <a:xfrm>
            <a:off x="6654480" y="1170983"/>
            <a:ext cx="285610" cy="1137096"/>
          </a:xfrm>
          <a:custGeom>
            <a:avLst/>
            <a:gdLst>
              <a:gd name="T0" fmla="*/ 0 w 147"/>
              <a:gd name="T1" fmla="*/ 95 h 571"/>
              <a:gd name="T2" fmla="*/ 147 w 147"/>
              <a:gd name="T3" fmla="*/ 0 h 571"/>
              <a:gd name="T4" fmla="*/ 147 w 147"/>
              <a:gd name="T5" fmla="*/ 571 h 571"/>
              <a:gd name="T6" fmla="*/ 0 w 147"/>
              <a:gd name="T7" fmla="*/ 571 h 571"/>
              <a:gd name="T8" fmla="*/ 0 w 147"/>
              <a:gd name="T9" fmla="*/ 95 h 571"/>
            </a:gdLst>
            <a:ahLst/>
            <a:cxnLst>
              <a:cxn ang="0">
                <a:pos x="T0" y="T1"/>
              </a:cxn>
              <a:cxn ang="0">
                <a:pos x="T2" y="T3"/>
              </a:cxn>
              <a:cxn ang="0">
                <a:pos x="T4" y="T5"/>
              </a:cxn>
              <a:cxn ang="0">
                <a:pos x="T6" y="T7"/>
              </a:cxn>
              <a:cxn ang="0">
                <a:pos x="T8" y="T9"/>
              </a:cxn>
            </a:cxnLst>
            <a:rect l="0" t="0" r="r" b="b"/>
            <a:pathLst>
              <a:path w="147" h="571">
                <a:moveTo>
                  <a:pt x="0" y="95"/>
                </a:moveTo>
                <a:lnTo>
                  <a:pt x="147" y="0"/>
                </a:lnTo>
                <a:lnTo>
                  <a:pt x="147" y="571"/>
                </a:lnTo>
                <a:lnTo>
                  <a:pt x="0" y="571"/>
                </a:lnTo>
                <a:lnTo>
                  <a:pt x="0" y="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6" name="Rectangle 112">
            <a:extLst>
              <a:ext uri="{FF2B5EF4-FFF2-40B4-BE49-F238E27FC236}">
                <a16:creationId xmlns:a16="http://schemas.microsoft.com/office/drawing/2014/main" id="{91A167EA-DE04-4DA5-B9B4-4CBDBE7AD5CD}"/>
              </a:ext>
            </a:extLst>
          </p:cNvPr>
          <p:cNvSpPr>
            <a:spLocks noChangeArrowheads="1"/>
          </p:cNvSpPr>
          <p:nvPr/>
        </p:nvSpPr>
        <p:spPr bwMode="auto">
          <a:xfrm>
            <a:off x="6289210" y="1586054"/>
            <a:ext cx="153492" cy="71691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7" name="Rectangle 113">
            <a:extLst>
              <a:ext uri="{FF2B5EF4-FFF2-40B4-BE49-F238E27FC236}">
                <a16:creationId xmlns:a16="http://schemas.microsoft.com/office/drawing/2014/main" id="{4F482DF2-728C-45C6-8BA2-6B77EDE65FC9}"/>
              </a:ext>
            </a:extLst>
          </p:cNvPr>
          <p:cNvSpPr>
            <a:spLocks noChangeArrowheads="1"/>
          </p:cNvSpPr>
          <p:nvPr/>
        </p:nvSpPr>
        <p:spPr bwMode="auto">
          <a:xfrm>
            <a:off x="6366925" y="1182788"/>
            <a:ext cx="303096" cy="1125146"/>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8" name="Freeform 114">
            <a:extLst>
              <a:ext uri="{FF2B5EF4-FFF2-40B4-BE49-F238E27FC236}">
                <a16:creationId xmlns:a16="http://schemas.microsoft.com/office/drawing/2014/main" id="{3AF6F669-BDC6-4BA6-B4B6-DD82B2E0CBC8}"/>
              </a:ext>
            </a:extLst>
          </p:cNvPr>
          <p:cNvSpPr>
            <a:spLocks/>
          </p:cNvSpPr>
          <p:nvPr/>
        </p:nvSpPr>
        <p:spPr bwMode="auto">
          <a:xfrm>
            <a:off x="6440756" y="1084356"/>
            <a:ext cx="155434" cy="113510"/>
          </a:xfrm>
          <a:custGeom>
            <a:avLst/>
            <a:gdLst>
              <a:gd name="T0" fmla="*/ 60 w 80"/>
              <a:gd name="T1" fmla="*/ 0 h 57"/>
              <a:gd name="T2" fmla="*/ 20 w 80"/>
              <a:gd name="T3" fmla="*/ 0 h 57"/>
              <a:gd name="T4" fmla="*/ 0 w 80"/>
              <a:gd name="T5" fmla="*/ 57 h 57"/>
              <a:gd name="T6" fmla="*/ 80 w 80"/>
              <a:gd name="T7" fmla="*/ 57 h 57"/>
              <a:gd name="T8" fmla="*/ 60 w 80"/>
              <a:gd name="T9" fmla="*/ 0 h 57"/>
            </a:gdLst>
            <a:ahLst/>
            <a:cxnLst>
              <a:cxn ang="0">
                <a:pos x="T0" y="T1"/>
              </a:cxn>
              <a:cxn ang="0">
                <a:pos x="T2" y="T3"/>
              </a:cxn>
              <a:cxn ang="0">
                <a:pos x="T4" y="T5"/>
              </a:cxn>
              <a:cxn ang="0">
                <a:pos x="T6" y="T7"/>
              </a:cxn>
              <a:cxn ang="0">
                <a:pos x="T8" y="T9"/>
              </a:cxn>
            </a:cxnLst>
            <a:rect l="0" t="0" r="r" b="b"/>
            <a:pathLst>
              <a:path w="80" h="57">
                <a:moveTo>
                  <a:pt x="60" y="0"/>
                </a:moveTo>
                <a:lnTo>
                  <a:pt x="20" y="0"/>
                </a:lnTo>
                <a:lnTo>
                  <a:pt x="0" y="57"/>
                </a:lnTo>
                <a:lnTo>
                  <a:pt x="80" y="57"/>
                </a:lnTo>
                <a:lnTo>
                  <a:pt x="6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9" name="Rectangle 115">
            <a:extLst>
              <a:ext uri="{FF2B5EF4-FFF2-40B4-BE49-F238E27FC236}">
                <a16:creationId xmlns:a16="http://schemas.microsoft.com/office/drawing/2014/main" id="{B64E3146-648B-459C-A6A2-F94AF26FEA76}"/>
              </a:ext>
            </a:extLst>
          </p:cNvPr>
          <p:cNvSpPr>
            <a:spLocks noChangeArrowheads="1"/>
          </p:cNvSpPr>
          <p:nvPr/>
        </p:nvSpPr>
        <p:spPr bwMode="auto">
          <a:xfrm flipH="1">
            <a:off x="6483835" y="858724"/>
            <a:ext cx="55955" cy="27898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0" name="Rectangle 116">
            <a:extLst>
              <a:ext uri="{FF2B5EF4-FFF2-40B4-BE49-F238E27FC236}">
                <a16:creationId xmlns:a16="http://schemas.microsoft.com/office/drawing/2014/main" id="{BFA1FAFB-7592-42EE-869F-4C1C1B9BF8F0}"/>
              </a:ext>
            </a:extLst>
          </p:cNvPr>
          <p:cNvSpPr>
            <a:spLocks noChangeArrowheads="1"/>
          </p:cNvSpPr>
          <p:nvPr/>
        </p:nvSpPr>
        <p:spPr bwMode="auto">
          <a:xfrm>
            <a:off x="6405783"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1" name="Rectangle 117">
            <a:extLst>
              <a:ext uri="{FF2B5EF4-FFF2-40B4-BE49-F238E27FC236}">
                <a16:creationId xmlns:a16="http://schemas.microsoft.com/office/drawing/2014/main" id="{16A91866-A147-4565-AA7F-D5CE11C29FD3}"/>
              </a:ext>
            </a:extLst>
          </p:cNvPr>
          <p:cNvSpPr>
            <a:spLocks noChangeArrowheads="1"/>
          </p:cNvSpPr>
          <p:nvPr/>
        </p:nvSpPr>
        <p:spPr bwMode="auto">
          <a:xfrm>
            <a:off x="6469901"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2" name="Rectangle 118">
            <a:extLst>
              <a:ext uri="{FF2B5EF4-FFF2-40B4-BE49-F238E27FC236}">
                <a16:creationId xmlns:a16="http://schemas.microsoft.com/office/drawing/2014/main" id="{C314EEC3-0C5F-4BB7-815D-A198AFFE1E48}"/>
              </a:ext>
            </a:extLst>
          </p:cNvPr>
          <p:cNvSpPr>
            <a:spLocks noChangeArrowheads="1"/>
          </p:cNvSpPr>
          <p:nvPr/>
        </p:nvSpPr>
        <p:spPr bwMode="auto">
          <a:xfrm>
            <a:off x="6535960" y="1232503"/>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3" name="Rectangle 119">
            <a:extLst>
              <a:ext uri="{FF2B5EF4-FFF2-40B4-BE49-F238E27FC236}">
                <a16:creationId xmlns:a16="http://schemas.microsoft.com/office/drawing/2014/main" id="{D25B269A-478E-4EE4-BA3C-68DC9946F9AC}"/>
              </a:ext>
            </a:extLst>
          </p:cNvPr>
          <p:cNvSpPr>
            <a:spLocks noChangeArrowheads="1"/>
          </p:cNvSpPr>
          <p:nvPr/>
        </p:nvSpPr>
        <p:spPr bwMode="auto">
          <a:xfrm>
            <a:off x="6600076"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4" name="Rectangle 120">
            <a:extLst>
              <a:ext uri="{FF2B5EF4-FFF2-40B4-BE49-F238E27FC236}">
                <a16:creationId xmlns:a16="http://schemas.microsoft.com/office/drawing/2014/main" id="{E7759683-050C-4A5F-BA5E-0ED5B7A3D22C}"/>
              </a:ext>
            </a:extLst>
          </p:cNvPr>
          <p:cNvSpPr>
            <a:spLocks noChangeArrowheads="1"/>
          </p:cNvSpPr>
          <p:nvPr/>
        </p:nvSpPr>
        <p:spPr bwMode="auto">
          <a:xfrm>
            <a:off x="6405783"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5" name="Rectangle 121">
            <a:extLst>
              <a:ext uri="{FF2B5EF4-FFF2-40B4-BE49-F238E27FC236}">
                <a16:creationId xmlns:a16="http://schemas.microsoft.com/office/drawing/2014/main" id="{D007A8CF-9382-47CC-8060-8F0336DBE365}"/>
              </a:ext>
            </a:extLst>
          </p:cNvPr>
          <p:cNvSpPr>
            <a:spLocks noChangeArrowheads="1"/>
          </p:cNvSpPr>
          <p:nvPr/>
        </p:nvSpPr>
        <p:spPr bwMode="auto">
          <a:xfrm>
            <a:off x="6469901" y="1333535"/>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6" name="Rectangle 122">
            <a:extLst>
              <a:ext uri="{FF2B5EF4-FFF2-40B4-BE49-F238E27FC236}">
                <a16:creationId xmlns:a16="http://schemas.microsoft.com/office/drawing/2014/main" id="{F12FE0A8-F94A-446F-88DD-1F29959B38B7}"/>
              </a:ext>
            </a:extLst>
          </p:cNvPr>
          <p:cNvSpPr>
            <a:spLocks noChangeArrowheads="1"/>
          </p:cNvSpPr>
          <p:nvPr/>
        </p:nvSpPr>
        <p:spPr bwMode="auto">
          <a:xfrm>
            <a:off x="6535960"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7" name="Rectangle 123">
            <a:extLst>
              <a:ext uri="{FF2B5EF4-FFF2-40B4-BE49-F238E27FC236}">
                <a16:creationId xmlns:a16="http://schemas.microsoft.com/office/drawing/2014/main" id="{4B1B61A1-0D52-4E36-B10F-A6D60D66AB24}"/>
              </a:ext>
            </a:extLst>
          </p:cNvPr>
          <p:cNvSpPr>
            <a:spLocks noChangeArrowheads="1"/>
          </p:cNvSpPr>
          <p:nvPr/>
        </p:nvSpPr>
        <p:spPr bwMode="auto">
          <a:xfrm>
            <a:off x="6600076"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8" name="Rectangle 124">
            <a:extLst>
              <a:ext uri="{FF2B5EF4-FFF2-40B4-BE49-F238E27FC236}">
                <a16:creationId xmlns:a16="http://schemas.microsoft.com/office/drawing/2014/main" id="{33AD4BCD-31F2-41E7-AB24-7B2FD8EE78A0}"/>
              </a:ext>
            </a:extLst>
          </p:cNvPr>
          <p:cNvSpPr>
            <a:spLocks noChangeArrowheads="1"/>
          </p:cNvSpPr>
          <p:nvPr/>
        </p:nvSpPr>
        <p:spPr bwMode="auto">
          <a:xfrm>
            <a:off x="6405783"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9" name="Rectangle 125">
            <a:extLst>
              <a:ext uri="{FF2B5EF4-FFF2-40B4-BE49-F238E27FC236}">
                <a16:creationId xmlns:a16="http://schemas.microsoft.com/office/drawing/2014/main" id="{1D0EF998-696E-4119-AA4F-ADFB68063929}"/>
              </a:ext>
            </a:extLst>
          </p:cNvPr>
          <p:cNvSpPr>
            <a:spLocks noChangeArrowheads="1"/>
          </p:cNvSpPr>
          <p:nvPr/>
        </p:nvSpPr>
        <p:spPr bwMode="auto">
          <a:xfrm>
            <a:off x="6469901"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0" name="Rectangle 126">
            <a:extLst>
              <a:ext uri="{FF2B5EF4-FFF2-40B4-BE49-F238E27FC236}">
                <a16:creationId xmlns:a16="http://schemas.microsoft.com/office/drawing/2014/main" id="{E690B277-A6B8-48E0-B0FE-FD5F724725C5}"/>
              </a:ext>
            </a:extLst>
          </p:cNvPr>
          <p:cNvSpPr>
            <a:spLocks noChangeArrowheads="1"/>
          </p:cNvSpPr>
          <p:nvPr/>
        </p:nvSpPr>
        <p:spPr bwMode="auto">
          <a:xfrm>
            <a:off x="6535960" y="1436533"/>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1" name="Rectangle 127">
            <a:extLst>
              <a:ext uri="{FF2B5EF4-FFF2-40B4-BE49-F238E27FC236}">
                <a16:creationId xmlns:a16="http://schemas.microsoft.com/office/drawing/2014/main" id="{1C1861E7-BB2E-4C4C-8C9E-343B5097BBD7}"/>
              </a:ext>
            </a:extLst>
          </p:cNvPr>
          <p:cNvSpPr>
            <a:spLocks noChangeArrowheads="1"/>
          </p:cNvSpPr>
          <p:nvPr/>
        </p:nvSpPr>
        <p:spPr bwMode="auto">
          <a:xfrm>
            <a:off x="6600076"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2" name="Rectangle 128">
            <a:extLst>
              <a:ext uri="{FF2B5EF4-FFF2-40B4-BE49-F238E27FC236}">
                <a16:creationId xmlns:a16="http://schemas.microsoft.com/office/drawing/2014/main" id="{26086759-A291-4D90-84B8-4E4AB4AB9399}"/>
              </a:ext>
            </a:extLst>
          </p:cNvPr>
          <p:cNvSpPr>
            <a:spLocks noChangeArrowheads="1"/>
          </p:cNvSpPr>
          <p:nvPr/>
        </p:nvSpPr>
        <p:spPr bwMode="auto">
          <a:xfrm>
            <a:off x="6405783"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3" name="Rectangle 129">
            <a:extLst>
              <a:ext uri="{FF2B5EF4-FFF2-40B4-BE49-F238E27FC236}">
                <a16:creationId xmlns:a16="http://schemas.microsoft.com/office/drawing/2014/main" id="{3076B989-02D5-47C7-9D24-E5B4DE9038ED}"/>
              </a:ext>
            </a:extLst>
          </p:cNvPr>
          <p:cNvSpPr>
            <a:spLocks noChangeArrowheads="1"/>
          </p:cNvSpPr>
          <p:nvPr/>
        </p:nvSpPr>
        <p:spPr bwMode="auto">
          <a:xfrm>
            <a:off x="6469901"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4" name="Rectangle 130">
            <a:extLst>
              <a:ext uri="{FF2B5EF4-FFF2-40B4-BE49-F238E27FC236}">
                <a16:creationId xmlns:a16="http://schemas.microsoft.com/office/drawing/2014/main" id="{5CA95A17-9543-4724-A163-DF7BA9A28458}"/>
              </a:ext>
            </a:extLst>
          </p:cNvPr>
          <p:cNvSpPr>
            <a:spLocks noChangeArrowheads="1"/>
          </p:cNvSpPr>
          <p:nvPr/>
        </p:nvSpPr>
        <p:spPr bwMode="auto">
          <a:xfrm>
            <a:off x="6535960"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5" name="Rectangle 131">
            <a:extLst>
              <a:ext uri="{FF2B5EF4-FFF2-40B4-BE49-F238E27FC236}">
                <a16:creationId xmlns:a16="http://schemas.microsoft.com/office/drawing/2014/main" id="{361062AD-CE1D-424E-A185-7C4EDCA99986}"/>
              </a:ext>
            </a:extLst>
          </p:cNvPr>
          <p:cNvSpPr>
            <a:spLocks noChangeArrowheads="1"/>
          </p:cNvSpPr>
          <p:nvPr/>
        </p:nvSpPr>
        <p:spPr bwMode="auto">
          <a:xfrm>
            <a:off x="6600076"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6" name="Rectangle 132">
            <a:extLst>
              <a:ext uri="{FF2B5EF4-FFF2-40B4-BE49-F238E27FC236}">
                <a16:creationId xmlns:a16="http://schemas.microsoft.com/office/drawing/2014/main" id="{A902981C-0955-407C-9644-520451AAA39B}"/>
              </a:ext>
            </a:extLst>
          </p:cNvPr>
          <p:cNvSpPr>
            <a:spLocks noChangeArrowheads="1"/>
          </p:cNvSpPr>
          <p:nvPr/>
        </p:nvSpPr>
        <p:spPr bwMode="auto">
          <a:xfrm>
            <a:off x="6405783"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7" name="Rectangle 133">
            <a:extLst>
              <a:ext uri="{FF2B5EF4-FFF2-40B4-BE49-F238E27FC236}">
                <a16:creationId xmlns:a16="http://schemas.microsoft.com/office/drawing/2014/main" id="{F32A75A6-8785-418B-BCD7-3D05A9C92FD7}"/>
              </a:ext>
            </a:extLst>
          </p:cNvPr>
          <p:cNvSpPr>
            <a:spLocks noChangeArrowheads="1"/>
          </p:cNvSpPr>
          <p:nvPr/>
        </p:nvSpPr>
        <p:spPr bwMode="auto">
          <a:xfrm>
            <a:off x="6469901" y="1642460"/>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8" name="Rectangle 134">
            <a:extLst>
              <a:ext uri="{FF2B5EF4-FFF2-40B4-BE49-F238E27FC236}">
                <a16:creationId xmlns:a16="http://schemas.microsoft.com/office/drawing/2014/main" id="{BEC7C993-63E6-4FF6-8E0E-C8E34E590095}"/>
              </a:ext>
            </a:extLst>
          </p:cNvPr>
          <p:cNvSpPr>
            <a:spLocks noChangeArrowheads="1"/>
          </p:cNvSpPr>
          <p:nvPr/>
        </p:nvSpPr>
        <p:spPr bwMode="auto">
          <a:xfrm>
            <a:off x="6535960"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9" name="Rectangle 135">
            <a:extLst>
              <a:ext uri="{FF2B5EF4-FFF2-40B4-BE49-F238E27FC236}">
                <a16:creationId xmlns:a16="http://schemas.microsoft.com/office/drawing/2014/main" id="{03262B7B-DBAF-4E65-BD5E-2DFB57D77374}"/>
              </a:ext>
            </a:extLst>
          </p:cNvPr>
          <p:cNvSpPr>
            <a:spLocks noChangeArrowheads="1"/>
          </p:cNvSpPr>
          <p:nvPr/>
        </p:nvSpPr>
        <p:spPr bwMode="auto">
          <a:xfrm>
            <a:off x="6600076"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0" name="Rectangle 136">
            <a:extLst>
              <a:ext uri="{FF2B5EF4-FFF2-40B4-BE49-F238E27FC236}">
                <a16:creationId xmlns:a16="http://schemas.microsoft.com/office/drawing/2014/main" id="{4045AE6A-C2EF-44D0-87ED-2BF8FBDB42DC}"/>
              </a:ext>
            </a:extLst>
          </p:cNvPr>
          <p:cNvSpPr>
            <a:spLocks noChangeArrowheads="1"/>
          </p:cNvSpPr>
          <p:nvPr/>
        </p:nvSpPr>
        <p:spPr bwMode="auto">
          <a:xfrm>
            <a:off x="6405783"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1" name="Rectangle 137">
            <a:extLst>
              <a:ext uri="{FF2B5EF4-FFF2-40B4-BE49-F238E27FC236}">
                <a16:creationId xmlns:a16="http://schemas.microsoft.com/office/drawing/2014/main" id="{05B3FCD5-5269-458A-80FF-D1ECE2D7B200}"/>
              </a:ext>
            </a:extLst>
          </p:cNvPr>
          <p:cNvSpPr>
            <a:spLocks noChangeArrowheads="1"/>
          </p:cNvSpPr>
          <p:nvPr/>
        </p:nvSpPr>
        <p:spPr bwMode="auto">
          <a:xfrm>
            <a:off x="6469901"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2" name="Rectangle 138">
            <a:extLst>
              <a:ext uri="{FF2B5EF4-FFF2-40B4-BE49-F238E27FC236}">
                <a16:creationId xmlns:a16="http://schemas.microsoft.com/office/drawing/2014/main" id="{3098C63B-051E-40D0-B3BE-B3FBE2ACBF47}"/>
              </a:ext>
            </a:extLst>
          </p:cNvPr>
          <p:cNvSpPr>
            <a:spLocks noChangeArrowheads="1"/>
          </p:cNvSpPr>
          <p:nvPr/>
        </p:nvSpPr>
        <p:spPr bwMode="auto">
          <a:xfrm>
            <a:off x="6535960" y="174349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3" name="Rectangle 139">
            <a:extLst>
              <a:ext uri="{FF2B5EF4-FFF2-40B4-BE49-F238E27FC236}">
                <a16:creationId xmlns:a16="http://schemas.microsoft.com/office/drawing/2014/main" id="{4BB3ABB5-0F6B-4E29-B383-F49DE47081A8}"/>
              </a:ext>
            </a:extLst>
          </p:cNvPr>
          <p:cNvSpPr>
            <a:spLocks noChangeArrowheads="1"/>
          </p:cNvSpPr>
          <p:nvPr/>
        </p:nvSpPr>
        <p:spPr bwMode="auto">
          <a:xfrm>
            <a:off x="6600076"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4" name="Rectangle 140">
            <a:extLst>
              <a:ext uri="{FF2B5EF4-FFF2-40B4-BE49-F238E27FC236}">
                <a16:creationId xmlns:a16="http://schemas.microsoft.com/office/drawing/2014/main" id="{EC8F0487-13FA-48A9-BF49-CFACF1C9D363}"/>
              </a:ext>
            </a:extLst>
          </p:cNvPr>
          <p:cNvSpPr>
            <a:spLocks noChangeArrowheads="1"/>
          </p:cNvSpPr>
          <p:nvPr/>
        </p:nvSpPr>
        <p:spPr bwMode="auto">
          <a:xfrm>
            <a:off x="6405783"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5" name="Rectangle 141">
            <a:extLst>
              <a:ext uri="{FF2B5EF4-FFF2-40B4-BE49-F238E27FC236}">
                <a16:creationId xmlns:a16="http://schemas.microsoft.com/office/drawing/2014/main" id="{9B2F42C9-03B3-43B9-93F5-B909245EBBBD}"/>
              </a:ext>
            </a:extLst>
          </p:cNvPr>
          <p:cNvSpPr>
            <a:spLocks noChangeArrowheads="1"/>
          </p:cNvSpPr>
          <p:nvPr/>
        </p:nvSpPr>
        <p:spPr bwMode="auto">
          <a:xfrm>
            <a:off x="6469901"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6" name="Rectangle 142">
            <a:extLst>
              <a:ext uri="{FF2B5EF4-FFF2-40B4-BE49-F238E27FC236}">
                <a16:creationId xmlns:a16="http://schemas.microsoft.com/office/drawing/2014/main" id="{5C3E9EAD-CC74-45BD-B612-ED6D9B7BD74C}"/>
              </a:ext>
            </a:extLst>
          </p:cNvPr>
          <p:cNvSpPr>
            <a:spLocks noChangeArrowheads="1"/>
          </p:cNvSpPr>
          <p:nvPr/>
        </p:nvSpPr>
        <p:spPr bwMode="auto">
          <a:xfrm>
            <a:off x="6535960"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7" name="Rectangle 143">
            <a:extLst>
              <a:ext uri="{FF2B5EF4-FFF2-40B4-BE49-F238E27FC236}">
                <a16:creationId xmlns:a16="http://schemas.microsoft.com/office/drawing/2014/main" id="{F5EB1465-E047-4AA6-89FB-B7D7FFEC413E}"/>
              </a:ext>
            </a:extLst>
          </p:cNvPr>
          <p:cNvSpPr>
            <a:spLocks noChangeArrowheads="1"/>
          </p:cNvSpPr>
          <p:nvPr/>
        </p:nvSpPr>
        <p:spPr bwMode="auto">
          <a:xfrm>
            <a:off x="6600076"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8" name="Rectangle 144">
            <a:extLst>
              <a:ext uri="{FF2B5EF4-FFF2-40B4-BE49-F238E27FC236}">
                <a16:creationId xmlns:a16="http://schemas.microsoft.com/office/drawing/2014/main" id="{BEB5A9CA-CD40-443B-919A-55ADC98D5371}"/>
              </a:ext>
            </a:extLst>
          </p:cNvPr>
          <p:cNvSpPr>
            <a:spLocks noChangeArrowheads="1"/>
          </p:cNvSpPr>
          <p:nvPr/>
        </p:nvSpPr>
        <p:spPr bwMode="auto">
          <a:xfrm>
            <a:off x="6405783"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9" name="Rectangle 145">
            <a:extLst>
              <a:ext uri="{FF2B5EF4-FFF2-40B4-BE49-F238E27FC236}">
                <a16:creationId xmlns:a16="http://schemas.microsoft.com/office/drawing/2014/main" id="{A35D342E-B6DA-49D5-B833-3AC3C27F71D3}"/>
              </a:ext>
            </a:extLst>
          </p:cNvPr>
          <p:cNvSpPr>
            <a:spLocks noChangeArrowheads="1"/>
          </p:cNvSpPr>
          <p:nvPr/>
        </p:nvSpPr>
        <p:spPr bwMode="auto">
          <a:xfrm>
            <a:off x="6469901"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0" name="Rectangle 146">
            <a:extLst>
              <a:ext uri="{FF2B5EF4-FFF2-40B4-BE49-F238E27FC236}">
                <a16:creationId xmlns:a16="http://schemas.microsoft.com/office/drawing/2014/main" id="{0B357F7F-2FE2-4A2A-9F31-47B0F459EDFC}"/>
              </a:ext>
            </a:extLst>
          </p:cNvPr>
          <p:cNvSpPr>
            <a:spLocks noChangeArrowheads="1"/>
          </p:cNvSpPr>
          <p:nvPr/>
        </p:nvSpPr>
        <p:spPr bwMode="auto">
          <a:xfrm>
            <a:off x="6535960"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1" name="Rectangle 147">
            <a:extLst>
              <a:ext uri="{FF2B5EF4-FFF2-40B4-BE49-F238E27FC236}">
                <a16:creationId xmlns:a16="http://schemas.microsoft.com/office/drawing/2014/main" id="{DBB7C0FC-CF5B-4085-8AEE-5C02F9CDA427}"/>
              </a:ext>
            </a:extLst>
          </p:cNvPr>
          <p:cNvSpPr>
            <a:spLocks noChangeArrowheads="1"/>
          </p:cNvSpPr>
          <p:nvPr/>
        </p:nvSpPr>
        <p:spPr bwMode="auto">
          <a:xfrm>
            <a:off x="6600076"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2" name="Rectangle 148">
            <a:extLst>
              <a:ext uri="{FF2B5EF4-FFF2-40B4-BE49-F238E27FC236}">
                <a16:creationId xmlns:a16="http://schemas.microsoft.com/office/drawing/2014/main" id="{71FF0E02-D2C9-461B-B23F-6E2B487E8A8D}"/>
              </a:ext>
            </a:extLst>
          </p:cNvPr>
          <p:cNvSpPr>
            <a:spLocks noChangeArrowheads="1"/>
          </p:cNvSpPr>
          <p:nvPr/>
        </p:nvSpPr>
        <p:spPr bwMode="auto">
          <a:xfrm>
            <a:off x="6405783"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3" name="Rectangle 149">
            <a:extLst>
              <a:ext uri="{FF2B5EF4-FFF2-40B4-BE49-F238E27FC236}">
                <a16:creationId xmlns:a16="http://schemas.microsoft.com/office/drawing/2014/main" id="{8946B7E0-366A-4A18-871E-1D8686D69AC6}"/>
              </a:ext>
            </a:extLst>
          </p:cNvPr>
          <p:cNvSpPr>
            <a:spLocks noChangeArrowheads="1"/>
          </p:cNvSpPr>
          <p:nvPr/>
        </p:nvSpPr>
        <p:spPr bwMode="auto">
          <a:xfrm>
            <a:off x="6469901"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4" name="Rectangle 150">
            <a:extLst>
              <a:ext uri="{FF2B5EF4-FFF2-40B4-BE49-F238E27FC236}">
                <a16:creationId xmlns:a16="http://schemas.microsoft.com/office/drawing/2014/main" id="{8BD15256-6EFB-4BDE-9AD6-55EBEC40A26F}"/>
              </a:ext>
            </a:extLst>
          </p:cNvPr>
          <p:cNvSpPr>
            <a:spLocks noChangeArrowheads="1"/>
          </p:cNvSpPr>
          <p:nvPr/>
        </p:nvSpPr>
        <p:spPr bwMode="auto">
          <a:xfrm>
            <a:off x="6535960"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5" name="Rectangle 151">
            <a:extLst>
              <a:ext uri="{FF2B5EF4-FFF2-40B4-BE49-F238E27FC236}">
                <a16:creationId xmlns:a16="http://schemas.microsoft.com/office/drawing/2014/main" id="{999DBA0E-4DA9-4984-831D-6A68C6DAE9D8}"/>
              </a:ext>
            </a:extLst>
          </p:cNvPr>
          <p:cNvSpPr>
            <a:spLocks noChangeArrowheads="1"/>
          </p:cNvSpPr>
          <p:nvPr/>
        </p:nvSpPr>
        <p:spPr bwMode="auto">
          <a:xfrm>
            <a:off x="6600076"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6" name="Rectangle 152">
            <a:extLst>
              <a:ext uri="{FF2B5EF4-FFF2-40B4-BE49-F238E27FC236}">
                <a16:creationId xmlns:a16="http://schemas.microsoft.com/office/drawing/2014/main" id="{B7358F92-FB35-4746-9145-B22914C30CEF}"/>
              </a:ext>
            </a:extLst>
          </p:cNvPr>
          <p:cNvSpPr>
            <a:spLocks noChangeArrowheads="1"/>
          </p:cNvSpPr>
          <p:nvPr/>
        </p:nvSpPr>
        <p:spPr bwMode="auto">
          <a:xfrm>
            <a:off x="6405783"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7" name="Rectangle 153">
            <a:extLst>
              <a:ext uri="{FF2B5EF4-FFF2-40B4-BE49-F238E27FC236}">
                <a16:creationId xmlns:a16="http://schemas.microsoft.com/office/drawing/2014/main" id="{A1DD9080-62B3-434F-B88A-DC04DF1EDD79}"/>
              </a:ext>
            </a:extLst>
          </p:cNvPr>
          <p:cNvSpPr>
            <a:spLocks noChangeArrowheads="1"/>
          </p:cNvSpPr>
          <p:nvPr/>
        </p:nvSpPr>
        <p:spPr bwMode="auto">
          <a:xfrm>
            <a:off x="6469901"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8" name="Rectangle 154">
            <a:extLst>
              <a:ext uri="{FF2B5EF4-FFF2-40B4-BE49-F238E27FC236}">
                <a16:creationId xmlns:a16="http://schemas.microsoft.com/office/drawing/2014/main" id="{D30037C4-0C85-4431-9E4B-3DA63A4B15D2}"/>
              </a:ext>
            </a:extLst>
          </p:cNvPr>
          <p:cNvSpPr>
            <a:spLocks noChangeArrowheads="1"/>
          </p:cNvSpPr>
          <p:nvPr/>
        </p:nvSpPr>
        <p:spPr bwMode="auto">
          <a:xfrm>
            <a:off x="6535960"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9" name="Rectangle 155">
            <a:extLst>
              <a:ext uri="{FF2B5EF4-FFF2-40B4-BE49-F238E27FC236}">
                <a16:creationId xmlns:a16="http://schemas.microsoft.com/office/drawing/2014/main" id="{2705B40F-C175-40DD-89CA-1DB4184011F0}"/>
              </a:ext>
            </a:extLst>
          </p:cNvPr>
          <p:cNvSpPr>
            <a:spLocks noChangeArrowheads="1"/>
          </p:cNvSpPr>
          <p:nvPr/>
        </p:nvSpPr>
        <p:spPr bwMode="auto">
          <a:xfrm>
            <a:off x="6600076"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0" name="Line 156">
            <a:extLst>
              <a:ext uri="{FF2B5EF4-FFF2-40B4-BE49-F238E27FC236}">
                <a16:creationId xmlns:a16="http://schemas.microsoft.com/office/drawing/2014/main" id="{83D4F0F8-413D-40F3-835D-77E8F5E2257B}"/>
              </a:ext>
            </a:extLst>
          </p:cNvPr>
          <p:cNvSpPr>
            <a:spLocks noChangeShapeType="1"/>
          </p:cNvSpPr>
          <p:nvPr/>
        </p:nvSpPr>
        <p:spPr bwMode="auto">
          <a:xfrm>
            <a:off x="689734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1" name="Line 157">
            <a:extLst>
              <a:ext uri="{FF2B5EF4-FFF2-40B4-BE49-F238E27FC236}">
                <a16:creationId xmlns:a16="http://schemas.microsoft.com/office/drawing/2014/main" id="{F4EF810C-A659-4746-83E1-3C6902A6ACFA}"/>
              </a:ext>
            </a:extLst>
          </p:cNvPr>
          <p:cNvSpPr>
            <a:spLocks noChangeShapeType="1"/>
          </p:cNvSpPr>
          <p:nvPr/>
        </p:nvSpPr>
        <p:spPr bwMode="auto">
          <a:xfrm>
            <a:off x="684488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2" name="Line 158">
            <a:extLst>
              <a:ext uri="{FF2B5EF4-FFF2-40B4-BE49-F238E27FC236}">
                <a16:creationId xmlns:a16="http://schemas.microsoft.com/office/drawing/2014/main" id="{62FABB99-E439-467C-A739-26580FA88F1A}"/>
              </a:ext>
            </a:extLst>
          </p:cNvPr>
          <p:cNvSpPr>
            <a:spLocks noChangeShapeType="1"/>
          </p:cNvSpPr>
          <p:nvPr/>
        </p:nvSpPr>
        <p:spPr bwMode="auto">
          <a:xfrm>
            <a:off x="679631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3" name="Line 159">
            <a:extLst>
              <a:ext uri="{FF2B5EF4-FFF2-40B4-BE49-F238E27FC236}">
                <a16:creationId xmlns:a16="http://schemas.microsoft.com/office/drawing/2014/main" id="{7EDA80CE-DBD2-421D-8651-2AFB5CF150C9}"/>
              </a:ext>
            </a:extLst>
          </p:cNvPr>
          <p:cNvSpPr>
            <a:spLocks noChangeShapeType="1"/>
          </p:cNvSpPr>
          <p:nvPr/>
        </p:nvSpPr>
        <p:spPr bwMode="auto">
          <a:xfrm>
            <a:off x="674385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4" name="Line 160">
            <a:extLst>
              <a:ext uri="{FF2B5EF4-FFF2-40B4-BE49-F238E27FC236}">
                <a16:creationId xmlns:a16="http://schemas.microsoft.com/office/drawing/2014/main" id="{6FB9B2EA-A22B-4ED5-B406-324B727C5C5D}"/>
              </a:ext>
            </a:extLst>
          </p:cNvPr>
          <p:cNvSpPr>
            <a:spLocks noChangeShapeType="1"/>
          </p:cNvSpPr>
          <p:nvPr/>
        </p:nvSpPr>
        <p:spPr bwMode="auto">
          <a:xfrm>
            <a:off x="6695280"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5" name="Rectangle 161">
            <a:extLst>
              <a:ext uri="{FF2B5EF4-FFF2-40B4-BE49-F238E27FC236}">
                <a16:creationId xmlns:a16="http://schemas.microsoft.com/office/drawing/2014/main" id="{619A1027-A958-4D75-9BB5-F5BDEBC13EA3}"/>
              </a:ext>
            </a:extLst>
          </p:cNvPr>
          <p:cNvSpPr>
            <a:spLocks noChangeArrowheads="1"/>
          </p:cNvSpPr>
          <p:nvPr/>
        </p:nvSpPr>
        <p:spPr bwMode="auto">
          <a:xfrm>
            <a:off x="7744020" y="1594057"/>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6" name="Rectangle 162">
            <a:extLst>
              <a:ext uri="{FF2B5EF4-FFF2-40B4-BE49-F238E27FC236}">
                <a16:creationId xmlns:a16="http://schemas.microsoft.com/office/drawing/2014/main" id="{9B29BCC6-2CB8-4DA1-B277-6D06CBA3FAD0}"/>
              </a:ext>
            </a:extLst>
          </p:cNvPr>
          <p:cNvSpPr>
            <a:spLocks noChangeArrowheads="1"/>
          </p:cNvSpPr>
          <p:nvPr/>
        </p:nvSpPr>
        <p:spPr bwMode="auto">
          <a:xfrm>
            <a:off x="7744020" y="1695089"/>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7" name="Rectangle 163">
            <a:extLst>
              <a:ext uri="{FF2B5EF4-FFF2-40B4-BE49-F238E27FC236}">
                <a16:creationId xmlns:a16="http://schemas.microsoft.com/office/drawing/2014/main" id="{DEA8EAA2-4C1D-4DE8-B710-F2A970647B8E}"/>
              </a:ext>
            </a:extLst>
          </p:cNvPr>
          <p:cNvSpPr>
            <a:spLocks noChangeArrowheads="1"/>
          </p:cNvSpPr>
          <p:nvPr/>
        </p:nvSpPr>
        <p:spPr bwMode="auto">
          <a:xfrm>
            <a:off x="7744020" y="1800031"/>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8" name="Rectangle 164">
            <a:extLst>
              <a:ext uri="{FF2B5EF4-FFF2-40B4-BE49-F238E27FC236}">
                <a16:creationId xmlns:a16="http://schemas.microsoft.com/office/drawing/2014/main" id="{2B4B5F74-CC25-47DF-B39D-36DFD0BE1F6B}"/>
              </a:ext>
            </a:extLst>
          </p:cNvPr>
          <p:cNvSpPr>
            <a:spLocks noChangeArrowheads="1"/>
          </p:cNvSpPr>
          <p:nvPr/>
        </p:nvSpPr>
        <p:spPr bwMode="auto">
          <a:xfrm>
            <a:off x="7744020" y="1901012"/>
            <a:ext cx="273953" cy="6173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9" name="Rectangle 165">
            <a:extLst>
              <a:ext uri="{FF2B5EF4-FFF2-40B4-BE49-F238E27FC236}">
                <a16:creationId xmlns:a16="http://schemas.microsoft.com/office/drawing/2014/main" id="{771EFDB0-3881-4BE6-9B18-3FC62BE3C5D4}"/>
              </a:ext>
            </a:extLst>
          </p:cNvPr>
          <p:cNvSpPr>
            <a:spLocks noChangeArrowheads="1"/>
          </p:cNvSpPr>
          <p:nvPr/>
        </p:nvSpPr>
        <p:spPr bwMode="auto">
          <a:xfrm>
            <a:off x="7744020" y="2004014"/>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0" name="Rectangle 166">
            <a:extLst>
              <a:ext uri="{FF2B5EF4-FFF2-40B4-BE49-F238E27FC236}">
                <a16:creationId xmlns:a16="http://schemas.microsoft.com/office/drawing/2014/main" id="{2403714E-AAFA-4954-BEB6-BDD3FFA8FE39}"/>
              </a:ext>
            </a:extLst>
          </p:cNvPr>
          <p:cNvSpPr>
            <a:spLocks noChangeArrowheads="1"/>
          </p:cNvSpPr>
          <p:nvPr/>
        </p:nvSpPr>
        <p:spPr bwMode="auto">
          <a:xfrm>
            <a:off x="7744020" y="2105046"/>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1" name="Rectangle 167">
            <a:extLst>
              <a:ext uri="{FF2B5EF4-FFF2-40B4-BE49-F238E27FC236}">
                <a16:creationId xmlns:a16="http://schemas.microsoft.com/office/drawing/2014/main" id="{9D727091-C226-4798-8961-945390CC92AA}"/>
              </a:ext>
            </a:extLst>
          </p:cNvPr>
          <p:cNvSpPr>
            <a:spLocks noChangeArrowheads="1"/>
          </p:cNvSpPr>
          <p:nvPr/>
        </p:nvSpPr>
        <p:spPr bwMode="auto">
          <a:xfrm>
            <a:off x="7744020" y="2209988"/>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pic>
        <p:nvPicPr>
          <p:cNvPr id="182" name="Picture 181">
            <a:extLst>
              <a:ext uri="{FF2B5EF4-FFF2-40B4-BE49-F238E27FC236}">
                <a16:creationId xmlns:a16="http://schemas.microsoft.com/office/drawing/2014/main" id="{941B6985-21E7-4E65-98B1-F19985F708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0369" y="6240438"/>
            <a:ext cx="440352" cy="539637"/>
          </a:xfrm>
          <a:prstGeom prst="rect">
            <a:avLst/>
          </a:prstGeom>
        </p:spPr>
      </p:pic>
      <p:sp>
        <p:nvSpPr>
          <p:cNvPr id="12" name="TextBox 11">
            <a:extLst>
              <a:ext uri="{FF2B5EF4-FFF2-40B4-BE49-F238E27FC236}">
                <a16:creationId xmlns:a16="http://schemas.microsoft.com/office/drawing/2014/main" id="{36BA804E-E2D1-4BA6-8EBE-F5FEAE3105DD}"/>
              </a:ext>
            </a:extLst>
          </p:cNvPr>
          <p:cNvSpPr txBox="1"/>
          <p:nvPr/>
        </p:nvSpPr>
        <p:spPr>
          <a:xfrm>
            <a:off x="8567146" y="6152350"/>
            <a:ext cx="1447995" cy="193899"/>
          </a:xfrm>
          <a:prstGeom prst="rect">
            <a:avLst/>
          </a:prstGeom>
          <a:solidFill>
            <a:schemeClr val="tx2">
              <a:lumMod val="10000"/>
            </a:schemeClr>
          </a:solidFill>
        </p:spPr>
        <p:txBody>
          <a:bodyPr wrap="square" lIns="0" tIns="0" rIns="0" bIns="0" rtlCol="0" anchor="ctr" anchorCtr="0">
            <a:spAutoFit/>
          </a:bodyPr>
          <a:lstStyle/>
          <a:p>
            <a:pPr algn="ctr" defTabSz="914367">
              <a:lnSpc>
                <a:spcPct val="90000"/>
              </a:lnSpc>
              <a:spcAft>
                <a:spcPts val="588"/>
              </a:spcAft>
              <a:defRPr/>
            </a:pPr>
            <a:r>
              <a:rPr lang="en-US" sz="1400" dirty="0">
                <a:latin typeface="Segoe UI" panose="020B0502040204020203" pitchFamily="34" charset="0"/>
                <a:cs typeface="Segoe UI" panose="020B0502040204020203" pitchFamily="34" charset="0"/>
              </a:rPr>
              <a:t>Azure Network</a:t>
            </a:r>
          </a:p>
        </p:txBody>
      </p:sp>
    </p:spTree>
    <p:extLst>
      <p:ext uri="{BB962C8B-B14F-4D97-AF65-F5344CB8AC3E}">
        <p14:creationId xmlns:p14="http://schemas.microsoft.com/office/powerpoint/2010/main" val="261519048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Service Tag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4" y="1122766"/>
            <a:ext cx="6250037" cy="5620000"/>
          </a:xfrm>
        </p:spPr>
        <p:txBody>
          <a:bodyPr/>
          <a:lstStyle/>
          <a:p>
            <a:pPr marL="457200" indent="-457200">
              <a:buFont typeface="Arial" panose="020B0604020202020204" pitchFamily="34" charset="0"/>
              <a:buChar char="•"/>
            </a:pPr>
            <a:r>
              <a:rPr lang="en-US" sz="3200" dirty="0">
                <a:latin typeface="+mn-lt"/>
              </a:rPr>
              <a:t>Define security policies to Azure Services</a:t>
            </a:r>
          </a:p>
          <a:p>
            <a:pPr marL="457200" indent="-457200">
              <a:buFont typeface="Arial" panose="020B0604020202020204" pitchFamily="34" charset="0"/>
              <a:buChar char="•"/>
            </a:pPr>
            <a:r>
              <a:rPr lang="en-US" sz="3200" dirty="0">
                <a:latin typeface="+mn-lt"/>
              </a:rPr>
              <a:t>Maintenance of tags will be perform by azure</a:t>
            </a:r>
          </a:p>
          <a:p>
            <a:pPr marL="457200" indent="-457200">
              <a:buFont typeface="Arial" panose="020B0604020202020204" pitchFamily="34" charset="0"/>
              <a:buChar char="•"/>
            </a:pPr>
            <a:r>
              <a:rPr lang="en-US" sz="3200" dirty="0">
                <a:latin typeface="+mn-lt"/>
              </a:rPr>
              <a:t>Restrict network access to just the Azure services you use.</a:t>
            </a:r>
          </a:p>
          <a:p>
            <a:pPr marL="457200" indent="-457200">
              <a:buFont typeface="Arial" panose="020B0604020202020204" pitchFamily="34" charset="0"/>
              <a:buChar char="•"/>
            </a:pPr>
            <a:r>
              <a:rPr lang="en-US" sz="3200" dirty="0">
                <a:latin typeface="+mn-lt"/>
              </a:rPr>
              <a:t>Maintenance of IP addresses for each tag provided by Azure</a:t>
            </a:r>
          </a:p>
          <a:p>
            <a:pPr marL="457200" indent="-457200">
              <a:buFont typeface="Arial" panose="020B0604020202020204" pitchFamily="34" charset="0"/>
              <a:buChar char="•"/>
            </a:pPr>
            <a:r>
              <a:rPr lang="en-US" sz="3200" dirty="0">
                <a:latin typeface="+mn-lt"/>
              </a:rPr>
              <a:t>Support for global and regional tags (varies by service)</a:t>
            </a:r>
          </a:p>
          <a:p>
            <a:endParaRPr lang="en-US" dirty="0"/>
          </a:p>
        </p:txBody>
      </p:sp>
      <p:graphicFrame>
        <p:nvGraphicFramePr>
          <p:cNvPr id="6" name="Table 5">
            <a:extLst>
              <a:ext uri="{FF2B5EF4-FFF2-40B4-BE49-F238E27FC236}">
                <a16:creationId xmlns:a16="http://schemas.microsoft.com/office/drawing/2014/main" id="{2F1E9C96-AE20-445A-97F1-B18B6BF17B0E}"/>
              </a:ext>
            </a:extLst>
          </p:cNvPr>
          <p:cNvGraphicFramePr>
            <a:graphicFrameLocks noGrp="1"/>
          </p:cNvGraphicFramePr>
          <p:nvPr>
            <p:extLst/>
          </p:nvPr>
        </p:nvGraphicFramePr>
        <p:xfrm>
          <a:off x="6312958" y="4919971"/>
          <a:ext cx="6081125" cy="1635760"/>
        </p:xfrm>
        <a:graphic>
          <a:graphicData uri="http://schemas.openxmlformats.org/drawingml/2006/table">
            <a:tbl>
              <a:tblPr>
                <a:tableStyleId>{1E171933-4619-4E11-9A3F-F7608DF75F80}</a:tableStyleId>
              </a:tblPr>
              <a:tblGrid>
                <a:gridCol w="595030">
                  <a:extLst>
                    <a:ext uri="{9D8B030D-6E8A-4147-A177-3AD203B41FA5}">
                      <a16:colId xmlns:a16="http://schemas.microsoft.com/office/drawing/2014/main" val="878956919"/>
                    </a:ext>
                  </a:extLst>
                </a:gridCol>
                <a:gridCol w="1546342">
                  <a:extLst>
                    <a:ext uri="{9D8B030D-6E8A-4147-A177-3AD203B41FA5}">
                      <a16:colId xmlns:a16="http://schemas.microsoft.com/office/drawing/2014/main" val="1546973202"/>
                    </a:ext>
                  </a:extLst>
                </a:gridCol>
                <a:gridCol w="1432748">
                  <a:extLst>
                    <a:ext uri="{9D8B030D-6E8A-4147-A177-3AD203B41FA5}">
                      <a16:colId xmlns:a16="http://schemas.microsoft.com/office/drawing/2014/main" val="236321253"/>
                    </a:ext>
                  </a:extLst>
                </a:gridCol>
                <a:gridCol w="1757032">
                  <a:extLst>
                    <a:ext uri="{9D8B030D-6E8A-4147-A177-3AD203B41FA5}">
                      <a16:colId xmlns:a16="http://schemas.microsoft.com/office/drawing/2014/main" val="2021927125"/>
                    </a:ext>
                  </a:extLst>
                </a:gridCol>
                <a:gridCol w="749973">
                  <a:extLst>
                    <a:ext uri="{9D8B030D-6E8A-4147-A177-3AD203B41FA5}">
                      <a16:colId xmlns:a16="http://schemas.microsoft.com/office/drawing/2014/main" val="414589496"/>
                    </a:ext>
                  </a:extLst>
                </a:gridCol>
              </a:tblGrid>
              <a:tr h="340454">
                <a:tc gridSpan="5">
                  <a:txBody>
                    <a:bodyPr/>
                    <a:lstStyle/>
                    <a:p>
                      <a:pPr marL="0" marR="0" algn="ctr" fontAlgn="t">
                        <a:spcBef>
                          <a:spcPts val="0"/>
                        </a:spcBef>
                        <a:spcAft>
                          <a:spcPts val="0"/>
                        </a:spcAft>
                      </a:pPr>
                      <a:r>
                        <a:rPr lang="en-US" sz="1800" b="1" dirty="0">
                          <a:effectLst/>
                        </a:rPr>
                        <a:t>Network Security Group (NSG)</a:t>
                      </a:r>
                      <a:endParaRPr lang="en-US" sz="18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312097">
                <a:tc>
                  <a:txBody>
                    <a:bodyPr/>
                    <a:lstStyle/>
                    <a:p>
                      <a:pPr marL="0" marR="0" fontAlgn="t">
                        <a:spcBef>
                          <a:spcPts val="0"/>
                        </a:spcBef>
                        <a:spcAft>
                          <a:spcPts val="0"/>
                        </a:spcAft>
                      </a:pPr>
                      <a:r>
                        <a:rPr lang="en-US" sz="1400" b="1" dirty="0">
                          <a:effectLst/>
                        </a:rPr>
                        <a:t>Ac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Nam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Sourc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Destina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Port</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extLst>
                  <a:ext uri="{0D108BD9-81ED-4DB2-BD59-A6C34878D82A}">
                    <a16:rowId xmlns:a16="http://schemas.microsoft.com/office/drawing/2014/main" val="819426849"/>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torage</a:t>
                      </a:r>
                      <a:endParaRPr lang="en-US" sz="14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b="1" dirty="0">
                          <a:solidFill>
                            <a:schemeClr val="bg2"/>
                          </a:solidFill>
                          <a:effectLst/>
                        </a:rPr>
                        <a:t>Storage</a:t>
                      </a:r>
                      <a:endParaRPr lang="en-US" sz="1400" b="1" dirty="0">
                        <a:solidFill>
                          <a:schemeClr val="bg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QL</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1" dirty="0">
                          <a:solidFill>
                            <a:schemeClr val="bg2"/>
                          </a:solidFill>
                          <a:effectLst/>
                          <a:latin typeface="+mn-lt"/>
                        </a:rPr>
                        <a:t>Sql.EastUS</a:t>
                      </a: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312097">
                <a:tc>
                  <a:txBody>
                    <a:bodyPr/>
                    <a:lstStyle/>
                    <a:p>
                      <a:pPr marL="0" marR="0" fontAlgn="t">
                        <a:spcBef>
                          <a:spcPts val="0"/>
                        </a:spcBef>
                        <a:spcAft>
                          <a:spcPts val="0"/>
                        </a:spcAft>
                      </a:pPr>
                      <a:r>
                        <a:rPr lang="en-US" sz="1400" b="0"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400" dirty="0">
                          <a:effectLst/>
                        </a:rPr>
                        <a:t>DenyAllOutBound</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9" name="Picture 8">
            <a:extLst>
              <a:ext uri="{FF2B5EF4-FFF2-40B4-BE49-F238E27FC236}">
                <a16:creationId xmlns:a16="http://schemas.microsoft.com/office/drawing/2014/main" id="{7CF603DC-3226-4ECE-8260-B619942FA9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3704" y="2789245"/>
            <a:ext cx="1380643" cy="1691933"/>
          </a:xfrm>
          <a:prstGeom prst="rect">
            <a:avLst/>
          </a:prstGeom>
        </p:spPr>
      </p:pic>
      <p:sp>
        <p:nvSpPr>
          <p:cNvPr id="10" name="Rectangle 9">
            <a:extLst>
              <a:ext uri="{FF2B5EF4-FFF2-40B4-BE49-F238E27FC236}">
                <a16:creationId xmlns:a16="http://schemas.microsoft.com/office/drawing/2014/main" id="{9E4276D2-6565-4ABC-AD59-23E01E73CA75}"/>
              </a:ext>
            </a:extLst>
          </p:cNvPr>
          <p:cNvSpPr/>
          <p:nvPr/>
        </p:nvSpPr>
        <p:spPr>
          <a:xfrm>
            <a:off x="9886981" y="1369086"/>
            <a:ext cx="2277734" cy="2561574"/>
          </a:xfrm>
          <a:prstGeom prst="rect">
            <a:avLst/>
          </a:prstGeom>
          <a:noFill/>
          <a:ln>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8ED0D34-90FD-417F-8EE4-9E325638CB98}"/>
              </a:ext>
            </a:extLst>
          </p:cNvPr>
          <p:cNvSpPr txBox="1"/>
          <p:nvPr/>
        </p:nvSpPr>
        <p:spPr>
          <a:xfrm>
            <a:off x="10161747" y="3588573"/>
            <a:ext cx="1728203" cy="481749"/>
          </a:xfrm>
          <a:prstGeom prst="rect">
            <a:avLst/>
          </a:prstGeom>
          <a:solidFill>
            <a:schemeClr val="bg2"/>
          </a:solidFill>
        </p:spPr>
        <p:txBody>
          <a:bodyPr wrap="square" rtlCol="0">
            <a:spAutoFit/>
          </a:bodyPr>
          <a:lstStyle/>
          <a:p>
            <a:r>
              <a:rPr lang="en-US" sz="1600" b="1" dirty="0"/>
              <a:t>   Azure Services</a:t>
            </a:r>
          </a:p>
        </p:txBody>
      </p:sp>
      <p:pic>
        <p:nvPicPr>
          <p:cNvPr id="12" name="Picture 11">
            <a:extLst>
              <a:ext uri="{FF2B5EF4-FFF2-40B4-BE49-F238E27FC236}">
                <a16:creationId xmlns:a16="http://schemas.microsoft.com/office/drawing/2014/main" id="{4BEE554B-F7D6-43A6-B01B-F8D0DB63836E}"/>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0509622" y="1676025"/>
            <a:ext cx="721399" cy="720967"/>
          </a:xfrm>
          <a:prstGeom prst="rect">
            <a:avLst/>
          </a:prstGeom>
          <a:solidFill>
            <a:srgbClr val="002060"/>
          </a:solidFill>
          <a:ln>
            <a:solidFill>
              <a:srgbClr val="0070C0"/>
            </a:solidFill>
            <a:tailEnd type="triangle"/>
          </a:ln>
        </p:spPr>
      </p:pic>
      <p:pic>
        <p:nvPicPr>
          <p:cNvPr id="13" name="Picture 12">
            <a:extLst>
              <a:ext uri="{FF2B5EF4-FFF2-40B4-BE49-F238E27FC236}">
                <a16:creationId xmlns:a16="http://schemas.microsoft.com/office/drawing/2014/main" id="{6FF434FB-E316-4776-9072-D28C4BB54F7E}"/>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10127424" y="2443110"/>
            <a:ext cx="704818" cy="616627"/>
          </a:xfrm>
          <a:prstGeom prst="rect">
            <a:avLst/>
          </a:prstGeom>
          <a:solidFill>
            <a:srgbClr val="002060"/>
          </a:solidFill>
          <a:ln>
            <a:solidFill>
              <a:srgbClr val="0070C0"/>
            </a:solidFill>
            <a:tailEnd type="triangle"/>
          </a:ln>
        </p:spPr>
      </p:pic>
      <p:pic>
        <p:nvPicPr>
          <p:cNvPr id="14"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677AA823-A9B9-4176-B9BC-4AB66FF02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697" y="3305582"/>
            <a:ext cx="624860" cy="6431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C5754618-9A14-4C1A-9055-7FFBAFDC7D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8971" y="1089891"/>
            <a:ext cx="836061" cy="911168"/>
          </a:xfrm>
          <a:prstGeom prst="rect">
            <a:avLst/>
          </a:prstGeom>
        </p:spPr>
      </p:pic>
      <p:sp>
        <p:nvSpPr>
          <p:cNvPr id="16" name="Up Arrow 11">
            <a:extLst>
              <a:ext uri="{FF2B5EF4-FFF2-40B4-BE49-F238E27FC236}">
                <a16:creationId xmlns:a16="http://schemas.microsoft.com/office/drawing/2014/main" id="{402682FF-AD8D-4D8E-8B56-E7CF0DE61499}"/>
              </a:ext>
            </a:extLst>
          </p:cNvPr>
          <p:cNvSpPr/>
          <p:nvPr/>
        </p:nvSpPr>
        <p:spPr bwMode="auto">
          <a:xfrm>
            <a:off x="7766196" y="1935778"/>
            <a:ext cx="321612" cy="1388256"/>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Up Arrow 78">
            <a:extLst>
              <a:ext uri="{FF2B5EF4-FFF2-40B4-BE49-F238E27FC236}">
                <a16:creationId xmlns:a16="http://schemas.microsoft.com/office/drawing/2014/main" id="{CDB63D5F-672D-492B-AA8D-85CD1F65AF3A}"/>
              </a:ext>
            </a:extLst>
          </p:cNvPr>
          <p:cNvSpPr/>
          <p:nvPr/>
        </p:nvSpPr>
        <p:spPr bwMode="auto">
          <a:xfrm rot="5400000">
            <a:off x="8878268" y="2820735"/>
            <a:ext cx="350504" cy="1666921"/>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Multiply 79">
            <a:extLst>
              <a:ext uri="{FF2B5EF4-FFF2-40B4-BE49-F238E27FC236}">
                <a16:creationId xmlns:a16="http://schemas.microsoft.com/office/drawing/2014/main" id="{14D94390-F46B-4608-BE6E-5E0127749F3E}"/>
              </a:ext>
            </a:extLst>
          </p:cNvPr>
          <p:cNvSpPr/>
          <p:nvPr/>
        </p:nvSpPr>
        <p:spPr bwMode="auto">
          <a:xfrm>
            <a:off x="7607987" y="2385507"/>
            <a:ext cx="612280" cy="736057"/>
          </a:xfrm>
          <a:prstGeom prst="mathMultiply">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9" name="Freeform 6">
            <a:extLst>
              <a:ext uri="{FF2B5EF4-FFF2-40B4-BE49-F238E27FC236}">
                <a16:creationId xmlns:a16="http://schemas.microsoft.com/office/drawing/2014/main" id="{ECE40A77-B7C8-4330-8C9C-646D639D3DDA}"/>
              </a:ext>
            </a:extLst>
          </p:cNvPr>
          <p:cNvSpPr>
            <a:spLocks/>
          </p:cNvSpPr>
          <p:nvPr/>
        </p:nvSpPr>
        <p:spPr bwMode="auto">
          <a:xfrm>
            <a:off x="8386212" y="3430882"/>
            <a:ext cx="443454" cy="448807"/>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sp>
        <p:nvSpPr>
          <p:cNvPr id="20" name="TextBox 19">
            <a:extLst>
              <a:ext uri="{FF2B5EF4-FFF2-40B4-BE49-F238E27FC236}">
                <a16:creationId xmlns:a16="http://schemas.microsoft.com/office/drawing/2014/main" id="{C0B1381C-F530-4BB7-9E04-FDAF393CB8FD}"/>
              </a:ext>
            </a:extLst>
          </p:cNvPr>
          <p:cNvSpPr txBox="1"/>
          <p:nvPr/>
        </p:nvSpPr>
        <p:spPr>
          <a:xfrm>
            <a:off x="7975140" y="1826241"/>
            <a:ext cx="1278568" cy="563515"/>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chemeClr val="bg1"/>
                </a:solidFill>
              </a:rPr>
              <a:t>Internet</a:t>
            </a:r>
          </a:p>
        </p:txBody>
      </p:sp>
      <p:sp>
        <p:nvSpPr>
          <p:cNvPr id="21" name="TextBox 20">
            <a:extLst>
              <a:ext uri="{FF2B5EF4-FFF2-40B4-BE49-F238E27FC236}">
                <a16:creationId xmlns:a16="http://schemas.microsoft.com/office/drawing/2014/main" id="{114A1817-B1BC-43FE-BAB6-DCAFCB033220}"/>
              </a:ext>
            </a:extLst>
          </p:cNvPr>
          <p:cNvSpPr txBox="1"/>
          <p:nvPr/>
        </p:nvSpPr>
        <p:spPr>
          <a:xfrm>
            <a:off x="8164059" y="3735708"/>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Allow only Azure service traffic</a:t>
            </a:r>
          </a:p>
        </p:txBody>
      </p:sp>
      <p:sp>
        <p:nvSpPr>
          <p:cNvPr id="22" name="TextBox 21">
            <a:extLst>
              <a:ext uri="{FF2B5EF4-FFF2-40B4-BE49-F238E27FC236}">
                <a16:creationId xmlns:a16="http://schemas.microsoft.com/office/drawing/2014/main" id="{5DC13D6F-0182-4D3C-AB8C-BB71B21E6638}"/>
              </a:ext>
            </a:extLst>
          </p:cNvPr>
          <p:cNvSpPr txBox="1"/>
          <p:nvPr/>
        </p:nvSpPr>
        <p:spPr>
          <a:xfrm>
            <a:off x="7975140" y="2359663"/>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Deny Internet outbound</a:t>
            </a:r>
          </a:p>
        </p:txBody>
      </p:sp>
      <p:pic>
        <p:nvPicPr>
          <p:cNvPr id="23" name="Picture 22">
            <a:extLst>
              <a:ext uri="{FF2B5EF4-FFF2-40B4-BE49-F238E27FC236}">
                <a16:creationId xmlns:a16="http://schemas.microsoft.com/office/drawing/2014/main" id="{C5164BBC-EE92-4D79-8C4E-38E22710C149}"/>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0931830" y="2949878"/>
            <a:ext cx="497075" cy="541729"/>
          </a:xfrm>
          <a:prstGeom prst="rect">
            <a:avLst/>
          </a:prstGeom>
          <a:solidFill>
            <a:srgbClr val="002060"/>
          </a:solidFill>
          <a:ln>
            <a:solidFill>
              <a:srgbClr val="0070C0"/>
            </a:solidFill>
          </a:ln>
        </p:spPr>
      </p:pic>
      <p:pic>
        <p:nvPicPr>
          <p:cNvPr id="24" name="Picture 23">
            <a:extLst>
              <a:ext uri="{FF2B5EF4-FFF2-40B4-BE49-F238E27FC236}">
                <a16:creationId xmlns:a16="http://schemas.microsoft.com/office/drawing/2014/main" id="{2FB76616-F8D0-47EE-A297-D7C82EE5D11C}"/>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1290582" y="2253990"/>
            <a:ext cx="780290" cy="850387"/>
          </a:xfrm>
          <a:prstGeom prst="rect">
            <a:avLst/>
          </a:prstGeom>
          <a:solidFill>
            <a:srgbClr val="002060"/>
          </a:solidFill>
          <a:ln>
            <a:solidFill>
              <a:srgbClr val="0070C0"/>
            </a:solidFill>
          </a:ln>
        </p:spPr>
      </p:pic>
      <p:cxnSp>
        <p:nvCxnSpPr>
          <p:cNvPr id="25" name="Straight Connector 24">
            <a:extLst>
              <a:ext uri="{FF2B5EF4-FFF2-40B4-BE49-F238E27FC236}">
                <a16:creationId xmlns:a16="http://schemas.microsoft.com/office/drawing/2014/main" id="{8B6AB749-6E39-47FC-9FB8-59CC975EE98A}"/>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26" name="TextBox 25">
            <a:extLst>
              <a:ext uri="{FF2B5EF4-FFF2-40B4-BE49-F238E27FC236}">
                <a16:creationId xmlns:a16="http://schemas.microsoft.com/office/drawing/2014/main" id="{6E9992C9-7B5D-4A0A-904B-565038F6DC47}"/>
              </a:ext>
            </a:extLst>
          </p:cNvPr>
          <p:cNvSpPr txBox="1"/>
          <p:nvPr/>
        </p:nvSpPr>
        <p:spPr>
          <a:xfrm>
            <a:off x="6185811" y="4296427"/>
            <a:ext cx="654386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t>Preview: Azure Storage, SQL, TrafficManager</a:t>
            </a:r>
          </a:p>
        </p:txBody>
      </p:sp>
    </p:spTree>
    <p:extLst>
      <p:ext uri="{BB962C8B-B14F-4D97-AF65-F5344CB8AC3E}">
        <p14:creationId xmlns:p14="http://schemas.microsoft.com/office/powerpoint/2010/main" val="3008770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p:bldP spid="22"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pplication Security group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5" y="1122766"/>
            <a:ext cx="6027616" cy="5546939"/>
          </a:xfrm>
        </p:spPr>
        <p:txBody>
          <a:bodyPr/>
          <a:lstStyle/>
          <a:p>
            <a:pPr marL="457200" indent="-457200">
              <a:buFont typeface="Arial" panose="020B0604020202020204" pitchFamily="34" charset="0"/>
              <a:buChar char="•"/>
            </a:pPr>
            <a:r>
              <a:rPr lang="en-US" sz="2800" dirty="0">
                <a:latin typeface="+mn-lt"/>
              </a:rPr>
              <a:t>Group VM/NICs hiding the complexity of subnets and IP addresses</a:t>
            </a:r>
          </a:p>
          <a:p>
            <a:pPr marL="457200" indent="-457200">
              <a:buFont typeface="Arial" panose="020B0604020202020204" pitchFamily="34" charset="0"/>
              <a:buChar char="•"/>
            </a:pPr>
            <a:r>
              <a:rPr lang="en-US" sz="2800" dirty="0">
                <a:latin typeface="+mn-lt"/>
              </a:rPr>
              <a:t>Abstract security policies definition, based on customer abstractions like applications, jobs, roles, etc.</a:t>
            </a:r>
          </a:p>
          <a:p>
            <a:pPr marL="457200" indent="-457200">
              <a:buFont typeface="Arial" panose="020B0604020202020204" pitchFamily="34" charset="0"/>
              <a:buChar char="•"/>
            </a:pPr>
            <a:r>
              <a:rPr lang="en-US" sz="2800" dirty="0">
                <a:latin typeface="+mn-lt"/>
              </a:rPr>
              <a:t>Security Management improved define once, reused at scale</a:t>
            </a:r>
          </a:p>
        </p:txBody>
      </p:sp>
      <p:sp>
        <p:nvSpPr>
          <p:cNvPr id="6" name="Rectangle 5">
            <a:extLst>
              <a:ext uri="{FF2B5EF4-FFF2-40B4-BE49-F238E27FC236}">
                <a16:creationId xmlns:a16="http://schemas.microsoft.com/office/drawing/2014/main" id="{C63C6D47-56B6-4C3D-B537-CF6286A2CD9A}"/>
              </a:ext>
            </a:extLst>
          </p:cNvPr>
          <p:cNvSpPr/>
          <p:nvPr/>
        </p:nvSpPr>
        <p:spPr bwMode="auto">
          <a:xfrm>
            <a:off x="6460592" y="1168437"/>
            <a:ext cx="5637819" cy="1328950"/>
          </a:xfrm>
          <a:prstGeom prst="rect">
            <a:avLst/>
          </a:prstGeom>
          <a:solidFill>
            <a:schemeClr val="tx1">
              <a:lumMod val="85000"/>
            </a:schemeClr>
          </a:solidFill>
          <a:ln w="28575">
            <a:solidFill>
              <a:schemeClr val="accent4"/>
            </a:solidFill>
            <a:prstDash val="sysDot"/>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07153C01-8D71-40BF-8395-6F7D13BF1A19}"/>
              </a:ext>
            </a:extLst>
          </p:cNvPr>
          <p:cNvSpPr/>
          <p:nvPr/>
        </p:nvSpPr>
        <p:spPr>
          <a:xfrm>
            <a:off x="6545258" y="1262139"/>
            <a:ext cx="1298093"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WebServers</a:t>
            </a:r>
          </a:p>
        </p:txBody>
      </p:sp>
      <p:graphicFrame>
        <p:nvGraphicFramePr>
          <p:cNvPr id="9" name="Table 8">
            <a:extLst>
              <a:ext uri="{FF2B5EF4-FFF2-40B4-BE49-F238E27FC236}">
                <a16:creationId xmlns:a16="http://schemas.microsoft.com/office/drawing/2014/main" id="{F99FF0BB-E7EA-405B-ABFE-A7A5238A52A2}"/>
              </a:ext>
            </a:extLst>
          </p:cNvPr>
          <p:cNvGraphicFramePr>
            <a:graphicFrameLocks noGrp="1"/>
          </p:cNvGraphicFramePr>
          <p:nvPr>
            <p:extLst/>
          </p:nvPr>
        </p:nvGraphicFramePr>
        <p:xfrm>
          <a:off x="6443912" y="2568887"/>
          <a:ext cx="5654499" cy="1986280"/>
        </p:xfrm>
        <a:graphic>
          <a:graphicData uri="http://schemas.openxmlformats.org/drawingml/2006/table">
            <a:tbl>
              <a:tblPr>
                <a:tableStyleId>{1E171933-4619-4E11-9A3F-F7608DF75F80}</a:tableStyleId>
              </a:tblPr>
              <a:tblGrid>
                <a:gridCol w="553286">
                  <a:extLst>
                    <a:ext uri="{9D8B030D-6E8A-4147-A177-3AD203B41FA5}">
                      <a16:colId xmlns:a16="http://schemas.microsoft.com/office/drawing/2014/main" val="878956919"/>
                    </a:ext>
                  </a:extLst>
                </a:gridCol>
                <a:gridCol w="1632405">
                  <a:extLst>
                    <a:ext uri="{9D8B030D-6E8A-4147-A177-3AD203B41FA5}">
                      <a16:colId xmlns:a16="http://schemas.microsoft.com/office/drawing/2014/main" val="1546973202"/>
                    </a:ext>
                  </a:extLst>
                </a:gridCol>
                <a:gridCol w="1137684">
                  <a:extLst>
                    <a:ext uri="{9D8B030D-6E8A-4147-A177-3AD203B41FA5}">
                      <a16:colId xmlns:a16="http://schemas.microsoft.com/office/drawing/2014/main" val="236321253"/>
                    </a:ext>
                  </a:extLst>
                </a:gridCol>
                <a:gridCol w="1414130">
                  <a:extLst>
                    <a:ext uri="{9D8B030D-6E8A-4147-A177-3AD203B41FA5}">
                      <a16:colId xmlns:a16="http://schemas.microsoft.com/office/drawing/2014/main" val="2021927125"/>
                    </a:ext>
                  </a:extLst>
                </a:gridCol>
                <a:gridCol w="916994">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900" b="1" dirty="0">
                          <a:effectLst/>
                        </a:rPr>
                        <a:t>Ac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Nam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Sourc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Destina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Port</a:t>
                      </a:r>
                      <a:endParaRPr lang="en-US" sz="9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900" b="1" dirty="0">
                          <a:solidFill>
                            <a:srgbClr val="FF0000"/>
                          </a:solidFill>
                          <a:effectLst/>
                          <a:latin typeface="+mn-lt"/>
                        </a:rPr>
                        <a:t>Deny</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BlockQuarantineVMs</a:t>
                      </a: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Any</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QuarantineVM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ny</a:t>
                      </a:r>
                    </a:p>
                  </a:txBody>
                  <a:tcPr marL="50800" marR="50800" marT="50800" marB="50800" anchor="ctr"/>
                </a:tc>
                <a:extLst>
                  <a:ext uri="{0D108BD9-81ED-4DB2-BD59-A6C34878D82A}">
                    <a16:rowId xmlns:a16="http://schemas.microsoft.com/office/drawing/2014/main" val="2431182223"/>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InternetToWeb</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80,8080 (HTTP)</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160016">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WebToApp</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ppServers</a:t>
                      </a:r>
                    </a:p>
                  </a:txBody>
                  <a:tcPr marL="50800" marR="50800" marT="50800" marB="50800" anchor="ctr"/>
                </a:tc>
                <a:tc>
                  <a:txBody>
                    <a:bodyPr/>
                    <a:lstStyle/>
                    <a:p>
                      <a:pPr marL="0" marR="0" fontAlgn="t">
                        <a:spcBef>
                          <a:spcPts val="0"/>
                        </a:spcBef>
                        <a:spcAft>
                          <a:spcPts val="0"/>
                        </a:spcAft>
                      </a:pPr>
                      <a:r>
                        <a:rPr lang="en-US" sz="900" dirty="0">
                          <a:effectLst/>
                        </a:rPr>
                        <a:t>443       (HTTPS)</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2308255462"/>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AppToDb</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ppServers</a:t>
                      </a:r>
                      <a:endParaRPr lang="en-US" sz="9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DatabaseServers</a:t>
                      </a:r>
                    </a:p>
                  </a:txBody>
                  <a:tcPr marL="50800" marR="50800" marT="50800" marB="50800" anchor="ctr"/>
                </a:tc>
                <a:tc>
                  <a:txBody>
                    <a:bodyPr/>
                    <a:lstStyle/>
                    <a:p>
                      <a:pPr marL="0" marR="0" fontAlgn="t">
                        <a:spcBef>
                          <a:spcPts val="0"/>
                        </a:spcBef>
                        <a:spcAft>
                          <a:spcPts val="0"/>
                        </a:spcAft>
                      </a:pPr>
                      <a:r>
                        <a:rPr lang="en-US" sz="900" dirty="0">
                          <a:effectLst/>
                        </a:rPr>
                        <a:t>3306    (MySQL)</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llowInternetToJumpboxes</a:t>
                      </a:r>
                    </a:p>
                  </a:txBody>
                  <a:tcPr marL="50800" marR="50800" marT="50800" marB="50800" anchor="ctr"/>
                </a:tc>
                <a:tc>
                  <a:txBody>
                    <a:bodyPr/>
                    <a:lstStyle/>
                    <a:p>
                      <a:pPr marL="0" marR="0" fontAlgn="t">
                        <a:spcBef>
                          <a:spcPts val="0"/>
                        </a:spcBef>
                        <a:spcAft>
                          <a:spcPts val="0"/>
                        </a:spcAft>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Jumpboxe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22          (SSH)</a:t>
                      </a:r>
                    </a:p>
                  </a:txBody>
                  <a:tcPr marL="50800" marR="50800" marT="50800" marB="50800" anchor="ctr"/>
                </a:tc>
                <a:extLst>
                  <a:ext uri="{0D108BD9-81ED-4DB2-BD59-A6C34878D82A}">
                    <a16:rowId xmlns:a16="http://schemas.microsoft.com/office/drawing/2014/main" val="3021479718"/>
                  </a:ext>
                </a:extLst>
              </a:tr>
              <a:tr h="0">
                <a:tc>
                  <a:txBody>
                    <a:bodyPr/>
                    <a:lstStyle/>
                    <a:p>
                      <a:pPr marL="0" marR="0" fontAlgn="t">
                        <a:spcBef>
                          <a:spcPts val="0"/>
                        </a:spcBef>
                        <a:spcAft>
                          <a:spcPts val="0"/>
                        </a:spcAft>
                      </a:pPr>
                      <a:r>
                        <a:rPr lang="en-US" sz="9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900" dirty="0">
                          <a:effectLst/>
                        </a:rPr>
                        <a:t>DenyAllOutBound</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0" name="Picture 9">
            <a:extLst>
              <a:ext uri="{FF2B5EF4-FFF2-40B4-BE49-F238E27FC236}">
                <a16:creationId xmlns:a16="http://schemas.microsoft.com/office/drawing/2014/main" id="{C4BC6398-44DF-46ED-891B-0F3C90D8FFC0}"/>
              </a:ext>
            </a:extLst>
          </p:cNvPr>
          <p:cNvPicPr>
            <a:picLocks noChangeAspect="1"/>
          </p:cNvPicPr>
          <p:nvPr/>
        </p:nvPicPr>
        <p:blipFill>
          <a:blip r:embed="rId3"/>
          <a:stretch>
            <a:fillRect/>
          </a:stretch>
        </p:blipFill>
        <p:spPr>
          <a:xfrm>
            <a:off x="10733746" y="1758496"/>
            <a:ext cx="1362064" cy="659391"/>
          </a:xfrm>
          <a:prstGeom prst="rect">
            <a:avLst/>
          </a:prstGeom>
        </p:spPr>
      </p:pic>
      <p:pic>
        <p:nvPicPr>
          <p:cNvPr id="11"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506688C-A581-463A-A5AB-40FD82194B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4115" y="2142519"/>
            <a:ext cx="309068" cy="3090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able 11">
            <a:extLst>
              <a:ext uri="{FF2B5EF4-FFF2-40B4-BE49-F238E27FC236}">
                <a16:creationId xmlns:a16="http://schemas.microsoft.com/office/drawing/2014/main" id="{4D7CC084-8412-4426-8038-9388015C0D92}"/>
              </a:ext>
            </a:extLst>
          </p:cNvPr>
          <p:cNvGraphicFramePr>
            <a:graphicFrameLocks noGrp="1"/>
          </p:cNvGraphicFramePr>
          <p:nvPr>
            <p:extLst/>
          </p:nvPr>
        </p:nvGraphicFramePr>
        <p:xfrm>
          <a:off x="6555572" y="6618319"/>
          <a:ext cx="5654499" cy="357305"/>
        </p:xfrm>
        <a:graphic>
          <a:graphicData uri="http://schemas.openxmlformats.org/drawingml/2006/table">
            <a:tbl>
              <a:tblPr>
                <a:tableStyleId>{1E171933-4619-4E11-9A3F-F7608DF75F80}</a:tableStyleId>
              </a:tblPr>
              <a:tblGrid>
                <a:gridCol w="5654499">
                  <a:extLst>
                    <a:ext uri="{9D8B030D-6E8A-4147-A177-3AD203B41FA5}">
                      <a16:colId xmlns:a16="http://schemas.microsoft.com/office/drawing/2014/main" val="878956919"/>
                    </a:ext>
                  </a:extLst>
                </a:gridCol>
              </a:tblGrid>
              <a:tr h="357305">
                <a:tc>
                  <a:txBody>
                    <a:bodyPr/>
                    <a:lstStyle/>
                    <a:p>
                      <a:pPr marL="0" marR="0" algn="ctr" fontAlgn="t">
                        <a:spcBef>
                          <a:spcPts val="0"/>
                        </a:spcBef>
                        <a:spcAft>
                          <a:spcPts val="0"/>
                        </a:spcAft>
                      </a:pPr>
                      <a:r>
                        <a:rPr lang="en-US" sz="1600" b="1" dirty="0">
                          <a:effectLst/>
                        </a:rPr>
                        <a:t>Application Security Groups</a:t>
                      </a:r>
                      <a:endParaRPr lang="en-US" sz="1600" b="1" dirty="0">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bl>
          </a:graphicData>
        </a:graphic>
      </p:graphicFrame>
      <p:sp>
        <p:nvSpPr>
          <p:cNvPr id="13" name="Rectangle: Rounded Corners 19">
            <a:extLst>
              <a:ext uri="{FF2B5EF4-FFF2-40B4-BE49-F238E27FC236}">
                <a16:creationId xmlns:a16="http://schemas.microsoft.com/office/drawing/2014/main" id="{2DA97D5E-9999-494F-9144-051CA82E2612}"/>
              </a:ext>
            </a:extLst>
          </p:cNvPr>
          <p:cNvSpPr/>
          <p:nvPr/>
        </p:nvSpPr>
        <p:spPr>
          <a:xfrm>
            <a:off x="7976664" y="1261854"/>
            <a:ext cx="1313328"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AppServers</a:t>
            </a:r>
          </a:p>
        </p:txBody>
      </p:sp>
      <p:sp>
        <p:nvSpPr>
          <p:cNvPr id="14" name="Rectangle: Rounded Corners 19">
            <a:extLst>
              <a:ext uri="{FF2B5EF4-FFF2-40B4-BE49-F238E27FC236}">
                <a16:creationId xmlns:a16="http://schemas.microsoft.com/office/drawing/2014/main" id="{7584323B-E350-4993-9FEF-6A9C1E188C6E}"/>
              </a:ext>
            </a:extLst>
          </p:cNvPr>
          <p:cNvSpPr/>
          <p:nvPr/>
        </p:nvSpPr>
        <p:spPr>
          <a:xfrm>
            <a:off x="9423305" y="1258607"/>
            <a:ext cx="1543590"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DatabaseServers</a:t>
            </a:r>
          </a:p>
        </p:txBody>
      </p:sp>
      <p:sp>
        <p:nvSpPr>
          <p:cNvPr id="15" name="Rectangle: Rounded Corners 19">
            <a:extLst>
              <a:ext uri="{FF2B5EF4-FFF2-40B4-BE49-F238E27FC236}">
                <a16:creationId xmlns:a16="http://schemas.microsoft.com/office/drawing/2014/main" id="{0BB812D7-9AA0-44A2-A737-05AE13B0C686}"/>
              </a:ext>
            </a:extLst>
          </p:cNvPr>
          <p:cNvSpPr/>
          <p:nvPr/>
        </p:nvSpPr>
        <p:spPr>
          <a:xfrm>
            <a:off x="7114367" y="1815590"/>
            <a:ext cx="129088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Jumpboxes</a:t>
            </a:r>
          </a:p>
        </p:txBody>
      </p:sp>
      <p:sp>
        <p:nvSpPr>
          <p:cNvPr id="16" name="Rectangle: Rounded Corners 19">
            <a:extLst>
              <a:ext uri="{FF2B5EF4-FFF2-40B4-BE49-F238E27FC236}">
                <a16:creationId xmlns:a16="http://schemas.microsoft.com/office/drawing/2014/main" id="{55EE44F6-DBBC-4947-B54D-799FD69E2301}"/>
              </a:ext>
            </a:extLst>
          </p:cNvPr>
          <p:cNvSpPr/>
          <p:nvPr/>
        </p:nvSpPr>
        <p:spPr>
          <a:xfrm>
            <a:off x="8738549" y="1815590"/>
            <a:ext cx="146230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QuarantineVMs</a:t>
            </a:r>
          </a:p>
        </p:txBody>
      </p:sp>
      <p:pic>
        <p:nvPicPr>
          <p:cNvPr id="18" name="Picture 4" descr="Image result for azure container service">
            <a:extLst>
              <a:ext uri="{FF2B5EF4-FFF2-40B4-BE49-F238E27FC236}">
                <a16:creationId xmlns:a16="http://schemas.microsoft.com/office/drawing/2014/main" id="{A9B8DFBA-3A9A-4183-A1CA-53D779AD58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19" name="Left Brace 18">
            <a:extLst>
              <a:ext uri="{FF2B5EF4-FFF2-40B4-BE49-F238E27FC236}">
                <a16:creationId xmlns:a16="http://schemas.microsoft.com/office/drawing/2014/main" id="{F7D99CB2-687A-4B39-9498-05F193FDDD1D}"/>
              </a:ext>
            </a:extLst>
          </p:cNvPr>
          <p:cNvSpPr/>
          <p:nvPr/>
        </p:nvSpPr>
        <p:spPr>
          <a:xfrm>
            <a:off x="7318656"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0" name="TextBox 19">
            <a:extLst>
              <a:ext uri="{FF2B5EF4-FFF2-40B4-BE49-F238E27FC236}">
                <a16:creationId xmlns:a16="http://schemas.microsoft.com/office/drawing/2014/main" id="{2DB56F52-E17A-4E76-967F-B2BCFA275F71}"/>
              </a:ext>
            </a:extLst>
          </p:cNvPr>
          <p:cNvSpPr txBox="1"/>
          <p:nvPr/>
        </p:nvSpPr>
        <p:spPr>
          <a:xfrm>
            <a:off x="7361978"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p:txBody>
      </p:sp>
      <p:pic>
        <p:nvPicPr>
          <p:cNvPr id="21" name="Picture 4" descr="Image result for azure container service">
            <a:extLst>
              <a:ext uri="{FF2B5EF4-FFF2-40B4-BE49-F238E27FC236}">
                <a16:creationId xmlns:a16="http://schemas.microsoft.com/office/drawing/2014/main" id="{5C7074A7-1F29-494D-86B3-751EC244A8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2" name="Left Brace 21">
            <a:extLst>
              <a:ext uri="{FF2B5EF4-FFF2-40B4-BE49-F238E27FC236}">
                <a16:creationId xmlns:a16="http://schemas.microsoft.com/office/drawing/2014/main" id="{8A023A6A-7D24-442F-BFF1-89E2E60B845C}"/>
              </a:ext>
            </a:extLst>
          </p:cNvPr>
          <p:cNvSpPr/>
          <p:nvPr/>
        </p:nvSpPr>
        <p:spPr>
          <a:xfrm>
            <a:off x="7318656"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TextBox 22">
            <a:extLst>
              <a:ext uri="{FF2B5EF4-FFF2-40B4-BE49-F238E27FC236}">
                <a16:creationId xmlns:a16="http://schemas.microsoft.com/office/drawing/2014/main" id="{5322AB04-12F0-4AF9-A5C9-DC159FFC1B73}"/>
              </a:ext>
            </a:extLst>
          </p:cNvPr>
          <p:cNvSpPr txBox="1"/>
          <p:nvPr/>
        </p:nvSpPr>
        <p:spPr>
          <a:xfrm>
            <a:off x="7361978" y="5858320"/>
            <a:ext cx="129885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boxes</a:t>
            </a:r>
          </a:p>
        </p:txBody>
      </p:sp>
      <p:pic>
        <p:nvPicPr>
          <p:cNvPr id="24" name="Picture 4" descr="Image result for azure container service">
            <a:extLst>
              <a:ext uri="{FF2B5EF4-FFF2-40B4-BE49-F238E27FC236}">
                <a16:creationId xmlns:a16="http://schemas.microsoft.com/office/drawing/2014/main" id="{910CC905-844B-42DA-931A-B4C4E126971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395642"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5" name="Left Brace 24">
            <a:extLst>
              <a:ext uri="{FF2B5EF4-FFF2-40B4-BE49-F238E27FC236}">
                <a16:creationId xmlns:a16="http://schemas.microsoft.com/office/drawing/2014/main" id="{E4528D4D-2BCF-4E87-890A-967D3B1D2C3B}"/>
              </a:ext>
            </a:extLst>
          </p:cNvPr>
          <p:cNvSpPr/>
          <p:nvPr/>
        </p:nvSpPr>
        <p:spPr>
          <a:xfrm>
            <a:off x="9256702"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 name="TextBox 25">
            <a:extLst>
              <a:ext uri="{FF2B5EF4-FFF2-40B4-BE49-F238E27FC236}">
                <a16:creationId xmlns:a16="http://schemas.microsoft.com/office/drawing/2014/main" id="{CAA6CCA8-01AD-4C5B-9DDB-7EC2EA0352D2}"/>
              </a:ext>
            </a:extLst>
          </p:cNvPr>
          <p:cNvSpPr txBox="1"/>
          <p:nvPr/>
        </p:nvSpPr>
        <p:spPr>
          <a:xfrm>
            <a:off x="9300024"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p:txBody>
      </p:sp>
      <p:pic>
        <p:nvPicPr>
          <p:cNvPr id="27" name="Picture 4" descr="Image result for azure container service">
            <a:extLst>
              <a:ext uri="{FF2B5EF4-FFF2-40B4-BE49-F238E27FC236}">
                <a16:creationId xmlns:a16="http://schemas.microsoft.com/office/drawing/2014/main" id="{8FAF9A14-9D44-4E35-B5B6-4C98932902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10322172" y="5007676"/>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8" name="Left Brace 27">
            <a:extLst>
              <a:ext uri="{FF2B5EF4-FFF2-40B4-BE49-F238E27FC236}">
                <a16:creationId xmlns:a16="http://schemas.microsoft.com/office/drawing/2014/main" id="{8C54D21F-4F7B-4F82-87C8-F7DC676804DF}"/>
              </a:ext>
            </a:extLst>
          </p:cNvPr>
          <p:cNvSpPr/>
          <p:nvPr/>
        </p:nvSpPr>
        <p:spPr>
          <a:xfrm>
            <a:off x="11183232" y="5011139"/>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9" name="TextBox 28">
            <a:extLst>
              <a:ext uri="{FF2B5EF4-FFF2-40B4-BE49-F238E27FC236}">
                <a16:creationId xmlns:a16="http://schemas.microsoft.com/office/drawing/2014/main" id="{14B65DE9-B0B2-4B9B-BAFD-1F0D0053C295}"/>
              </a:ext>
            </a:extLst>
          </p:cNvPr>
          <p:cNvSpPr txBox="1"/>
          <p:nvPr/>
        </p:nvSpPr>
        <p:spPr>
          <a:xfrm>
            <a:off x="11226554" y="4949433"/>
            <a:ext cx="145323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p:txBody>
      </p:sp>
      <p:pic>
        <p:nvPicPr>
          <p:cNvPr id="30" name="Picture 4" descr="Image result for azure container service">
            <a:extLst>
              <a:ext uri="{FF2B5EF4-FFF2-40B4-BE49-F238E27FC236}">
                <a16:creationId xmlns:a16="http://schemas.microsoft.com/office/drawing/2014/main" id="{B0F4A8BD-6113-46E8-A1A0-E3A30BA2F1F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413732"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1" name="Left Brace 30">
            <a:extLst>
              <a:ext uri="{FF2B5EF4-FFF2-40B4-BE49-F238E27FC236}">
                <a16:creationId xmlns:a16="http://schemas.microsoft.com/office/drawing/2014/main" id="{FC03B89F-44B9-4EDC-8A0E-688DE3127FC1}"/>
              </a:ext>
            </a:extLst>
          </p:cNvPr>
          <p:cNvSpPr/>
          <p:nvPr/>
        </p:nvSpPr>
        <p:spPr>
          <a:xfrm>
            <a:off x="9274792"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2" name="TextBox 31">
            <a:extLst>
              <a:ext uri="{FF2B5EF4-FFF2-40B4-BE49-F238E27FC236}">
                <a16:creationId xmlns:a16="http://schemas.microsoft.com/office/drawing/2014/main" id="{AD40886D-B52C-407D-82FA-E641BBC42AAE}"/>
              </a:ext>
            </a:extLst>
          </p:cNvPr>
          <p:cNvSpPr txBox="1"/>
          <p:nvPr/>
        </p:nvSpPr>
        <p:spPr>
          <a:xfrm>
            <a:off x="9318114" y="5858320"/>
            <a:ext cx="1540058"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pboxes</a:t>
            </a:r>
          </a:p>
        </p:txBody>
      </p:sp>
      <p:pic>
        <p:nvPicPr>
          <p:cNvPr id="33" name="Picture 4" descr="Image result for azure container service">
            <a:extLst>
              <a:ext uri="{FF2B5EF4-FFF2-40B4-BE49-F238E27FC236}">
                <a16:creationId xmlns:a16="http://schemas.microsoft.com/office/drawing/2014/main" id="{1650B2BE-2AFC-4955-8723-C7597E402EE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PencilGrayscale/>
                    </a14:imgEffect>
                  </a14:imgLayer>
                </a14:imgProps>
              </a:ext>
              <a:ext uri="{28A0092B-C50C-407E-A947-70E740481C1C}">
                <a14:useLocalDpi xmlns:a14="http://schemas.microsoft.com/office/drawing/2010/main" val="0"/>
              </a:ext>
            </a:extLst>
          </a:blip>
          <a:srcRect l="72388" t="53635"/>
          <a:stretch/>
        </p:blipFill>
        <p:spPr bwMode="auto">
          <a:xfrm>
            <a:off x="10340262" y="5890561"/>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4" name="Left Brace 33">
            <a:extLst>
              <a:ext uri="{FF2B5EF4-FFF2-40B4-BE49-F238E27FC236}">
                <a16:creationId xmlns:a16="http://schemas.microsoft.com/office/drawing/2014/main" id="{A815C8EE-4824-4C72-97DC-A7ED4D68FFDA}"/>
              </a:ext>
            </a:extLst>
          </p:cNvPr>
          <p:cNvSpPr/>
          <p:nvPr/>
        </p:nvSpPr>
        <p:spPr>
          <a:xfrm>
            <a:off x="11201322" y="5894024"/>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5" name="TextBox 34">
            <a:extLst>
              <a:ext uri="{FF2B5EF4-FFF2-40B4-BE49-F238E27FC236}">
                <a16:creationId xmlns:a16="http://schemas.microsoft.com/office/drawing/2014/main" id="{4DDBC212-B60E-4C52-B206-6D374DC586DD}"/>
              </a:ext>
            </a:extLst>
          </p:cNvPr>
          <p:cNvSpPr txBox="1"/>
          <p:nvPr/>
        </p:nvSpPr>
        <p:spPr>
          <a:xfrm>
            <a:off x="11244644" y="5832318"/>
            <a:ext cx="145323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QuarantineVMs</a:t>
            </a:r>
          </a:p>
        </p:txBody>
      </p:sp>
    </p:spTree>
    <p:extLst>
      <p:ext uri="{BB962C8B-B14F-4D97-AF65-F5344CB8AC3E}">
        <p14:creationId xmlns:p14="http://schemas.microsoft.com/office/powerpoint/2010/main" val="9733982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Gateway Subnet and Virtual Network Gateway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24676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pecial case</a:t>
            </a:r>
          </a:p>
          <a:p>
            <a:pPr marL="285750" indent="-285750">
              <a:spcAft>
                <a:spcPts val="600"/>
              </a:spcAft>
              <a:buFont typeface="Arial" panose="020B0604020202020204" pitchFamily="34" charset="0"/>
              <a:buChar char="•"/>
            </a:pPr>
            <a:r>
              <a:rPr lang="en-GB" sz="2000"/>
              <a:t>Virtual Network Gateways</a:t>
            </a:r>
          </a:p>
          <a:p>
            <a:pPr marL="752121" lvl="1" indent="-285750">
              <a:spcAft>
                <a:spcPts val="600"/>
              </a:spcAft>
              <a:buFont typeface="Arial" panose="020B0604020202020204" pitchFamily="34" charset="0"/>
              <a:buChar char="•"/>
            </a:pPr>
            <a:r>
              <a:rPr lang="en-GB" sz="2000"/>
              <a:t>VPN Gateway</a:t>
            </a:r>
          </a:p>
          <a:p>
            <a:pPr marL="752121" lvl="1" indent="-285750">
              <a:spcAft>
                <a:spcPts val="600"/>
              </a:spcAft>
              <a:buFont typeface="Arial" panose="020B0604020202020204" pitchFamily="34" charset="0"/>
              <a:buChar char="•"/>
            </a:pPr>
            <a:r>
              <a:rPr lang="en-GB" sz="2000"/>
              <a:t>ExpressRoute</a:t>
            </a:r>
          </a:p>
          <a:p>
            <a:pPr marL="285750" indent="-285750">
              <a:spcAft>
                <a:spcPts val="600"/>
              </a:spcAft>
              <a:buFont typeface="Arial" panose="020B0604020202020204" pitchFamily="34" charset="0"/>
              <a:buChar char="•"/>
            </a:pPr>
            <a:r>
              <a:rPr lang="en-GB" sz="2000"/>
              <a:t>No NSG</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Tree>
    <p:extLst>
      <p:ext uri="{BB962C8B-B14F-4D97-AF65-F5344CB8AC3E}">
        <p14:creationId xmlns:p14="http://schemas.microsoft.com/office/powerpoint/2010/main" val="1309280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3000"/>
                            </p:stCondLst>
                            <p:childTnLst>
                              <p:par>
                                <p:cTn id="17" presetID="4" presetClass="entr" presetSubtype="32"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ox(out)">
                                      <p:cBhvr>
                                        <p:cTn id="19" dur="20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5000"/>
                            </p:stCondLst>
                            <p:childTnLst>
                              <p:par>
                                <p:cTn id="24" presetID="2" presetClass="entr" presetSubtype="8"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0-#ppt_w/2"/>
                                          </p:val>
                                        </p:tav>
                                        <p:tav tm="100000">
                                          <p:val>
                                            <p:strVal val="#ppt_x"/>
                                          </p:val>
                                        </p:tav>
                                      </p:tavLst>
                                    </p:anim>
                                    <p:anim calcmode="lin" valueType="num">
                                      <p:cBhvr additive="base">
                                        <p:cTn id="27" dur="500" fill="hold"/>
                                        <p:tgtEl>
                                          <p:spTgt spid="29"/>
                                        </p:tgtEl>
                                        <p:attrNameLst>
                                          <p:attrName>ppt_y</p:attrName>
                                        </p:attrNameLst>
                                      </p:cBhvr>
                                      <p:tavLst>
                                        <p:tav tm="0">
                                          <p:val>
                                            <p:strVal val="#ppt_y"/>
                                          </p:val>
                                        </p:tav>
                                        <p:tav tm="100000">
                                          <p:val>
                                            <p:strVal val="#ppt_y"/>
                                          </p:val>
                                        </p:tav>
                                      </p:tavLst>
                                    </p:anim>
                                  </p:childTnLst>
                                </p:cTn>
                              </p:par>
                              <p:par>
                                <p:cTn id="28" presetID="2" presetClass="entr" presetSubtype="8"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0-#ppt_w/2"/>
                                          </p:val>
                                        </p:tav>
                                        <p:tav tm="100000">
                                          <p:val>
                                            <p:strVal val="#ppt_x"/>
                                          </p:val>
                                        </p:tav>
                                      </p:tavLst>
                                    </p:anim>
                                    <p:anim calcmode="lin" valueType="num">
                                      <p:cBhvr additive="base">
                                        <p:cTn id="31" dur="500" fill="hold"/>
                                        <p:tgtEl>
                                          <p:spTgt spid="27"/>
                                        </p:tgtEl>
                                        <p:attrNameLst>
                                          <p:attrName>ppt_y</p:attrName>
                                        </p:attrNameLst>
                                      </p:cBhvr>
                                      <p:tavLst>
                                        <p:tav tm="0">
                                          <p:val>
                                            <p:strVal val="#ppt_y"/>
                                          </p:val>
                                        </p:tav>
                                        <p:tav tm="100000">
                                          <p:val>
                                            <p:strVal val="#ppt_y"/>
                                          </p:val>
                                        </p:tav>
                                      </p:tavLst>
                                    </p:anim>
                                  </p:childTnLst>
                                </p:cTn>
                              </p:par>
                            </p:childTnLst>
                          </p:cTn>
                        </p:par>
                        <p:par>
                          <p:cTn id="32" fill="hold">
                            <p:stCondLst>
                              <p:cond delay="5500"/>
                            </p:stCondLst>
                            <p:childTnLst>
                              <p:par>
                                <p:cTn id="33" presetID="6" presetClass="entr" presetSubtype="32"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circle(out)">
                                      <p:cBhvr>
                                        <p:cTn id="35" dur="2000"/>
                                        <p:tgtEl>
                                          <p:spTgt spid="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7500"/>
                            </p:stCondLst>
                            <p:childTnLst>
                              <p:par>
                                <p:cTn id="40" presetID="2" presetClass="entr" presetSubtype="8" fill="hold" grpId="0" nodeType="after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additive="base">
                                        <p:cTn id="42" dur="500" fill="hold"/>
                                        <p:tgtEl>
                                          <p:spTgt spid="31"/>
                                        </p:tgtEl>
                                        <p:attrNameLst>
                                          <p:attrName>ppt_x</p:attrName>
                                        </p:attrNameLst>
                                      </p:cBhvr>
                                      <p:tavLst>
                                        <p:tav tm="0">
                                          <p:val>
                                            <p:strVal val="0-#ppt_w/2"/>
                                          </p:val>
                                        </p:tav>
                                        <p:tav tm="100000">
                                          <p:val>
                                            <p:strVal val="#ppt_x"/>
                                          </p:val>
                                        </p:tav>
                                      </p:tavLst>
                                    </p:anim>
                                    <p:anim calcmode="lin" valueType="num">
                                      <p:cBhvr additive="base">
                                        <p:cTn id="43" dur="500" fill="hold"/>
                                        <p:tgtEl>
                                          <p:spTgt spid="31"/>
                                        </p:tgtEl>
                                        <p:attrNameLst>
                                          <p:attrName>ppt_y</p:attrName>
                                        </p:attrNameLst>
                                      </p:cBhvr>
                                      <p:tavLst>
                                        <p:tav tm="0">
                                          <p:val>
                                            <p:strVal val="#ppt_y"/>
                                          </p:val>
                                        </p:tav>
                                        <p:tav tm="100000">
                                          <p:val>
                                            <p:strVal val="#ppt_y"/>
                                          </p:val>
                                        </p:tav>
                                      </p:tavLst>
                                    </p:anim>
                                  </p:childTnLst>
                                </p:cTn>
                              </p:par>
                              <p:par>
                                <p:cTn id="44" presetID="2" presetClass="entr" presetSubtype="8"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0-#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1" grpId="0"/>
      <p:bldP spid="24" grpId="0"/>
      <p:bldP spid="25" grpId="0"/>
      <p:bldP spid="29" grpId="0"/>
      <p:bldP spid="31"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ICs and PI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952328" cy="1862048"/>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One NIC by default</a:t>
            </a:r>
          </a:p>
          <a:p>
            <a:pPr marL="342900" indent="-342900">
              <a:spcAft>
                <a:spcPts val="600"/>
              </a:spcAft>
              <a:buFont typeface="Arial" panose="020B0604020202020204" pitchFamily="34" charset="0"/>
              <a:buChar char="•"/>
            </a:pPr>
            <a:r>
              <a:rPr lang="en-GB" sz="2000"/>
              <a:t>IP allocated, may be reserved</a:t>
            </a:r>
          </a:p>
          <a:p>
            <a:pPr marL="342900" indent="-342900">
              <a:spcAft>
                <a:spcPts val="600"/>
              </a:spcAft>
              <a:buFont typeface="Arial" panose="020B0604020202020204" pitchFamily="34" charset="0"/>
              <a:buChar char="•"/>
            </a:pPr>
            <a:r>
              <a:rPr lang="en-GB" sz="2000"/>
              <a:t>Multiple NICs</a:t>
            </a:r>
          </a:p>
          <a:p>
            <a:pPr marL="342900" indent="-342900">
              <a:spcAft>
                <a:spcPts val="600"/>
              </a:spcAft>
              <a:buFont typeface="Arial" panose="020B0604020202020204" pitchFamily="34" charset="0"/>
              <a:buChar char="•"/>
            </a:pPr>
            <a:r>
              <a:rPr lang="en-GB" sz="2000"/>
              <a:t>Multiple IPs</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
        <p:nvSpPr>
          <p:cNvPr id="35" name="Rectangle 34">
            <a:extLst>
              <a:ext uri="{FF2B5EF4-FFF2-40B4-BE49-F238E27FC236}">
                <a16:creationId xmlns:a16="http://schemas.microsoft.com/office/drawing/2014/main" id="{038D6D98-A189-4ACF-ACCC-642D9BEC5396}"/>
              </a:ext>
            </a:extLst>
          </p:cNvPr>
          <p:cNvSpPr/>
          <p:nvPr/>
        </p:nvSpPr>
        <p:spPr>
          <a:xfrm>
            <a:off x="9032345" y="4419232"/>
            <a:ext cx="3131857" cy="784830"/>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Public IP (PIP)</a:t>
            </a:r>
          </a:p>
          <a:p>
            <a:pPr marL="342900" indent="-342900">
              <a:spcAft>
                <a:spcPts val="600"/>
              </a:spcAft>
              <a:buFont typeface="Arial" panose="020B0604020202020204" pitchFamily="34" charset="0"/>
              <a:buChar char="•"/>
            </a:pPr>
            <a:r>
              <a:rPr lang="en-GB" sz="2000"/>
              <a:t>Azure DNS name</a:t>
            </a:r>
          </a:p>
        </p:txBody>
      </p:sp>
      <p:cxnSp>
        <p:nvCxnSpPr>
          <p:cNvPr id="39" name="Straight Connector 38">
            <a:extLst>
              <a:ext uri="{FF2B5EF4-FFF2-40B4-BE49-F238E27FC236}">
                <a16:creationId xmlns:a16="http://schemas.microsoft.com/office/drawing/2014/main" id="{CFFE8A37-55EC-4818-8DD2-39696232371D}"/>
              </a:ext>
            </a:extLst>
          </p:cNvPr>
          <p:cNvCxnSpPr>
            <a:cxnSpLocks/>
          </p:cNvCxnSpPr>
          <p:nvPr/>
        </p:nvCxnSpPr>
        <p:spPr>
          <a:xfrm>
            <a:off x="4701013" y="5257693"/>
            <a:ext cx="0" cy="13386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F282CEE-815E-467C-B19D-17B1E79D9060}"/>
              </a:ext>
            </a:extLst>
          </p:cNvPr>
          <p:cNvGrpSpPr/>
          <p:nvPr/>
        </p:nvGrpSpPr>
        <p:grpSpPr>
          <a:xfrm>
            <a:off x="4384239" y="4565124"/>
            <a:ext cx="656270" cy="818414"/>
            <a:chOff x="4384239" y="4565124"/>
            <a:chExt cx="656270" cy="818414"/>
          </a:xfrm>
        </p:grpSpPr>
        <p:pic>
          <p:nvPicPr>
            <p:cNvPr id="34" name="Graphic 33">
              <a:extLst>
                <a:ext uri="{FF2B5EF4-FFF2-40B4-BE49-F238E27FC236}">
                  <a16:creationId xmlns:a16="http://schemas.microsoft.com/office/drawing/2014/main" id="{07E4B251-6EC1-4C81-9497-EACBABC61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40541" y="4565124"/>
              <a:ext cx="351782" cy="213285"/>
            </a:xfrm>
            <a:prstGeom prst="rect">
              <a:avLst/>
            </a:prstGeom>
          </p:spPr>
        </p:pic>
        <p:pic>
          <p:nvPicPr>
            <p:cNvPr id="19" name="Graphic 18">
              <a:extLst>
                <a:ext uri="{FF2B5EF4-FFF2-40B4-BE49-F238E27FC236}">
                  <a16:creationId xmlns:a16="http://schemas.microsoft.com/office/drawing/2014/main" id="{FF23E206-3463-4B08-B84C-B784D89368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4239" y="4727268"/>
              <a:ext cx="656270" cy="656270"/>
            </a:xfrm>
            <a:prstGeom prst="rect">
              <a:avLst/>
            </a:prstGeom>
          </p:spPr>
        </p:pic>
      </p:grpSp>
      <p:sp>
        <p:nvSpPr>
          <p:cNvPr id="33" name="TextBox 32">
            <a:extLst>
              <a:ext uri="{FF2B5EF4-FFF2-40B4-BE49-F238E27FC236}">
                <a16:creationId xmlns:a16="http://schemas.microsoft.com/office/drawing/2014/main" id="{CA3D268A-24C8-4D9D-806A-ABD002ED0F2F}"/>
              </a:ext>
            </a:extLst>
          </p:cNvPr>
          <p:cNvSpPr txBox="1"/>
          <p:nvPr/>
        </p:nvSpPr>
        <p:spPr>
          <a:xfrm>
            <a:off x="4010354" y="4243951"/>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NIC</a:t>
            </a:r>
            <a:endParaRPr lang="en-GB" sz="1600" dirty="0">
              <a:solidFill>
                <a:srgbClr val="72BFDF"/>
              </a:solidFill>
            </a:endParaRPr>
          </a:p>
        </p:txBody>
      </p:sp>
      <p:sp>
        <p:nvSpPr>
          <p:cNvPr id="37" name="TextBox 36">
            <a:extLst>
              <a:ext uri="{FF2B5EF4-FFF2-40B4-BE49-F238E27FC236}">
                <a16:creationId xmlns:a16="http://schemas.microsoft.com/office/drawing/2014/main" id="{0C0DE790-4468-4692-ADAB-452E7B823906}"/>
              </a:ext>
            </a:extLst>
          </p:cNvPr>
          <p:cNvSpPr txBox="1"/>
          <p:nvPr/>
        </p:nvSpPr>
        <p:spPr>
          <a:xfrm>
            <a:off x="3942008" y="6482248"/>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PIP</a:t>
            </a:r>
            <a:endParaRPr lang="en-GB" sz="1600" dirty="0">
              <a:solidFill>
                <a:srgbClr val="72BFDF"/>
              </a:solidFill>
            </a:endParaRPr>
          </a:p>
        </p:txBody>
      </p:sp>
    </p:spTree>
    <p:extLst>
      <p:ext uri="{BB962C8B-B14F-4D97-AF65-F5344CB8AC3E}">
        <p14:creationId xmlns:p14="http://schemas.microsoft.com/office/powerpoint/2010/main" val="3596363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up)">
                                      <p:cBhvr>
                                        <p:cTn id="20" dur="500"/>
                                        <p:tgtEl>
                                          <p:spTgt spid="3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5" grpId="0"/>
      <p:bldP spid="33" grpId="0"/>
      <p:bldP spid="37"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1: Portal and vNet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799734" y="2127371"/>
            <a:ext cx="6863952"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ka.ms/citadel/azure101</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miliarisation</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with the Portal</a:t>
            </a: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sing</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the Dashboard</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stantiating Services via the Porta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umentation and Pricing Resources</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63814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50191E-6 -2.68271E-6 L -0.05284 -2.68271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Global VNet Peering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4" y="1122766"/>
            <a:ext cx="7086599" cy="5795433"/>
          </a:xfrm>
        </p:spPr>
        <p:txBody>
          <a:bodyPr/>
          <a:lstStyle/>
          <a:p>
            <a:pPr marL="800100" indent="-342900">
              <a:spcAft>
                <a:spcPts val="600"/>
              </a:spcAft>
              <a:buFont typeface="Arial" panose="020B0604020202020204" pitchFamily="34" charset="0"/>
              <a:buChar char="•"/>
            </a:pPr>
            <a:r>
              <a:rPr lang="en-US" sz="2400" dirty="0">
                <a:latin typeface="+mn-lt"/>
              </a:rPr>
              <a:t>VNets in different Azure regions can be peered to build a global VNet. </a:t>
            </a:r>
          </a:p>
          <a:p>
            <a:pPr marL="800100" indent="-342900">
              <a:spcAft>
                <a:spcPts val="600"/>
              </a:spcAft>
              <a:buFont typeface="Arial" panose="020B0604020202020204" pitchFamily="34" charset="0"/>
              <a:buChar char="•"/>
            </a:pPr>
            <a:r>
              <a:rPr lang="en-US" sz="2400" b="1" dirty="0">
                <a:latin typeface="+mn-lt"/>
              </a:rPr>
              <a:t>Private</a:t>
            </a:r>
            <a:r>
              <a:rPr lang="en-US" sz="2400" dirty="0">
                <a:latin typeface="+mn-lt"/>
              </a:rPr>
              <a:t>: Peer Traffic is private and does not leave the Microsoft Backbone</a:t>
            </a:r>
          </a:p>
          <a:p>
            <a:pPr marL="800100" indent="-342900">
              <a:spcAft>
                <a:spcPts val="600"/>
              </a:spcAft>
              <a:buFont typeface="Arial" panose="020B0604020202020204" pitchFamily="34" charset="0"/>
              <a:buChar char="•"/>
            </a:pPr>
            <a:r>
              <a:rPr lang="en-US" sz="2400" b="1" dirty="0">
                <a:latin typeface="+mn-lt"/>
              </a:rPr>
              <a:t>Easy to set up and manage</a:t>
            </a:r>
            <a:r>
              <a:rPr lang="en-US" sz="2400" dirty="0">
                <a:latin typeface="+mn-lt"/>
              </a:rPr>
              <a:t>: Set up with just a couple of clicks from the Azure portal or using PowerShell, CLI or REST API</a:t>
            </a:r>
          </a:p>
          <a:p>
            <a:pPr marL="800100" indent="-342900">
              <a:spcAft>
                <a:spcPts val="600"/>
              </a:spcAft>
              <a:buFont typeface="Arial" panose="020B0604020202020204" pitchFamily="34" charset="0"/>
              <a:buChar char="•"/>
            </a:pPr>
            <a:r>
              <a:rPr lang="en-US" sz="2400" b="1" dirty="0">
                <a:latin typeface="+mn-lt"/>
              </a:rPr>
              <a:t>Low latency</a:t>
            </a:r>
            <a:r>
              <a:rPr lang="en-US" sz="2400" dirty="0">
                <a:latin typeface="+mn-lt"/>
              </a:rPr>
              <a:t>: Cross region connectivity has no extra hops or internet, a low latency connection is created</a:t>
            </a:r>
          </a:p>
          <a:p>
            <a:pPr marL="800100" indent="-342900">
              <a:spcAft>
                <a:spcPts val="600"/>
              </a:spcAft>
              <a:buFont typeface="Arial" panose="020B0604020202020204" pitchFamily="34" charset="0"/>
              <a:buChar char="•"/>
            </a:pPr>
            <a:r>
              <a:rPr lang="en-US" sz="2400" b="1" dirty="0">
                <a:latin typeface="+mn-lt"/>
              </a:rPr>
              <a:t>No bandwidth restrictions</a:t>
            </a:r>
            <a:r>
              <a:rPr lang="en-US" sz="2400" dirty="0">
                <a:latin typeface="+mn-lt"/>
              </a:rPr>
              <a:t>: Bandwidth is determined based on bandwidth restrictions of the resources deployed in the VNet</a:t>
            </a:r>
          </a:p>
          <a:p>
            <a:endParaRPr lang="en-US" dirty="0"/>
          </a:p>
        </p:txBody>
      </p:sp>
      <p:pic>
        <p:nvPicPr>
          <p:cNvPr id="6" name="Picture 5">
            <a:extLst>
              <a:ext uri="{FF2B5EF4-FFF2-40B4-BE49-F238E27FC236}">
                <a16:creationId xmlns:a16="http://schemas.microsoft.com/office/drawing/2014/main" id="{8215E723-B43E-4C9B-9971-C9F29F963BCC}"/>
              </a:ext>
            </a:extLst>
          </p:cNvPr>
          <p:cNvPicPr>
            <a:picLocks noChangeAspect="1"/>
          </p:cNvPicPr>
          <p:nvPr/>
        </p:nvPicPr>
        <p:blipFill>
          <a:blip r:embed="rId3"/>
          <a:stretch>
            <a:fillRect/>
          </a:stretch>
        </p:blipFill>
        <p:spPr>
          <a:xfrm>
            <a:off x="7272782" y="1147254"/>
            <a:ext cx="4810924" cy="2425474"/>
          </a:xfrm>
          <a:prstGeom prst="rect">
            <a:avLst/>
          </a:prstGeom>
        </p:spPr>
      </p:pic>
    </p:spTree>
    <p:extLst>
      <p:ext uri="{BB962C8B-B14F-4D97-AF65-F5344CB8AC3E}">
        <p14:creationId xmlns:p14="http://schemas.microsoft.com/office/powerpoint/2010/main" val="4772144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330272"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106625"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dirty="0">
                <a:solidFill>
                  <a:srgbClr val="0078D7"/>
                </a:solidFill>
                <a:latin typeface="Segoe UI Light"/>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585916"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851101"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87583" y="3765867"/>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49526"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833583"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566629"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312628" y="3765869"/>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5043713"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828570"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87697" y="2358928"/>
            <a:ext cx="969627" cy="96962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472238" y="2407852"/>
            <a:ext cx="892544" cy="871776"/>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326019" y="2350897"/>
            <a:ext cx="663915" cy="98568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4" name="Freeform 33"/>
          <p:cNvSpPr>
            <a:spLocks noChangeArrowheads="1"/>
          </p:cNvSpPr>
          <p:nvPr/>
        </p:nvSpPr>
        <p:spPr bwMode="auto">
          <a:xfrm>
            <a:off x="9877399" y="2352498"/>
            <a:ext cx="1046245" cy="1035260"/>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81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Click="0" advTm="1000">
        <p159:morph option="byObject"/>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VNet Service Endpoints (Public Preview)</a:t>
            </a:r>
          </a:p>
        </p:txBody>
      </p:sp>
      <p:sp>
        <p:nvSpPr>
          <p:cNvPr id="3" name="Text Placeholder 2">
            <a:extLst>
              <a:ext uri="{FF2B5EF4-FFF2-40B4-BE49-F238E27FC236}">
                <a16:creationId xmlns:a16="http://schemas.microsoft.com/office/drawing/2014/main" id="{F1D19DCA-EE32-4027-86D2-7186DCE4AFBF}"/>
              </a:ext>
            </a:extLst>
          </p:cNvPr>
          <p:cNvSpPr>
            <a:spLocks noGrp="1"/>
          </p:cNvSpPr>
          <p:nvPr>
            <p:ph type="body" sz="quarter" idx="10"/>
          </p:nvPr>
        </p:nvSpPr>
        <p:spPr>
          <a:xfrm>
            <a:off x="274638" y="1212850"/>
            <a:ext cx="6934199" cy="5401479"/>
          </a:xfrm>
        </p:spPr>
        <p:txBody>
          <a:bodyPr/>
          <a:lstStyle/>
          <a:p>
            <a:pPr marL="800100" indent="-342900">
              <a:spcAft>
                <a:spcPts val="600"/>
              </a:spcAft>
              <a:buFont typeface="Arial" panose="020B0604020202020204" pitchFamily="34" charset="0"/>
              <a:buChar char="•"/>
            </a:pPr>
            <a:r>
              <a:rPr lang="en-US" sz="2800" dirty="0">
                <a:latin typeface="+mn-lt"/>
              </a:rPr>
              <a:t>Secure Azure PaaS service resources to your Virtual networks</a:t>
            </a:r>
          </a:p>
          <a:p>
            <a:pPr marL="800100" indent="-342900">
              <a:spcAft>
                <a:spcPts val="600"/>
              </a:spcAft>
              <a:buFont typeface="Arial" panose="020B0604020202020204" pitchFamily="34" charset="0"/>
              <a:buChar char="•"/>
            </a:pPr>
            <a:r>
              <a:rPr lang="en-US" sz="2800" dirty="0">
                <a:latin typeface="+mn-lt"/>
              </a:rPr>
              <a:t>Direct connection from your virtual network to an Azure service</a:t>
            </a:r>
          </a:p>
          <a:p>
            <a:pPr marL="800100" indent="-342900">
              <a:spcAft>
                <a:spcPts val="600"/>
              </a:spcAft>
              <a:buFont typeface="Arial" panose="020B0604020202020204" pitchFamily="34" charset="0"/>
              <a:buChar char="•"/>
            </a:pPr>
            <a:r>
              <a:rPr lang="en-US" sz="2800" dirty="0">
                <a:latin typeface="+mn-lt"/>
              </a:rPr>
              <a:t>Use VNet’s private address space to access supported Azure services</a:t>
            </a:r>
          </a:p>
          <a:p>
            <a:pPr marL="800100" indent="-342900">
              <a:spcAft>
                <a:spcPts val="600"/>
              </a:spcAft>
              <a:buFont typeface="Arial" panose="020B0604020202020204" pitchFamily="34" charset="0"/>
              <a:buChar char="•"/>
            </a:pPr>
            <a:r>
              <a:rPr lang="en-US" sz="2800" dirty="0">
                <a:latin typeface="+mn-lt"/>
              </a:rPr>
              <a:t>Secure Azure Storage Azure SQL to virtual networks </a:t>
            </a:r>
          </a:p>
          <a:p>
            <a:pPr marL="800100" indent="-342900">
              <a:spcAft>
                <a:spcPts val="600"/>
              </a:spcAft>
              <a:buFont typeface="Arial" panose="020B0604020202020204" pitchFamily="34" charset="0"/>
              <a:buChar char="•"/>
            </a:pPr>
            <a:r>
              <a:rPr lang="en-US" sz="2800" dirty="0">
                <a:latin typeface="+mn-lt"/>
              </a:rPr>
              <a:t>Lower latencies for Azure service traffic from your VNet</a:t>
            </a:r>
          </a:p>
          <a:p>
            <a:endParaRPr lang="en-US" dirty="0"/>
          </a:p>
        </p:txBody>
      </p:sp>
      <p:pic>
        <p:nvPicPr>
          <p:cNvPr id="4" name="Picture 3">
            <a:extLst>
              <a:ext uri="{FF2B5EF4-FFF2-40B4-BE49-F238E27FC236}">
                <a16:creationId xmlns:a16="http://schemas.microsoft.com/office/drawing/2014/main" id="{1693EE75-8CFA-45D4-BA8E-97078078D51E}"/>
              </a:ext>
            </a:extLst>
          </p:cNvPr>
          <p:cNvPicPr>
            <a:picLocks noChangeAspect="1"/>
          </p:cNvPicPr>
          <p:nvPr/>
        </p:nvPicPr>
        <p:blipFill>
          <a:blip r:embed="rId3"/>
          <a:stretch>
            <a:fillRect/>
          </a:stretch>
        </p:blipFill>
        <p:spPr>
          <a:xfrm>
            <a:off x="7219206" y="1363662"/>
            <a:ext cx="5092905" cy="3324257"/>
          </a:xfrm>
          <a:prstGeom prst="rect">
            <a:avLst/>
          </a:prstGeom>
        </p:spPr>
      </p:pic>
    </p:spTree>
    <p:extLst>
      <p:ext uri="{BB962C8B-B14F-4D97-AF65-F5344CB8AC3E}">
        <p14:creationId xmlns:p14="http://schemas.microsoft.com/office/powerpoint/2010/main" val="38193987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NS Private Zone (Managed Preview) </a:t>
            </a:r>
          </a:p>
        </p:txBody>
      </p:sp>
      <p:sp>
        <p:nvSpPr>
          <p:cNvPr id="3" name="Text Placeholder 2">
            <a:extLst>
              <a:ext uri="{FF2B5EF4-FFF2-40B4-BE49-F238E27FC236}">
                <a16:creationId xmlns:a16="http://schemas.microsoft.com/office/drawing/2014/main" id="{8682FF9F-10A8-4706-875A-2A776F992AFF}"/>
              </a:ext>
            </a:extLst>
          </p:cNvPr>
          <p:cNvSpPr>
            <a:spLocks noGrp="1"/>
          </p:cNvSpPr>
          <p:nvPr>
            <p:ph type="body" sz="quarter" idx="10"/>
          </p:nvPr>
        </p:nvSpPr>
        <p:spPr>
          <a:xfrm>
            <a:off x="274638" y="1212850"/>
            <a:ext cx="6857999" cy="5486401"/>
          </a:xfrm>
        </p:spPr>
        <p:txBody>
          <a:bodyPr/>
          <a:lstStyle/>
          <a:p>
            <a:pPr marL="342900" indent="-342900">
              <a:buFont typeface="Arial" panose="020B0604020202020204" pitchFamily="34" charset="0"/>
              <a:buChar char="•"/>
            </a:pPr>
            <a:r>
              <a:rPr lang="en-US" sz="2400" dirty="0"/>
              <a:t>Host DNS zones within virtual networks</a:t>
            </a:r>
          </a:p>
          <a:p>
            <a:pPr marL="342900" indent="-342900">
              <a:buFont typeface="Arial" panose="020B0604020202020204" pitchFamily="34" charset="0"/>
              <a:buChar char="•"/>
            </a:pPr>
            <a:r>
              <a:rPr lang="en-US" sz="2400" dirty="0"/>
              <a:t>Removes the need for custom DNS solutions</a:t>
            </a:r>
          </a:p>
          <a:p>
            <a:pPr marL="342900" indent="-342900">
              <a:buFont typeface="Arial" panose="020B0604020202020204" pitchFamily="34" charset="0"/>
              <a:buChar char="•"/>
            </a:pPr>
            <a:r>
              <a:rPr lang="en-US" sz="2400" dirty="0"/>
              <a:t>Use all common DNS records types</a:t>
            </a:r>
          </a:p>
          <a:p>
            <a:pPr marL="809271" lvl="1" indent="-342900">
              <a:buFont typeface="Arial" panose="020B0604020202020204" pitchFamily="34" charset="0"/>
              <a:buChar char="•"/>
            </a:pPr>
            <a:r>
              <a:rPr lang="en-US" sz="2400" dirty="0"/>
              <a:t>A, AAAA, CNAME, MX, NS, PTR, SOA, SRV, and TXT records</a:t>
            </a:r>
          </a:p>
          <a:p>
            <a:pPr marL="342900" indent="-342900">
              <a:buFont typeface="Arial" panose="020B0604020202020204" pitchFamily="34" charset="0"/>
              <a:buChar char="•"/>
            </a:pPr>
            <a:r>
              <a:rPr lang="en-US" sz="2400" dirty="0"/>
              <a:t>Automatic hostname record management.</a:t>
            </a:r>
          </a:p>
          <a:p>
            <a:pPr marL="342900" indent="-342900">
              <a:buFont typeface="Arial" panose="020B0604020202020204" pitchFamily="34" charset="0"/>
              <a:buChar char="•"/>
            </a:pPr>
            <a:r>
              <a:rPr lang="en-US" sz="2400" dirty="0"/>
              <a:t>Hostname resolution between virtual networks</a:t>
            </a:r>
          </a:p>
          <a:p>
            <a:pPr marL="342900" indent="-342900">
              <a:buFont typeface="Arial" panose="020B0604020202020204" pitchFamily="34" charset="0"/>
              <a:buChar char="•"/>
            </a:pPr>
            <a:r>
              <a:rPr lang="en-US" sz="2400" dirty="0"/>
              <a:t>Familiar tools and user experience</a:t>
            </a:r>
          </a:p>
          <a:p>
            <a:endParaRPr lang="en-US" dirty="0"/>
          </a:p>
        </p:txBody>
      </p:sp>
      <p:pic>
        <p:nvPicPr>
          <p:cNvPr id="6" name="Picture 5">
            <a:extLst>
              <a:ext uri="{FF2B5EF4-FFF2-40B4-BE49-F238E27FC236}">
                <a16:creationId xmlns:a16="http://schemas.microsoft.com/office/drawing/2014/main" id="{251C8C0D-1830-4541-97A6-19B9D132D05D}"/>
              </a:ext>
            </a:extLst>
          </p:cNvPr>
          <p:cNvPicPr>
            <a:picLocks noChangeAspect="1"/>
          </p:cNvPicPr>
          <p:nvPr/>
        </p:nvPicPr>
        <p:blipFill>
          <a:blip r:embed="rId3"/>
          <a:stretch>
            <a:fillRect/>
          </a:stretch>
        </p:blipFill>
        <p:spPr>
          <a:xfrm>
            <a:off x="7259935" y="1287462"/>
            <a:ext cx="4776970" cy="3299294"/>
          </a:xfrm>
          <a:prstGeom prst="rect">
            <a:avLst/>
          </a:prstGeom>
        </p:spPr>
      </p:pic>
    </p:spTree>
    <p:extLst>
      <p:ext uri="{BB962C8B-B14F-4D97-AF65-F5344CB8AC3E}">
        <p14:creationId xmlns:p14="http://schemas.microsoft.com/office/powerpoint/2010/main" val="4978813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sz="4400" dirty="0"/>
              <a:t>Accelerated Networking for Linux (Public Preview)</a:t>
            </a:r>
          </a:p>
        </p:txBody>
      </p:sp>
      <p:sp>
        <p:nvSpPr>
          <p:cNvPr id="3" name="Text Placeholder 2">
            <a:extLst>
              <a:ext uri="{FF2B5EF4-FFF2-40B4-BE49-F238E27FC236}">
                <a16:creationId xmlns:a16="http://schemas.microsoft.com/office/drawing/2014/main" id="{8FFC9035-82E9-4F97-B338-11B17DC2A264}"/>
              </a:ext>
            </a:extLst>
          </p:cNvPr>
          <p:cNvSpPr>
            <a:spLocks noGrp="1"/>
          </p:cNvSpPr>
          <p:nvPr>
            <p:ph type="body" sz="quarter" idx="10"/>
          </p:nvPr>
        </p:nvSpPr>
        <p:spPr>
          <a:xfrm>
            <a:off x="274638" y="1212850"/>
            <a:ext cx="5638799" cy="5816977"/>
          </a:xfrm>
        </p:spPr>
        <p:txBody>
          <a:bodyPr/>
          <a:lstStyle/>
          <a:p>
            <a:pPr marL="285750" indent="-285750">
              <a:buFont typeface="Arial" panose="020B0604020202020204" pitchFamily="34" charset="0"/>
              <a:buChar char="•"/>
            </a:pPr>
            <a:r>
              <a:rPr lang="en-US" sz="2400" b="1" dirty="0">
                <a:latin typeface="+mn-lt"/>
              </a:rPr>
              <a:t>No accelerated networking</a:t>
            </a:r>
            <a:r>
              <a:rPr lang="en-US" sz="2400" dirty="0">
                <a:latin typeface="+mn-lt"/>
              </a:rPr>
              <a:t>: Network traffic traverses the host and the virtual switch. </a:t>
            </a:r>
          </a:p>
          <a:p>
            <a:pPr marL="285750" indent="-285750">
              <a:buFont typeface="Arial" panose="020B0604020202020204" pitchFamily="34" charset="0"/>
              <a:buChar char="•"/>
            </a:pPr>
            <a:r>
              <a:rPr lang="en-US" sz="2400" b="1" dirty="0">
                <a:latin typeface="+mn-lt"/>
              </a:rPr>
              <a:t>Accelerated networking</a:t>
            </a:r>
            <a:r>
              <a:rPr lang="en-US" sz="2400" dirty="0">
                <a:latin typeface="+mn-lt"/>
              </a:rPr>
              <a:t>: Network traffic arrives at the VM's network interface (NIC), and forwarded to VM. </a:t>
            </a:r>
          </a:p>
          <a:p>
            <a:pPr marL="752121" lvl="1" indent="-285750">
              <a:buFont typeface="Arial" panose="020B0604020202020204" pitchFamily="34" charset="0"/>
              <a:buChar char="•"/>
            </a:pPr>
            <a:r>
              <a:rPr lang="en-US" sz="2400" dirty="0"/>
              <a:t>All network policies that the virtual switch applies without accelerated networking </a:t>
            </a:r>
            <a:r>
              <a:rPr lang="en-US" sz="2400" dirty="0">
                <a:solidFill>
                  <a:srgbClr val="0078D7"/>
                </a:solidFill>
              </a:rPr>
              <a:t>are offloaded and applied in hardware</a:t>
            </a:r>
          </a:p>
          <a:p>
            <a:pPr marL="752121" lvl="1" indent="-285750">
              <a:buFont typeface="Arial" panose="020B0604020202020204" pitchFamily="34" charset="0"/>
              <a:buChar char="•"/>
            </a:pPr>
            <a:r>
              <a:rPr lang="en-US" sz="2400" dirty="0"/>
              <a:t>Lower Latency / Higher packets per second (pps)</a:t>
            </a:r>
          </a:p>
          <a:p>
            <a:pPr marL="752121" lvl="1" indent="-285750">
              <a:buFont typeface="Arial" panose="020B0604020202020204" pitchFamily="34" charset="0"/>
              <a:buChar char="•"/>
            </a:pPr>
            <a:r>
              <a:rPr lang="en-US" sz="2400" dirty="0"/>
              <a:t>Reduced jitter</a:t>
            </a:r>
          </a:p>
          <a:p>
            <a:pPr marL="752121" lvl="1" indent="-285750">
              <a:buFont typeface="Arial" panose="020B0604020202020204" pitchFamily="34" charset="0"/>
              <a:buChar char="•"/>
            </a:pPr>
            <a:r>
              <a:rPr lang="en-US" sz="2400" dirty="0"/>
              <a:t>Decreased CPU utilization</a:t>
            </a:r>
          </a:p>
          <a:p>
            <a:endParaRPr lang="en-US" dirty="0"/>
          </a:p>
        </p:txBody>
      </p:sp>
      <p:sp>
        <p:nvSpPr>
          <p:cNvPr id="7" name="Rectangle 6">
            <a:extLst>
              <a:ext uri="{FF2B5EF4-FFF2-40B4-BE49-F238E27FC236}">
                <a16:creationId xmlns:a16="http://schemas.microsoft.com/office/drawing/2014/main" id="{053CD3D8-CE67-444A-80C3-D33841E95C0B}"/>
              </a:ext>
            </a:extLst>
          </p:cNvPr>
          <p:cNvSpPr/>
          <p:nvPr/>
        </p:nvSpPr>
        <p:spPr>
          <a:xfrm>
            <a:off x="655637" y="1439862"/>
            <a:ext cx="5486400" cy="369332"/>
          </a:xfrm>
          <a:prstGeom prst="rect">
            <a:avLst/>
          </a:prstGeom>
        </p:spPr>
        <p:txBody>
          <a:bodyPr wrap="square">
            <a:spAutoFit/>
          </a:bodyPr>
          <a:lstStyle/>
          <a:p>
            <a:pPr marL="285750" indent="-285750">
              <a:buFont typeface="Arial" panose="020B0604020202020204" pitchFamily="34" charset="0"/>
              <a:buChar char="•"/>
            </a:pPr>
            <a:endParaRPr lang="en-US" dirty="0"/>
          </a:p>
        </p:txBody>
      </p:sp>
      <p:pic>
        <p:nvPicPr>
          <p:cNvPr id="13" name="Picture 12">
            <a:extLst>
              <a:ext uri="{FF2B5EF4-FFF2-40B4-BE49-F238E27FC236}">
                <a16:creationId xmlns:a16="http://schemas.microsoft.com/office/drawing/2014/main" id="{7BDC35FE-B80B-4823-BDE9-F5E094955C33}"/>
              </a:ext>
            </a:extLst>
          </p:cNvPr>
          <p:cNvPicPr>
            <a:picLocks noChangeAspect="1"/>
          </p:cNvPicPr>
          <p:nvPr/>
        </p:nvPicPr>
        <p:blipFill>
          <a:blip r:embed="rId3"/>
          <a:stretch>
            <a:fillRect/>
          </a:stretch>
        </p:blipFill>
        <p:spPr>
          <a:xfrm>
            <a:off x="6142037" y="1363662"/>
            <a:ext cx="5979694" cy="3810000"/>
          </a:xfrm>
          <a:prstGeom prst="rect">
            <a:avLst/>
          </a:prstGeom>
        </p:spPr>
      </p:pic>
    </p:spTree>
    <p:extLst>
      <p:ext uri="{BB962C8B-B14F-4D97-AF65-F5344CB8AC3E}">
        <p14:creationId xmlns:p14="http://schemas.microsoft.com/office/powerpoint/2010/main" val="16130666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Load balancer</a:t>
            </a:r>
          </a:p>
        </p:txBody>
      </p:sp>
      <p:sp>
        <p:nvSpPr>
          <p:cNvPr id="3" name="Text Placeholder 2">
            <a:extLst>
              <a:ext uri="{FF2B5EF4-FFF2-40B4-BE49-F238E27FC236}">
                <a16:creationId xmlns:a16="http://schemas.microsoft.com/office/drawing/2014/main" id="{14A59976-C0EC-44AF-887F-3CF1B3E53B0C}"/>
              </a:ext>
            </a:extLst>
          </p:cNvPr>
          <p:cNvSpPr>
            <a:spLocks noGrp="1"/>
          </p:cNvSpPr>
          <p:nvPr>
            <p:ph type="body" sz="quarter" idx="10"/>
          </p:nvPr>
        </p:nvSpPr>
        <p:spPr>
          <a:xfrm>
            <a:off x="274639" y="1212850"/>
            <a:ext cx="8839200" cy="6029343"/>
          </a:xfrm>
        </p:spPr>
        <p:txBody>
          <a:bodyPr/>
          <a:lstStyle/>
          <a:p>
            <a:pPr marL="457200" indent="-457200">
              <a:buFont typeface="+mj-lt"/>
              <a:buAutoNum type="arabicPeriod"/>
            </a:pPr>
            <a:r>
              <a:rPr lang="en-US" sz="1800" dirty="0"/>
              <a:t>Load balancer Standard (Public Preview)</a:t>
            </a:r>
          </a:p>
          <a:p>
            <a:pPr marL="1152171" lvl="2" indent="-457200">
              <a:buFont typeface="Arial" panose="020B0604020202020204" pitchFamily="34" charset="0"/>
              <a:buChar char="•"/>
            </a:pPr>
            <a:r>
              <a:rPr lang="en-US" sz="1800" dirty="0">
                <a:solidFill>
                  <a:srgbClr val="0078D7"/>
                </a:solidFill>
                <a:latin typeface="+mj-lt"/>
              </a:rPr>
              <a:t>Availability Zones with regionally resilient and zonal frontends, cross-zone load balancing for HA scenarios within a zone or across zones.</a:t>
            </a:r>
          </a:p>
          <a:p>
            <a:pPr marL="1152171" lvl="2" indent="-457200">
              <a:buFont typeface="Arial" panose="020B0604020202020204" pitchFamily="34" charset="0"/>
              <a:buChar char="•"/>
            </a:pPr>
            <a:r>
              <a:rPr lang="en-US" sz="1800" dirty="0">
                <a:latin typeface="+mj-lt"/>
              </a:rPr>
              <a:t>Any Virtual Machine instances in a Virtual Network, including 1000 instance VM Scale Sets.</a:t>
            </a:r>
          </a:p>
          <a:p>
            <a:pPr marL="1152171" lvl="2" indent="-457200">
              <a:buFont typeface="Arial" panose="020B0604020202020204" pitchFamily="34" charset="0"/>
              <a:buChar char="•"/>
            </a:pPr>
            <a:r>
              <a:rPr lang="en-US" sz="1800" dirty="0">
                <a:latin typeface="+mj-lt"/>
              </a:rPr>
              <a:t>Instance load balancing rules to internally load balance all TCP and UDP flows for scenarios including Network Virtual Appliance HA</a:t>
            </a:r>
          </a:p>
          <a:p>
            <a:pPr marL="1152171" lvl="2" indent="-457200">
              <a:buFont typeface="Arial" panose="020B0604020202020204" pitchFamily="34" charset="0"/>
              <a:buChar char="•"/>
            </a:pPr>
            <a:r>
              <a:rPr lang="en-US" sz="1800" dirty="0">
                <a:latin typeface="+mj-lt"/>
              </a:rPr>
              <a:t>Diagnostic insights: data plane health, per endpoint health probe status, and counters for packets, bytes, SYN packets, and outbound SNAT connections.</a:t>
            </a:r>
          </a:p>
          <a:p>
            <a:pPr marL="457200" indent="-457200">
              <a:buFont typeface="+mj-lt"/>
              <a:buAutoNum type="arabicPeriod"/>
            </a:pPr>
            <a:r>
              <a:rPr lang="en-US" sz="1800" dirty="0"/>
              <a:t>Load balancer HA Ports (Public Preview)</a:t>
            </a:r>
          </a:p>
          <a:p>
            <a:pPr marL="923571" lvl="1" indent="-457200">
              <a:buFont typeface="Arial" panose="020B0604020202020204" pitchFamily="34" charset="0"/>
              <a:buChar char="•"/>
            </a:pPr>
            <a:r>
              <a:rPr lang="en-US" sz="1800" b="1" dirty="0">
                <a:latin typeface="+mj-lt"/>
              </a:rPr>
              <a:t>All Traffic </a:t>
            </a:r>
            <a:r>
              <a:rPr lang="en-US" sz="1800" dirty="0">
                <a:latin typeface="+mj-lt"/>
              </a:rPr>
              <a:t>- Load balance the Virtual network traffic from multiple different sources on to the backend pool – irrespective of the port numbers.</a:t>
            </a:r>
          </a:p>
          <a:p>
            <a:pPr marL="923571" lvl="1" indent="-457200">
              <a:buFont typeface="Arial" panose="020B0604020202020204" pitchFamily="34" charset="0"/>
              <a:buChar char="•"/>
            </a:pPr>
            <a:r>
              <a:rPr lang="en-US" sz="1800" b="1" dirty="0">
                <a:latin typeface="+mj-lt"/>
              </a:rPr>
              <a:t>Simpler Configuration </a:t>
            </a:r>
            <a:r>
              <a:rPr lang="en-US" sz="1800" dirty="0">
                <a:latin typeface="+mj-lt"/>
              </a:rPr>
              <a:t>– </a:t>
            </a:r>
            <a:r>
              <a:rPr lang="en-US" sz="1800" dirty="0">
                <a:solidFill>
                  <a:srgbClr val="0078D7"/>
                </a:solidFill>
                <a:latin typeface="+mj-lt"/>
              </a:rPr>
              <a:t>Replaces </a:t>
            </a:r>
            <a:r>
              <a:rPr lang="en-US" sz="1800" b="1" dirty="0">
                <a:solidFill>
                  <a:srgbClr val="0078D7"/>
                </a:solidFill>
                <a:latin typeface="+mj-lt"/>
              </a:rPr>
              <a:t>multiple load balancing rules with a single rule, avoid the max rule limit, and reduce complexity</a:t>
            </a:r>
          </a:p>
          <a:p>
            <a:pPr marL="923571" lvl="1" indent="-457200">
              <a:buFont typeface="Arial" panose="020B0604020202020204" pitchFamily="34" charset="0"/>
              <a:buChar char="•"/>
            </a:pPr>
            <a:r>
              <a:rPr lang="en-US" sz="1800" b="1" dirty="0">
                <a:latin typeface="+mj-lt"/>
              </a:rPr>
              <a:t>NVA HA</a:t>
            </a:r>
            <a:r>
              <a:rPr lang="en-US" sz="1800" dirty="0">
                <a:latin typeface="+mj-lt"/>
              </a:rPr>
              <a:t> – Appliances can be deployed in an N-Active Pool behind a load balancer using the HA Ports, and can be made highly available and process all traffic.</a:t>
            </a:r>
          </a:p>
          <a:p>
            <a:pPr marL="923571" lvl="1" indent="-457200">
              <a:buFont typeface="Arial" panose="020B0604020202020204" pitchFamily="34" charset="0"/>
              <a:buChar char="•"/>
            </a:pPr>
            <a:r>
              <a:rPr lang="en-US" sz="1800" b="1" dirty="0">
                <a:latin typeface="+mj-lt"/>
              </a:rPr>
              <a:t>Load balancing for Port Range</a:t>
            </a:r>
            <a:r>
              <a:rPr lang="en-US" sz="1800" dirty="0">
                <a:latin typeface="+mj-lt"/>
              </a:rPr>
              <a:t> – this feature, combined with NSGs can Load Balance traffic for certain port ranges for custom applications.</a:t>
            </a:r>
          </a:p>
          <a:p>
            <a:endParaRPr lang="en-US" dirty="0"/>
          </a:p>
        </p:txBody>
      </p:sp>
      <p:sp>
        <p:nvSpPr>
          <p:cNvPr id="5" name="Rectangle 4">
            <a:extLst>
              <a:ext uri="{FF2B5EF4-FFF2-40B4-BE49-F238E27FC236}">
                <a16:creationId xmlns:a16="http://schemas.microsoft.com/office/drawing/2014/main" id="{FA5917CB-E5EC-4927-A7C8-C4003E4C0891}"/>
              </a:ext>
            </a:extLst>
          </p:cNvPr>
          <p:cNvSpPr/>
          <p:nvPr/>
        </p:nvSpPr>
        <p:spPr>
          <a:xfrm>
            <a:off x="547688" y="1363662"/>
            <a:ext cx="8839200" cy="707886"/>
          </a:xfrm>
          <a:prstGeom prst="rect">
            <a:avLst/>
          </a:prstGeom>
        </p:spPr>
        <p:txBody>
          <a:bodyPr wrap="square">
            <a:spAutoFit/>
          </a:bodyPr>
          <a:lstStyle/>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90EC62CE-6C54-48E3-B260-6B00C4B0E299}"/>
              </a:ext>
            </a:extLst>
          </p:cNvPr>
          <p:cNvPicPr>
            <a:picLocks noChangeAspect="1"/>
          </p:cNvPicPr>
          <p:nvPr/>
        </p:nvPicPr>
        <p:blipFill>
          <a:blip r:embed="rId3"/>
          <a:stretch>
            <a:fillRect/>
          </a:stretch>
        </p:blipFill>
        <p:spPr>
          <a:xfrm>
            <a:off x="9647237" y="2542500"/>
            <a:ext cx="2515026" cy="2070966"/>
          </a:xfrm>
          <a:prstGeom prst="rect">
            <a:avLst/>
          </a:prstGeom>
        </p:spPr>
      </p:pic>
    </p:spTree>
    <p:extLst>
      <p:ext uri="{BB962C8B-B14F-4D97-AF65-F5344CB8AC3E}">
        <p14:creationId xmlns:p14="http://schemas.microsoft.com/office/powerpoint/2010/main" val="291624977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Compute &amp; Storage Services</a:t>
            </a:r>
          </a:p>
        </p:txBody>
      </p:sp>
      <p:pic>
        <p:nvPicPr>
          <p:cNvPr id="6" name="Picture Placeholder 5" descr="A picture containing computer, indoor, building, train&#10;&#10;Description generated with high confidence">
            <a:extLst>
              <a:ext uri="{FF2B5EF4-FFF2-40B4-BE49-F238E27FC236}">
                <a16:creationId xmlns:a16="http://schemas.microsoft.com/office/drawing/2014/main" id="{4AF14745-9BB0-4DA9-8154-C6726ED0528B}"/>
              </a:ext>
            </a:extLst>
          </p:cNvPr>
          <p:cNvPicPr>
            <a:picLocks noGrp="1" noChangeAspect="1"/>
          </p:cNvPicPr>
          <p:nvPr>
            <p:ph type="pic" sz="quarter" idx="10"/>
          </p:nvPr>
        </p:nvPicPr>
        <p:blipFill>
          <a:blip r:embed="rId3"/>
          <a:srcRect l="20379" r="20379"/>
          <a:stretch>
            <a:fillRect/>
          </a:stretch>
        </p:blipFill>
        <p:spPr/>
      </p:pic>
    </p:spTree>
    <p:extLst>
      <p:ext uri="{BB962C8B-B14F-4D97-AF65-F5344CB8AC3E}">
        <p14:creationId xmlns:p14="http://schemas.microsoft.com/office/powerpoint/2010/main" val="7664590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695023"/>
            <a:ext cx="11449272" cy="465613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839039"/>
            <a:ext cx="4176544" cy="4401205"/>
          </a:xfrm>
        </p:spPr>
        <p:txBody>
          <a:bodyPr/>
          <a:lstStyle/>
          <a:p>
            <a:pPr marL="0" indent="0">
              <a:spcAft>
                <a:spcPts val="1800"/>
              </a:spcAft>
              <a:buNone/>
            </a:pPr>
            <a:r>
              <a:rPr lang="en-GB" sz="2000" b="1">
                <a:latin typeface="+mn-lt"/>
                <a:cs typeface="Segoe UI Light" panose="020B0502040204020203" pitchFamily="34" charset="0"/>
              </a:rPr>
              <a:t>Virtual Machines</a:t>
            </a:r>
            <a:br>
              <a:rPr lang="en-GB" sz="2000" b="1">
                <a:latin typeface="+mn-lt"/>
                <a:cs typeface="Segoe UI Light" panose="020B0502040204020203" pitchFamily="34" charset="0"/>
              </a:rPr>
            </a:br>
            <a:r>
              <a:rPr lang="en-GB" sz="2000">
                <a:cs typeface="Segoe UI Light" panose="020B0502040204020203" pitchFamily="34" charset="0"/>
              </a:rPr>
              <a:t>Windows and Linux VMs</a:t>
            </a:r>
          </a:p>
          <a:p>
            <a:pPr marL="0" indent="0">
              <a:spcAft>
                <a:spcPts val="1800"/>
              </a:spcAft>
              <a:buNone/>
            </a:pPr>
            <a:endParaRPr lang="en-GB" sz="2000" b="1">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Scale Sets</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Elastically scale 100s of VMs without pre-provisioning</a:t>
            </a:r>
          </a:p>
          <a:p>
            <a:pPr marL="0" indent="0">
              <a:spcAft>
                <a:spcPts val="1800"/>
              </a:spcAft>
              <a:buNone/>
            </a:pPr>
            <a:endParaRPr lang="en-GB" sz="2000" b="1">
              <a:solidFill>
                <a:schemeClr val="tx1"/>
              </a:solidFill>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Batch</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HPC and large scale batch processing. Scales to hundreds or thousands of VMs</a:t>
            </a:r>
            <a:endParaRPr lang="en-GB" sz="200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a:t>Azure Compute – Core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839039"/>
            <a:ext cx="4824536" cy="4108817"/>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a:solidFill>
                  <a:schemeClr val="tx1"/>
                </a:solidFill>
              </a:rPr>
              <a:t>Azure Container Service</a:t>
            </a:r>
            <a:br>
              <a:rPr lang="en-GB" dirty="0">
                <a:solidFill>
                  <a:schemeClr val="tx1"/>
                </a:solidFill>
                <a:latin typeface="+mj-lt"/>
              </a:rPr>
            </a:br>
            <a:r>
              <a:rPr lang="en-GB" b="0" dirty="0">
                <a:solidFill>
                  <a:schemeClr val="tx1"/>
                </a:solidFill>
                <a:latin typeface="+mj-lt"/>
              </a:rPr>
              <a:t>Deploy and manage clustered containers in DC/OS, Kubernetes and Swarm</a:t>
            </a:r>
          </a:p>
          <a:p>
            <a:endParaRPr lang="en-GB" dirty="0">
              <a:solidFill>
                <a:schemeClr val="tx1"/>
              </a:solidFill>
            </a:endParaRPr>
          </a:p>
          <a:p>
            <a:r>
              <a:rPr lang="en-US" dirty="0"/>
              <a:t>Azure Container Registry</a:t>
            </a:r>
            <a:br>
              <a:rPr lang="en-US" dirty="0"/>
            </a:br>
            <a:r>
              <a:rPr lang="en-US" dirty="0">
                <a:latin typeface="+mj-lt"/>
              </a:rPr>
              <a:t>Secure</a:t>
            </a:r>
            <a:r>
              <a:rPr lang="en-US" dirty="0"/>
              <a:t> </a:t>
            </a:r>
            <a:r>
              <a:rPr lang="en-US" dirty="0">
                <a:latin typeface="+mj-lt"/>
              </a:rPr>
              <a:t>Docker private registry, provided as a service</a:t>
            </a:r>
            <a:br>
              <a:rPr lang="en-US" dirty="0">
                <a:latin typeface="+mj-lt"/>
              </a:rPr>
            </a:br>
            <a:endParaRPr lang="en-US" dirty="0"/>
          </a:p>
          <a:p>
            <a:r>
              <a:rPr lang="en-US" dirty="0"/>
              <a:t>Service Fabric</a:t>
            </a:r>
            <a:br>
              <a:rPr lang="en-US" dirty="0"/>
            </a:br>
            <a:r>
              <a:rPr lang="en-US" b="0" dirty="0">
                <a:solidFill>
                  <a:schemeClr val="tx1"/>
                </a:solidFill>
                <a:latin typeface="+mj-lt"/>
              </a:rPr>
              <a:t>Highly scalable microservice platform for stateless and stateful services</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3382" y="1913086"/>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265" y="3406163"/>
            <a:ext cx="720000" cy="720000"/>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118" y="5029865"/>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47880" y="3484232"/>
            <a:ext cx="818429" cy="818429"/>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stretch>
            <a:fillRect/>
          </a:stretch>
        </p:blipFill>
        <p:spPr>
          <a:xfrm>
            <a:off x="6074301" y="1814657"/>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74301" y="5055097"/>
            <a:ext cx="720000" cy="720000"/>
          </a:xfrm>
          <a:prstGeom prst="rect">
            <a:avLst/>
          </a:prstGeom>
        </p:spPr>
      </p:pic>
    </p:spTree>
    <p:extLst>
      <p:ext uri="{BB962C8B-B14F-4D97-AF65-F5344CB8AC3E}">
        <p14:creationId xmlns:p14="http://schemas.microsoft.com/office/powerpoint/2010/main" val="316371168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638" y="1975757"/>
            <a:ext cx="1188956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 name="Group 3"/>
          <p:cNvGrpSpPr/>
          <p:nvPr/>
        </p:nvGrpSpPr>
        <p:grpSpPr>
          <a:xfrm>
            <a:off x="10532264" y="2159127"/>
            <a:ext cx="1490100" cy="2107303"/>
            <a:chOff x="10532264" y="2494176"/>
            <a:chExt cx="1490100" cy="2107303"/>
          </a:xfrm>
        </p:grpSpPr>
        <p:sp>
          <p:nvSpPr>
            <p:cNvPr id="5" name="Rectangle 4"/>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6" name="Group 5"/>
            <p:cNvGrpSpPr/>
            <p:nvPr/>
          </p:nvGrpSpPr>
          <p:grpSpPr>
            <a:xfrm>
              <a:off x="10532264" y="2494176"/>
              <a:ext cx="1437099" cy="1384404"/>
              <a:chOff x="10632593" y="1209273"/>
              <a:chExt cx="1110459" cy="1069741"/>
            </a:xfrm>
          </p:grpSpPr>
          <p:grpSp>
            <p:nvGrpSpPr>
              <p:cNvPr id="7" name="Group 6"/>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3" name="Flowchart: Magnetic Disk 12"/>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4" name="Flowchart: Magnetic Disk 13"/>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 name="Flowchart: Magnetic Disk 14"/>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 name="Flowchart: Magnetic Disk 15"/>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7" name="Flowchart: Magnetic Disk 16"/>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8" name="Group 7"/>
              <p:cNvGrpSpPr/>
              <p:nvPr/>
            </p:nvGrpSpPr>
            <p:grpSpPr>
              <a:xfrm>
                <a:off x="10632593" y="1483519"/>
                <a:ext cx="767612" cy="795495"/>
                <a:chOff x="-477782" y="450675"/>
                <a:chExt cx="5901463" cy="6115812"/>
              </a:xfrm>
            </p:grpSpPr>
            <p:sp>
              <p:nvSpPr>
                <p:cNvPr id="9"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stretch>
                  <a:fillRect/>
                </a:stretch>
              </p:blipFill>
              <p:spPr>
                <a:xfrm>
                  <a:off x="2990885" y="4844838"/>
                  <a:ext cx="1486280" cy="1490576"/>
                </a:xfrm>
                <a:prstGeom prst="rect">
                  <a:avLst/>
                </a:prstGeom>
              </p:spPr>
            </p:pic>
            <p:pic>
              <p:nvPicPr>
                <p:cNvPr id="11" name="Picture 10"/>
                <p:cNvPicPr>
                  <a:picLocks noChangeAspect="1"/>
                </p:cNvPicPr>
                <p:nvPr/>
              </p:nvPicPr>
              <p:blipFill>
                <a:blip r:embed="rId3"/>
                <a:stretch>
                  <a:fillRect/>
                </a:stretch>
              </p:blipFill>
              <p:spPr>
                <a:xfrm>
                  <a:off x="624820" y="1700441"/>
                  <a:ext cx="3815982" cy="3827010"/>
                </a:xfrm>
                <a:prstGeom prst="rect">
                  <a:avLst/>
                </a:prstGeom>
              </p:spPr>
            </p:pic>
            <p:pic>
              <p:nvPicPr>
                <p:cNvPr id="12" name="Picture 11"/>
                <p:cNvPicPr>
                  <a:picLocks noChangeAspect="1"/>
                </p:cNvPicPr>
                <p:nvPr/>
              </p:nvPicPr>
              <p:blipFill>
                <a:blip r:embed="rId3"/>
                <a:stretch>
                  <a:fillRect/>
                </a:stretch>
              </p:blipFill>
              <p:spPr>
                <a:xfrm>
                  <a:off x="2211493" y="450675"/>
                  <a:ext cx="1974734" cy="1980442"/>
                </a:xfrm>
                <a:prstGeom prst="rect">
                  <a:avLst/>
                </a:prstGeom>
              </p:spPr>
            </p:pic>
          </p:grpSp>
        </p:grpSp>
      </p:grpSp>
      <p:sp>
        <p:nvSpPr>
          <p:cNvPr id="19" name="Rectangle 18"/>
          <p:cNvSpPr/>
          <p:nvPr/>
        </p:nvSpPr>
        <p:spPr bwMode="auto">
          <a:xfrm>
            <a:off x="1012338" y="3770189"/>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ntry</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evel</a:t>
            </a:r>
          </a:p>
        </p:txBody>
      </p:sp>
      <p:sp>
        <p:nvSpPr>
          <p:cNvPr id="28" name="Rectangle 27"/>
          <p:cNvSpPr/>
          <p:nvPr/>
        </p:nvSpPr>
        <p:spPr bwMode="auto">
          <a:xfrm>
            <a:off x="3475071" y="3770189"/>
            <a:ext cx="108420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VMs</a:t>
            </a:r>
          </a:p>
        </p:txBody>
      </p:sp>
      <p:sp>
        <p:nvSpPr>
          <p:cNvPr id="37" name="Rectangle 36"/>
          <p:cNvSpPr/>
          <p:nvPr/>
        </p:nvSpPr>
        <p:spPr bwMode="auto">
          <a:xfrm>
            <a:off x="5867205" y="3770189"/>
            <a:ext cx="13265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sp>
        <p:nvSpPr>
          <p:cNvPr id="46" name="Rectangle 45"/>
          <p:cNvSpPr/>
          <p:nvPr/>
        </p:nvSpPr>
        <p:spPr bwMode="auto">
          <a:xfrm>
            <a:off x="8420979" y="3770189"/>
            <a:ext cx="124554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 Memory </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sp>
        <p:nvSpPr>
          <p:cNvPr id="55" name="TextBox 54"/>
          <p:cNvSpPr txBox="1"/>
          <p:nvPr/>
        </p:nvSpPr>
        <p:spPr>
          <a:xfrm>
            <a:off x="425428" y="4417017"/>
            <a:ext cx="2441448" cy="2449343"/>
          </a:xfrm>
          <a:prstGeom prst="rect">
            <a:avLst/>
          </a:prstGeom>
          <a:noFill/>
        </p:spPr>
        <p:txBody>
          <a:bodyPr vert="horz" wrap="square" lIns="182880" tIns="146304" rIns="182880" bIns="146304" rtlCol="0" anchor="t" anchorCtr="0">
            <a:noAutofit/>
          </a:bodyPr>
          <a:lstStyle/>
          <a:p>
            <a:pPr>
              <a:lnSpc>
                <a:spcPct val="90000"/>
              </a:lnSpc>
              <a:spcBef>
                <a:spcPts val="600"/>
              </a:spcBef>
              <a:spcAft>
                <a:spcPts val="600"/>
              </a:spcAft>
            </a:pPr>
            <a:r>
              <a:rPr lang="en-US" sz="1400">
                <a:gradFill>
                  <a:gsLst>
                    <a:gs pos="1250">
                      <a:schemeClr val="tx1"/>
                    </a:gs>
                    <a:gs pos="100000">
                      <a:schemeClr val="tx1"/>
                    </a:gs>
                  </a:gsLst>
                  <a:lin ang="5400000" scaled="0"/>
                </a:gradFill>
              </a:rPr>
              <a:t>Dev/Test and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entry-level workloads</a:t>
            </a:r>
          </a:p>
          <a:p>
            <a:pPr>
              <a:lnSpc>
                <a:spcPct val="90000"/>
              </a:lnSpc>
              <a:spcBef>
                <a:spcPts val="600"/>
              </a:spcBef>
              <a:spcAft>
                <a:spcPts val="600"/>
              </a:spcAft>
            </a:pPr>
            <a:r>
              <a:rPr lang="en-US" sz="1400">
                <a:gradFill>
                  <a:gsLst>
                    <a:gs pos="1250">
                      <a:schemeClr val="tx1"/>
                    </a:gs>
                    <a:gs pos="100000">
                      <a:schemeClr val="tx1"/>
                    </a:gs>
                  </a:gsLst>
                  <a:lin ang="5400000" scaled="0"/>
                </a:gradFill>
              </a:rPr>
              <a:t>Earliest generation, HDD</a:t>
            </a:r>
          </a:p>
          <a:p>
            <a:pPr>
              <a:lnSpc>
                <a:spcPct val="90000"/>
              </a:lnSpc>
              <a:spcBef>
                <a:spcPts val="600"/>
              </a:spcBef>
              <a:spcAft>
                <a:spcPts val="600"/>
              </a:spcAft>
            </a:pPr>
            <a:r>
              <a:rPr lang="en-US" sz="1400">
                <a:gradFill>
                  <a:gsLst>
                    <a:gs pos="1250">
                      <a:schemeClr val="tx1"/>
                    </a:gs>
                    <a:gs pos="100000">
                      <a:schemeClr val="tx1"/>
                    </a:gs>
                  </a:gsLst>
                  <a:lin ang="5400000" scaled="0"/>
                </a:gradFill>
              </a:rPr>
              <a:t>100 ACU/core		 </a:t>
            </a:r>
          </a:p>
        </p:txBody>
      </p:sp>
      <p:sp>
        <p:nvSpPr>
          <p:cNvPr id="56" name="Content Placeholder 2"/>
          <p:cNvSpPr txBox="1">
            <a:spLocks/>
          </p:cNvSpPr>
          <p:nvPr/>
        </p:nvSpPr>
        <p:spPr>
          <a:xfrm>
            <a:off x="2942983" y="4417017"/>
            <a:ext cx="2437565" cy="2449343"/>
          </a:xfrm>
          <a:prstGeom prst="rect">
            <a:avLst/>
          </a:prstGeom>
          <a:noFill/>
        </p:spPr>
        <p:txBody>
          <a:bodyPr vert="horz" wrap="square" lIns="182880" tIns="146304" rIns="182880" bIns="146304" rtlCol="0" anchor="t" anchorCtr="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505050"/>
              </a:buClr>
              <a:buNone/>
            </a:pPr>
            <a:r>
              <a:rPr lang="en-US" sz="1400">
                <a:latin typeface="+mn-lt"/>
                <a:ea typeface="Segoe UI" pitchFamily="34" charset="0"/>
                <a:cs typeface="Segoe UI" pitchFamily="34" charset="0"/>
              </a:rPr>
              <a:t>Good combination of memory, SSD for most common production applications</a:t>
            </a:r>
          </a:p>
          <a:p>
            <a:pPr marL="0" indent="0">
              <a:spcBef>
                <a:spcPts val="600"/>
              </a:spcBef>
              <a:spcAft>
                <a:spcPts val="600"/>
              </a:spcAft>
              <a:buClr>
                <a:srgbClr val="505050"/>
              </a:buClr>
              <a:buNone/>
            </a:pPr>
            <a:r>
              <a:rPr lang="en-US" sz="1400">
                <a:latin typeface="+mn-lt"/>
                <a:ea typeface="Segoe UI" pitchFamily="34" charset="0"/>
                <a:cs typeface="Segoe UI" pitchFamily="34" charset="0"/>
              </a:rPr>
              <a:t>Memory-intensive variants</a:t>
            </a:r>
          </a:p>
          <a:p>
            <a:pPr marL="0" indent="0">
              <a:spcBef>
                <a:spcPts val="600"/>
              </a:spcBef>
              <a:spcAft>
                <a:spcPts val="600"/>
              </a:spcAft>
              <a:buClr>
                <a:srgbClr val="505050"/>
              </a:buClr>
              <a:buNone/>
            </a:pPr>
            <a:r>
              <a:rPr lang="en-US" sz="1400">
                <a:latin typeface="+mn-lt"/>
                <a:ea typeface="Segoe UI" pitchFamily="34" charset="0"/>
                <a:cs typeface="Segoe UI" pitchFamily="34" charset="0"/>
              </a:rPr>
              <a:t>210 ACU/core</a:t>
            </a:r>
          </a:p>
        </p:txBody>
      </p:sp>
      <p:sp>
        <p:nvSpPr>
          <p:cNvPr id="57" name="Rectangle 56"/>
          <p:cNvSpPr/>
          <p:nvPr/>
        </p:nvSpPr>
        <p:spPr bwMode="auto">
          <a:xfrm>
            <a:off x="5456655" y="4417017"/>
            <a:ext cx="2437565" cy="24493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Compute-intensive apps like Gaming, Analytics</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More CPU to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memory ratio</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210 ACU/core</a:t>
            </a:r>
          </a:p>
          <a:p>
            <a:pPr defTabSz="913927" eaLnBrk="0" fontAlgn="base" hangingPunct="0">
              <a:lnSpc>
                <a:spcPct val="90000"/>
              </a:lnSpc>
              <a:spcBef>
                <a:spcPts val="600"/>
              </a:spcBef>
              <a:spcAft>
                <a:spcPts val="600"/>
              </a:spcAft>
              <a:defRPr/>
            </a:pPr>
            <a:endParaRPr lang="en-US" sz="1400">
              <a:gradFill>
                <a:gsLst>
                  <a:gs pos="1250">
                    <a:schemeClr val="tx1"/>
                  </a:gs>
                  <a:gs pos="100000">
                    <a:schemeClr val="tx1"/>
                  </a:gs>
                </a:gsLst>
                <a:lin ang="5400000" scaled="0"/>
              </a:gradFill>
              <a:ea typeface="Segoe UI" pitchFamily="34" charset="0"/>
              <a:cs typeface="Segoe UI" pitchFamily="34" charset="0"/>
            </a:endParaRPr>
          </a:p>
        </p:txBody>
      </p:sp>
      <p:sp>
        <p:nvSpPr>
          <p:cNvPr id="58" name="TextBox 57"/>
          <p:cNvSpPr txBox="1"/>
          <p:nvPr/>
        </p:nvSpPr>
        <p:spPr>
          <a:xfrm>
            <a:off x="7970328" y="4417017"/>
            <a:ext cx="2437565" cy="2449343"/>
          </a:xfrm>
          <a:prstGeom prst="rect">
            <a:avLst/>
          </a:prstGeom>
          <a:noFill/>
        </p:spPr>
        <p:txBody>
          <a:bodyPr vert="horz" wrap="square" lIns="182880" tIns="146304" rIns="182880" bIns="146304" rtlCol="0" anchor="t" anchorCtr="0">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Large VMs for large databases requiring fast Storage</a:t>
            </a:r>
            <a:endParaRPr lang="en-US" sz="1400">
              <a:gradFill>
                <a:gsLst>
                  <a:gs pos="1250">
                    <a:schemeClr val="tx1"/>
                  </a:gs>
                  <a:gs pos="100000">
                    <a:schemeClr val="tx1"/>
                  </a:gs>
                </a:gsLst>
                <a:lin ang="5400000" scaled="0"/>
              </a:gradFill>
            </a:endParaRPr>
          </a:p>
          <a:p>
            <a:pPr>
              <a:lnSpc>
                <a:spcPct val="90000"/>
              </a:lnSpc>
              <a:spcBef>
                <a:spcPts val="600"/>
              </a:spcBef>
              <a:spcAft>
                <a:spcPts val="600"/>
              </a:spcAft>
            </a:pPr>
            <a:r>
              <a:rPr lang="en-US" sz="1400">
                <a:gradFill>
                  <a:gsLst>
                    <a:gs pos="1250">
                      <a:schemeClr val="tx1"/>
                    </a:gs>
                    <a:gs pos="100000">
                      <a:schemeClr val="tx1"/>
                    </a:gs>
                  </a:gsLst>
                  <a:lin ang="5400000" scaled="0"/>
                </a:gradFill>
              </a:rPr>
              <a:t>Intel Haswell processor with 0.5TB RAM</a:t>
            </a:r>
          </a:p>
          <a:p>
            <a:pPr>
              <a:lnSpc>
                <a:spcPct val="90000"/>
              </a:lnSpc>
              <a:spcBef>
                <a:spcPts val="600"/>
              </a:spcBef>
              <a:spcAft>
                <a:spcPts val="600"/>
              </a:spcAft>
            </a:pPr>
            <a:r>
              <a:rPr lang="en-US" sz="1400">
                <a:gradFill>
                  <a:gsLst>
                    <a:gs pos="1250">
                      <a:schemeClr val="tx1"/>
                    </a:gs>
                    <a:gs pos="100000">
                      <a:schemeClr val="tx1"/>
                    </a:gs>
                  </a:gsLst>
                  <a:lin ang="5400000" scaled="0"/>
                </a:gradFill>
              </a:rPr>
              <a:t>180 ACU/core</a:t>
            </a:r>
          </a:p>
        </p:txBody>
      </p:sp>
      <p:sp>
        <p:nvSpPr>
          <p:cNvPr id="59" name="Title 3"/>
          <p:cNvSpPr>
            <a:spLocks noGrp="1"/>
          </p:cNvSpPr>
          <p:nvPr>
            <p:ph type="title"/>
          </p:nvPr>
        </p:nvSpPr>
        <p:spPr/>
        <p:txBody>
          <a:bodyPr lIns="182880" tIns="146304" rIns="182880" bIns="146304"/>
          <a:lstStyle/>
          <a:p>
            <a:r>
              <a:rPr lang="en-US" sz="4400" spc="0">
                <a:cs typeface="Segoe UI Semibold" panose="020B0702040204020203" pitchFamily="34" charset="0"/>
              </a:rPr>
              <a:t>Compute families</a:t>
            </a:r>
          </a:p>
        </p:txBody>
      </p:sp>
      <p:grpSp>
        <p:nvGrpSpPr>
          <p:cNvPr id="64" name="Group 63"/>
          <p:cNvGrpSpPr/>
          <p:nvPr/>
        </p:nvGrpSpPr>
        <p:grpSpPr>
          <a:xfrm>
            <a:off x="1116491" y="2383082"/>
            <a:ext cx="864685" cy="1236329"/>
            <a:chOff x="454025" y="3077179"/>
            <a:chExt cx="807346" cy="1154346"/>
          </a:xfrm>
        </p:grpSpPr>
        <p:pic>
          <p:nvPicPr>
            <p:cNvPr id="65" name="Picture 64"/>
            <p:cNvPicPr>
              <a:picLocks noChangeAspect="1"/>
            </p:cNvPicPr>
            <p:nvPr/>
          </p:nvPicPr>
          <p:blipFill>
            <a:blip r:embed="rId4"/>
            <a:stretch>
              <a:fillRect/>
            </a:stretch>
          </p:blipFill>
          <p:spPr>
            <a:xfrm>
              <a:off x="454025" y="3077179"/>
              <a:ext cx="807346" cy="1154346"/>
            </a:xfrm>
            <a:prstGeom prst="rect">
              <a:avLst/>
            </a:prstGeom>
          </p:spPr>
        </p:pic>
        <p:sp>
          <p:nvSpPr>
            <p:cNvPr id="66" name="Rectangle 6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7" name="Group 66"/>
          <p:cNvGrpSpPr/>
          <p:nvPr/>
        </p:nvGrpSpPr>
        <p:grpSpPr>
          <a:xfrm>
            <a:off x="3588758" y="2383082"/>
            <a:ext cx="864685" cy="1236329"/>
            <a:chOff x="454025" y="3077179"/>
            <a:chExt cx="807346" cy="1154346"/>
          </a:xfrm>
        </p:grpSpPr>
        <p:pic>
          <p:nvPicPr>
            <p:cNvPr id="68" name="Picture 67"/>
            <p:cNvPicPr>
              <a:picLocks noChangeAspect="1"/>
            </p:cNvPicPr>
            <p:nvPr/>
          </p:nvPicPr>
          <p:blipFill>
            <a:blip r:embed="rId4"/>
            <a:stretch>
              <a:fillRect/>
            </a:stretch>
          </p:blipFill>
          <p:spPr>
            <a:xfrm>
              <a:off x="454025" y="3077179"/>
              <a:ext cx="807346" cy="1154346"/>
            </a:xfrm>
            <a:prstGeom prst="rect">
              <a:avLst/>
            </a:prstGeom>
          </p:spPr>
        </p:pic>
        <p:sp>
          <p:nvSpPr>
            <p:cNvPr id="69" name="Rectangle 6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70" name="Group 69"/>
          <p:cNvGrpSpPr/>
          <p:nvPr/>
        </p:nvGrpSpPr>
        <p:grpSpPr>
          <a:xfrm>
            <a:off x="6061025" y="2383082"/>
            <a:ext cx="864685" cy="1236329"/>
            <a:chOff x="454025" y="3077179"/>
            <a:chExt cx="807346" cy="1154346"/>
          </a:xfrm>
        </p:grpSpPr>
        <p:pic>
          <p:nvPicPr>
            <p:cNvPr id="71" name="Picture 70"/>
            <p:cNvPicPr>
              <a:picLocks noChangeAspect="1"/>
            </p:cNvPicPr>
            <p:nvPr/>
          </p:nvPicPr>
          <p:blipFill>
            <a:blip r:embed="rId4"/>
            <a:stretch>
              <a:fillRect/>
            </a:stretch>
          </p:blipFill>
          <p:spPr>
            <a:xfrm>
              <a:off x="454025" y="3077179"/>
              <a:ext cx="807346" cy="1154346"/>
            </a:xfrm>
            <a:prstGeom prst="rect">
              <a:avLst/>
            </a:prstGeom>
          </p:spPr>
        </p:pic>
        <p:sp>
          <p:nvSpPr>
            <p:cNvPr id="72" name="Rectangle 7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3" name="Group 72"/>
          <p:cNvGrpSpPr/>
          <p:nvPr/>
        </p:nvGrpSpPr>
        <p:grpSpPr>
          <a:xfrm>
            <a:off x="8533291" y="2383082"/>
            <a:ext cx="864685" cy="1236329"/>
            <a:chOff x="454025" y="3077179"/>
            <a:chExt cx="807346" cy="1154346"/>
          </a:xfrm>
        </p:grpSpPr>
        <p:pic>
          <p:nvPicPr>
            <p:cNvPr id="74" name="Picture 73"/>
            <p:cNvPicPr>
              <a:picLocks noChangeAspect="1"/>
            </p:cNvPicPr>
            <p:nvPr/>
          </p:nvPicPr>
          <p:blipFill>
            <a:blip r:embed="rId4"/>
            <a:stretch>
              <a:fillRect/>
            </a:stretch>
          </p:blipFill>
          <p:spPr>
            <a:xfrm>
              <a:off x="454025" y="3077179"/>
              <a:ext cx="807346" cy="1154346"/>
            </a:xfrm>
            <a:prstGeom prst="rect">
              <a:avLst/>
            </a:prstGeom>
          </p:spPr>
        </p:pic>
        <p:sp>
          <p:nvSpPr>
            <p:cNvPr id="75" name="Rectangle 7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Tree>
    <p:extLst>
      <p:ext uri="{BB962C8B-B14F-4D97-AF65-F5344CB8AC3E}">
        <p14:creationId xmlns:p14="http://schemas.microsoft.com/office/powerpoint/2010/main" val="144135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1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150"/>
                                  </p:stCondLst>
                                  <p:childTnLst>
                                    <p:animMotion origin="layout" path="M 1.20756E-6 -3.58148E-6 L 1.20756E-6 0.03836 " pathEditMode="relative" rAng="0" ptsTypes="AA">
                                      <p:cBhvr>
                                        <p:cTn id="12" dur="750" spd="-100000" fill="hold"/>
                                        <p:tgtEl>
                                          <p:spTgt spid="4"/>
                                        </p:tgtEl>
                                        <p:attrNameLst>
                                          <p:attrName>ppt_x</p:attrName>
                                          <p:attrName>ppt_y</p:attrName>
                                        </p:attrNameLst>
                                      </p:cBhvr>
                                      <p:rCtr x="0" y="1906"/>
                                    </p:animMotion>
                                  </p:childTnLst>
                                </p:cTn>
                              </p:par>
                              <p:par>
                                <p:cTn id="13" presetID="10" presetClass="entr" presetSubtype="0" fill="hold" nodeType="withEffect">
                                  <p:stCondLst>
                                    <p:cond delay="15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par>
                                <p:cTn id="16" presetID="42" presetClass="path" presetSubtype="0" decel="100000" fill="hold" nodeType="withEffect">
                                  <p:stCondLst>
                                    <p:cond delay="150"/>
                                  </p:stCondLst>
                                  <p:childTnLst>
                                    <p:animMotion origin="layout" path="M 1.20756E-6 -3.58148E-6 L 1.20756E-6 0.03836 " pathEditMode="relative" rAng="0" ptsTypes="AA">
                                      <p:cBhvr>
                                        <p:cTn id="17" dur="750" spd="-100000" fill="hold"/>
                                        <p:tgtEl>
                                          <p:spTgt spid="73"/>
                                        </p:tgtEl>
                                        <p:attrNameLst>
                                          <p:attrName>ppt_x</p:attrName>
                                          <p:attrName>ppt_y</p:attrName>
                                        </p:attrNameLst>
                                      </p:cBhvr>
                                      <p:rCtr x="0" y="1906"/>
                                    </p:animMotion>
                                  </p:childTnLst>
                                </p:cTn>
                              </p:par>
                              <p:par>
                                <p:cTn id="18" presetID="10" presetClass="entr" presetSubtype="0" fill="hold" nodeType="withEffect">
                                  <p:stCondLst>
                                    <p:cond delay="15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par>
                                <p:cTn id="21" presetID="42" presetClass="path" presetSubtype="0" decel="100000" fill="hold" nodeType="withEffect">
                                  <p:stCondLst>
                                    <p:cond delay="150"/>
                                  </p:stCondLst>
                                  <p:childTnLst>
                                    <p:animMotion origin="layout" path="M 1.20756E-6 -3.58148E-6 L 1.20756E-6 0.03836 " pathEditMode="relative" rAng="0" ptsTypes="AA">
                                      <p:cBhvr>
                                        <p:cTn id="22" dur="750" spd="-100000" fill="hold"/>
                                        <p:tgtEl>
                                          <p:spTgt spid="70"/>
                                        </p:tgtEl>
                                        <p:attrNameLst>
                                          <p:attrName>ppt_x</p:attrName>
                                          <p:attrName>ppt_y</p:attrName>
                                        </p:attrNameLst>
                                      </p:cBhvr>
                                      <p:rCtr x="0" y="1906"/>
                                    </p:animMotion>
                                  </p:childTnLst>
                                </p:cTn>
                              </p:par>
                              <p:par>
                                <p:cTn id="23" presetID="10" presetClass="entr" presetSubtype="0" fill="hold" nodeType="withEffect">
                                  <p:stCondLst>
                                    <p:cond delay="15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42" presetClass="path" presetSubtype="0" decel="100000" fill="hold" nodeType="withEffect">
                                  <p:stCondLst>
                                    <p:cond delay="150"/>
                                  </p:stCondLst>
                                  <p:childTnLst>
                                    <p:animMotion origin="layout" path="M 1.20756E-6 -3.58148E-6 L 1.20756E-6 0.03836 " pathEditMode="relative" rAng="0" ptsTypes="AA">
                                      <p:cBhvr>
                                        <p:cTn id="27" dur="750" spd="-100000" fill="hold"/>
                                        <p:tgtEl>
                                          <p:spTgt spid="67"/>
                                        </p:tgtEl>
                                        <p:attrNameLst>
                                          <p:attrName>ppt_x</p:attrName>
                                          <p:attrName>ppt_y</p:attrName>
                                        </p:attrNameLst>
                                      </p:cBhvr>
                                      <p:rCtr x="0" y="1906"/>
                                    </p:animMotion>
                                  </p:childTnLst>
                                </p:cTn>
                              </p:par>
                              <p:par>
                                <p:cTn id="28" presetID="10" presetClass="entr" presetSubtype="0" fill="hold" nodeType="withEffect">
                                  <p:stCondLst>
                                    <p:cond delay="15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par>
                                <p:cTn id="31" presetID="42" presetClass="path" presetSubtype="0" decel="100000" fill="hold" nodeType="withEffect">
                                  <p:stCondLst>
                                    <p:cond delay="150"/>
                                  </p:stCondLst>
                                  <p:childTnLst>
                                    <p:animMotion origin="layout" path="M 1.20756E-6 -3.58148E-6 L 1.20756E-6 0.03836 " pathEditMode="relative" rAng="0" ptsTypes="AA">
                                      <p:cBhvr>
                                        <p:cTn id="32" dur="750" spd="-100000" fill="hold"/>
                                        <p:tgtEl>
                                          <p:spTgt spid="64"/>
                                        </p:tgtEl>
                                        <p:attrNameLst>
                                          <p:attrName>ppt_x</p:attrName>
                                          <p:attrName>ppt_y</p:attrName>
                                        </p:attrNameLst>
                                      </p:cBhvr>
                                      <p:rCtr x="0" y="1906"/>
                                    </p:animMotion>
                                  </p:childTnLst>
                                </p:cTn>
                              </p:par>
                              <p:par>
                                <p:cTn id="33" presetID="10" presetClass="entr" presetSubtype="0" fill="hold" grpId="0" nodeType="withEffect">
                                  <p:stCondLst>
                                    <p:cond delay="1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42" presetClass="path" presetSubtype="0" decel="100000" fill="hold" grpId="1" nodeType="withEffect">
                                  <p:stCondLst>
                                    <p:cond delay="150"/>
                                  </p:stCondLst>
                                  <p:childTnLst>
                                    <p:animMotion origin="layout" path="M 1.20756E-6 -3.58148E-6 L 1.20756E-6 0.03836 " pathEditMode="relative" rAng="0" ptsTypes="AA">
                                      <p:cBhvr>
                                        <p:cTn id="37" dur="750" spd="-100000" fill="hold"/>
                                        <p:tgtEl>
                                          <p:spTgt spid="19"/>
                                        </p:tgtEl>
                                        <p:attrNameLst>
                                          <p:attrName>ppt_x</p:attrName>
                                          <p:attrName>ppt_y</p:attrName>
                                        </p:attrNameLst>
                                      </p:cBhvr>
                                      <p:rCtr x="0" y="1906"/>
                                    </p:animMotion>
                                  </p:childTnLst>
                                </p:cTn>
                              </p:par>
                              <p:par>
                                <p:cTn id="38" presetID="10" presetClass="entr" presetSubtype="0" fill="hold" grpId="0" nodeType="withEffect">
                                  <p:stCondLst>
                                    <p:cond delay="1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42" presetClass="path" presetSubtype="0" decel="100000" fill="hold" grpId="1" nodeType="withEffect">
                                  <p:stCondLst>
                                    <p:cond delay="150"/>
                                  </p:stCondLst>
                                  <p:childTnLst>
                                    <p:animMotion origin="layout" path="M 1.20756E-6 -3.58148E-6 L 1.20756E-6 0.03836 " pathEditMode="relative" rAng="0" ptsTypes="AA">
                                      <p:cBhvr>
                                        <p:cTn id="42" dur="750" spd="-100000" fill="hold"/>
                                        <p:tgtEl>
                                          <p:spTgt spid="28"/>
                                        </p:tgtEl>
                                        <p:attrNameLst>
                                          <p:attrName>ppt_x</p:attrName>
                                          <p:attrName>ppt_y</p:attrName>
                                        </p:attrNameLst>
                                      </p:cBhvr>
                                      <p:rCtr x="0" y="1906"/>
                                    </p:animMotion>
                                  </p:childTnLst>
                                </p:cTn>
                              </p:par>
                              <p:par>
                                <p:cTn id="43" presetID="10" presetClass="entr" presetSubtype="0" fill="hold" grpId="0" nodeType="withEffect">
                                  <p:stCondLst>
                                    <p:cond delay="15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grpId="1" nodeType="withEffect">
                                  <p:stCondLst>
                                    <p:cond delay="150"/>
                                  </p:stCondLst>
                                  <p:childTnLst>
                                    <p:animMotion origin="layout" path="M 1.20756E-6 -3.58148E-6 L 1.20756E-6 0.03836 " pathEditMode="relative" rAng="0" ptsTypes="AA">
                                      <p:cBhvr>
                                        <p:cTn id="47" dur="750" spd="-100000" fill="hold"/>
                                        <p:tgtEl>
                                          <p:spTgt spid="37"/>
                                        </p:tgtEl>
                                        <p:attrNameLst>
                                          <p:attrName>ppt_x</p:attrName>
                                          <p:attrName>ppt_y</p:attrName>
                                        </p:attrNameLst>
                                      </p:cBhvr>
                                      <p:rCtr x="0" y="1906"/>
                                    </p:animMotion>
                                  </p:childTnLst>
                                </p:cTn>
                              </p:par>
                              <p:par>
                                <p:cTn id="48" presetID="10" presetClass="entr" presetSubtype="0" fill="hold" grpId="0" nodeType="withEffect">
                                  <p:stCondLst>
                                    <p:cond delay="15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par>
                                <p:cTn id="51" presetID="42" presetClass="path" presetSubtype="0" decel="100000" fill="hold" grpId="1" nodeType="withEffect">
                                  <p:stCondLst>
                                    <p:cond delay="150"/>
                                  </p:stCondLst>
                                  <p:childTnLst>
                                    <p:animMotion origin="layout" path="M 1.20756E-6 -3.58148E-6 L 1.20756E-6 0.03836 " pathEditMode="relative" rAng="0" ptsTypes="AA">
                                      <p:cBhvr>
                                        <p:cTn id="52" dur="750" spd="-100000" fill="hold"/>
                                        <p:tgtEl>
                                          <p:spTgt spid="46"/>
                                        </p:tgtEl>
                                        <p:attrNameLst>
                                          <p:attrName>ppt_x</p:attrName>
                                          <p:attrName>ppt_y</p:attrName>
                                        </p:attrNameLst>
                                      </p:cBhvr>
                                      <p:rCtr x="0" y="1906"/>
                                    </p:animMotion>
                                  </p:childTnLst>
                                </p:cTn>
                              </p:par>
                              <p:par>
                                <p:cTn id="53" presetID="10" presetClass="entr" presetSubtype="0" fill="hold" grpId="0" nodeType="withEffect">
                                  <p:stCondLst>
                                    <p:cond delay="50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500"/>
                                        <p:tgtEl>
                                          <p:spTgt spid="55"/>
                                        </p:tgtEl>
                                      </p:cBhvr>
                                    </p:animEffect>
                                  </p:childTnLst>
                                </p:cTn>
                              </p:par>
                              <p:par>
                                <p:cTn id="56" presetID="42" presetClass="path" presetSubtype="0" decel="100000" fill="hold" grpId="1" nodeType="withEffect">
                                  <p:stCondLst>
                                    <p:cond delay="500"/>
                                  </p:stCondLst>
                                  <p:childTnLst>
                                    <p:animMotion origin="layout" path="M 1.20756E-6 -3.58148E-6 L 1.20756E-6 0.03836 " pathEditMode="relative" rAng="0" ptsTypes="AA">
                                      <p:cBhvr>
                                        <p:cTn id="57" dur="750" spd="-100000" fill="hold"/>
                                        <p:tgtEl>
                                          <p:spTgt spid="55"/>
                                        </p:tgtEl>
                                        <p:attrNameLst>
                                          <p:attrName>ppt_x</p:attrName>
                                          <p:attrName>ppt_y</p:attrName>
                                        </p:attrNameLst>
                                      </p:cBhvr>
                                      <p:rCtr x="0" y="1906"/>
                                    </p:animMotion>
                                  </p:childTnLst>
                                </p:cTn>
                              </p:par>
                              <p:par>
                                <p:cTn id="58" presetID="10" presetClass="entr" presetSubtype="0" fill="hold" grpId="0" nodeType="withEffect">
                                  <p:stCondLst>
                                    <p:cond delay="500"/>
                                  </p:stCondLst>
                                  <p:childTnLst>
                                    <p:set>
                                      <p:cBhvr>
                                        <p:cTn id="59" dur="1" fill="hold">
                                          <p:stCondLst>
                                            <p:cond delay="0"/>
                                          </p:stCondLst>
                                        </p:cTn>
                                        <p:tgtEl>
                                          <p:spTgt spid="56"/>
                                        </p:tgtEl>
                                        <p:attrNameLst>
                                          <p:attrName>style.visibility</p:attrName>
                                        </p:attrNameLst>
                                      </p:cBhvr>
                                      <p:to>
                                        <p:strVal val="visible"/>
                                      </p:to>
                                    </p:set>
                                    <p:animEffect transition="in" filter="fade">
                                      <p:cBhvr>
                                        <p:cTn id="60" dur="500"/>
                                        <p:tgtEl>
                                          <p:spTgt spid="56"/>
                                        </p:tgtEl>
                                      </p:cBhvr>
                                    </p:animEffect>
                                  </p:childTnLst>
                                </p:cTn>
                              </p:par>
                              <p:par>
                                <p:cTn id="61" presetID="42" presetClass="path" presetSubtype="0" decel="100000" fill="hold" grpId="1" nodeType="withEffect">
                                  <p:stCondLst>
                                    <p:cond delay="500"/>
                                  </p:stCondLst>
                                  <p:childTnLst>
                                    <p:animMotion origin="layout" path="M 1.20756E-6 -3.58148E-6 L 1.20756E-6 0.03836 " pathEditMode="relative" rAng="0" ptsTypes="AA">
                                      <p:cBhvr>
                                        <p:cTn id="62" dur="750" spd="-100000" fill="hold"/>
                                        <p:tgtEl>
                                          <p:spTgt spid="56"/>
                                        </p:tgtEl>
                                        <p:attrNameLst>
                                          <p:attrName>ppt_x</p:attrName>
                                          <p:attrName>ppt_y</p:attrName>
                                        </p:attrNameLst>
                                      </p:cBhvr>
                                      <p:rCtr x="0" y="1906"/>
                                    </p:animMotion>
                                  </p:childTnLst>
                                </p:cTn>
                              </p:par>
                              <p:par>
                                <p:cTn id="63" presetID="10" presetClass="entr" presetSubtype="0" fill="hold" grpId="0" nodeType="withEffect">
                                  <p:stCondLst>
                                    <p:cond delay="50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42" presetClass="path" presetSubtype="0" decel="100000" fill="hold" grpId="1" nodeType="withEffect">
                                  <p:stCondLst>
                                    <p:cond delay="500"/>
                                  </p:stCondLst>
                                  <p:childTnLst>
                                    <p:animMotion origin="layout" path="M 1.20756E-6 -3.58148E-6 L 1.20756E-6 0.03836 " pathEditMode="relative" rAng="0" ptsTypes="AA">
                                      <p:cBhvr>
                                        <p:cTn id="67" dur="750" spd="-100000" fill="hold"/>
                                        <p:tgtEl>
                                          <p:spTgt spid="57"/>
                                        </p:tgtEl>
                                        <p:attrNameLst>
                                          <p:attrName>ppt_x</p:attrName>
                                          <p:attrName>ppt_y</p:attrName>
                                        </p:attrNameLst>
                                      </p:cBhvr>
                                      <p:rCtr x="0" y="1906"/>
                                    </p:animMotion>
                                  </p:childTnLst>
                                </p:cTn>
                              </p:par>
                              <p:par>
                                <p:cTn id="68" presetID="10" presetClass="entr" presetSubtype="0" fill="hold" grpId="0" nodeType="withEffect">
                                  <p:stCondLst>
                                    <p:cond delay="50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42" presetClass="path" presetSubtype="0" decel="100000" fill="hold" grpId="1" nodeType="withEffect">
                                  <p:stCondLst>
                                    <p:cond delay="500"/>
                                  </p:stCondLst>
                                  <p:childTnLst>
                                    <p:animMotion origin="layout" path="M 1.20756E-6 -3.58148E-6 L 1.20756E-6 0.03836 " pathEditMode="relative" rAng="0" ptsTypes="AA">
                                      <p:cBhvr>
                                        <p:cTn id="72" dur="750" spd="-100000" fill="hold"/>
                                        <p:tgtEl>
                                          <p:spTgt spid="58"/>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P spid="19" grpId="1"/>
      <p:bldP spid="28" grpId="0"/>
      <p:bldP spid="28" grpId="1"/>
      <p:bldP spid="37" grpId="0"/>
      <p:bldP spid="37" grpId="1"/>
      <p:bldP spid="46" grpId="0"/>
      <p:bldP spid="46" grpId="1"/>
      <p:bldP spid="55" grpId="0"/>
      <p:bldP spid="55" grpId="1"/>
      <p:bldP spid="56" grpId="0"/>
      <p:bldP spid="56" grpId="1"/>
      <p:bldP spid="57" grpId="0"/>
      <p:bldP spid="57" grpId="1"/>
      <p:bldP spid="58" grpId="0"/>
      <p:bldP spid="58" grpId="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46" name="Rectangle 145"/>
          <p:cNvSpPr/>
          <p:nvPr/>
        </p:nvSpPr>
        <p:spPr bwMode="auto">
          <a:xfrm>
            <a:off x="0" y="1916381"/>
            <a:ext cx="1243647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09" name="Group 108"/>
          <p:cNvGrpSpPr/>
          <p:nvPr/>
        </p:nvGrpSpPr>
        <p:grpSpPr>
          <a:xfrm>
            <a:off x="4472600" y="2394089"/>
            <a:ext cx="864685" cy="1236329"/>
            <a:chOff x="454025" y="3077179"/>
            <a:chExt cx="807346" cy="1154346"/>
          </a:xfrm>
        </p:grpSpPr>
        <p:pic>
          <p:nvPicPr>
            <p:cNvPr id="110" name="Picture 109"/>
            <p:cNvPicPr>
              <a:picLocks noChangeAspect="1"/>
            </p:cNvPicPr>
            <p:nvPr/>
          </p:nvPicPr>
          <p:blipFill>
            <a:blip r:embed="rId3"/>
            <a:stretch>
              <a:fillRect/>
            </a:stretch>
          </p:blipFill>
          <p:spPr>
            <a:xfrm>
              <a:off x="454025" y="3077179"/>
              <a:ext cx="807346" cy="1154346"/>
            </a:xfrm>
            <a:prstGeom prst="rect">
              <a:avLst/>
            </a:prstGeom>
          </p:spPr>
        </p:pic>
        <p:sp>
          <p:nvSpPr>
            <p:cNvPr id="111" name="Rectangle 11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2" name="Rectangle 11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3" name="Rectangle 11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3</a:t>
              </a:r>
            </a:p>
          </p:txBody>
        </p:sp>
      </p:grpSp>
      <p:sp>
        <p:nvSpPr>
          <p:cNvPr id="2" name="Title 1"/>
          <p:cNvSpPr>
            <a:spLocks noGrp="1"/>
          </p:cNvSpPr>
          <p:nvPr>
            <p:ph type="title"/>
          </p:nvPr>
        </p:nvSpPr>
        <p:spPr/>
        <p:txBody>
          <a:bodyPr/>
          <a:lstStyle/>
          <a:p>
            <a:r>
              <a:rPr lang="en-US"/>
              <a:t>New compute size options</a:t>
            </a:r>
          </a:p>
        </p:txBody>
      </p:sp>
      <p:sp>
        <p:nvSpPr>
          <p:cNvPr id="10" name="Rectangle 9"/>
          <p:cNvSpPr/>
          <p:nvPr/>
        </p:nvSpPr>
        <p:spPr bwMode="auto">
          <a:xfrm>
            <a:off x="595860" y="3880849"/>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3880849"/>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3880849"/>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59" name="Group 58"/>
          <p:cNvGrpSpPr/>
          <p:nvPr/>
        </p:nvGrpSpPr>
        <p:grpSpPr>
          <a:xfrm>
            <a:off x="906879" y="2392239"/>
            <a:ext cx="864685" cy="1236329"/>
            <a:chOff x="454025" y="3077179"/>
            <a:chExt cx="807346" cy="1154346"/>
          </a:xfrm>
        </p:grpSpPr>
        <p:pic>
          <p:nvPicPr>
            <p:cNvPr id="60" name="Picture 59"/>
            <p:cNvPicPr>
              <a:picLocks noChangeAspect="1"/>
            </p:cNvPicPr>
            <p:nvPr/>
          </p:nvPicPr>
          <p:blipFill>
            <a:blip r:embed="rId3"/>
            <a:stretch>
              <a:fillRect/>
            </a:stretch>
          </p:blipFill>
          <p:spPr>
            <a:xfrm>
              <a:off x="454025" y="3077179"/>
              <a:ext cx="807346" cy="1154346"/>
            </a:xfrm>
            <a:prstGeom prst="rect">
              <a:avLst/>
            </a:prstGeom>
          </p:spPr>
        </p:pic>
        <p:sp>
          <p:nvSpPr>
            <p:cNvPr id="61" name="Rectangle 6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2" name="Rectangle 9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3" name="Rectangle 9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1" name="Group 70"/>
          <p:cNvGrpSpPr/>
          <p:nvPr/>
        </p:nvGrpSpPr>
        <p:grpSpPr>
          <a:xfrm>
            <a:off x="7120429" y="2381876"/>
            <a:ext cx="864685" cy="1236329"/>
            <a:chOff x="454025" y="3077179"/>
            <a:chExt cx="807346" cy="1154346"/>
          </a:xfrm>
        </p:grpSpPr>
        <p:pic>
          <p:nvPicPr>
            <p:cNvPr id="72" name="Picture 71"/>
            <p:cNvPicPr>
              <a:picLocks noChangeAspect="1"/>
            </p:cNvPicPr>
            <p:nvPr/>
          </p:nvPicPr>
          <p:blipFill>
            <a:blip r:embed="rId3"/>
            <a:stretch>
              <a:fillRect/>
            </a:stretch>
          </p:blipFill>
          <p:spPr>
            <a:xfrm>
              <a:off x="454025" y="3077179"/>
              <a:ext cx="807346" cy="1154346"/>
            </a:xfrm>
            <a:prstGeom prst="rect">
              <a:avLst/>
            </a:prstGeom>
          </p:spPr>
        </p:pic>
        <p:sp>
          <p:nvSpPr>
            <p:cNvPr id="73" name="Rectangle 7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grpSp>
        <p:nvGrpSpPr>
          <p:cNvPr id="74" name="Group 73"/>
          <p:cNvGrpSpPr/>
          <p:nvPr/>
        </p:nvGrpSpPr>
        <p:grpSpPr>
          <a:xfrm>
            <a:off x="9766238" y="2386432"/>
            <a:ext cx="864685" cy="1236329"/>
            <a:chOff x="454025" y="3077179"/>
            <a:chExt cx="807346" cy="1154346"/>
          </a:xfrm>
        </p:grpSpPr>
        <p:pic>
          <p:nvPicPr>
            <p:cNvPr id="75" name="Picture 74"/>
            <p:cNvPicPr>
              <a:picLocks noChangeAspect="1"/>
            </p:cNvPicPr>
            <p:nvPr/>
          </p:nvPicPr>
          <p:blipFill>
            <a:blip r:embed="rId3"/>
            <a:stretch>
              <a:fillRect/>
            </a:stretch>
          </p:blipFill>
          <p:spPr>
            <a:xfrm>
              <a:off x="454025" y="3077179"/>
              <a:ext cx="807346" cy="1154346"/>
            </a:xfrm>
            <a:prstGeom prst="rect">
              <a:avLst/>
            </a:prstGeom>
          </p:spPr>
        </p:pic>
        <p:sp>
          <p:nvSpPr>
            <p:cNvPr id="76" name="Rectangle 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80" name="Group 79"/>
          <p:cNvGrpSpPr/>
          <p:nvPr/>
        </p:nvGrpSpPr>
        <p:grpSpPr>
          <a:xfrm>
            <a:off x="6242487" y="2386432"/>
            <a:ext cx="864685" cy="1236329"/>
            <a:chOff x="454025" y="3077179"/>
            <a:chExt cx="807346" cy="1154346"/>
          </a:xfrm>
        </p:grpSpPr>
        <p:pic>
          <p:nvPicPr>
            <p:cNvPr id="81" name="Picture 80"/>
            <p:cNvPicPr>
              <a:picLocks noChangeAspect="1"/>
            </p:cNvPicPr>
            <p:nvPr/>
          </p:nvPicPr>
          <p:blipFill>
            <a:blip r:embed="rId3"/>
            <a:stretch>
              <a:fillRect/>
            </a:stretch>
          </p:blipFill>
          <p:spPr>
            <a:xfrm>
              <a:off x="454025" y="3077179"/>
              <a:ext cx="807346" cy="1154346"/>
            </a:xfrm>
            <a:prstGeom prst="rect">
              <a:avLst/>
            </a:prstGeom>
          </p:spPr>
        </p:pic>
        <p:sp>
          <p:nvSpPr>
            <p:cNvPr id="82" name="Rectangle 8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N</a:t>
              </a:r>
            </a:p>
          </p:txBody>
        </p:sp>
      </p:grpSp>
      <p:grpSp>
        <p:nvGrpSpPr>
          <p:cNvPr id="83" name="Group 82"/>
          <p:cNvGrpSpPr/>
          <p:nvPr/>
        </p:nvGrpSpPr>
        <p:grpSpPr>
          <a:xfrm>
            <a:off x="8884946" y="2391408"/>
            <a:ext cx="864685" cy="1236329"/>
            <a:chOff x="454025" y="3077179"/>
            <a:chExt cx="807346" cy="1154346"/>
          </a:xfrm>
        </p:grpSpPr>
        <p:pic>
          <p:nvPicPr>
            <p:cNvPr id="84" name="Picture 83"/>
            <p:cNvPicPr>
              <a:picLocks noChangeAspect="1"/>
            </p:cNvPicPr>
            <p:nvPr/>
          </p:nvPicPr>
          <p:blipFill>
            <a:blip r:embed="rId3"/>
            <a:stretch>
              <a:fillRect/>
            </a:stretch>
          </p:blipFill>
          <p:spPr>
            <a:xfrm>
              <a:off x="454025" y="3077179"/>
              <a:ext cx="807346" cy="1154346"/>
            </a:xfrm>
            <a:prstGeom prst="rect">
              <a:avLst/>
            </a:prstGeom>
          </p:spPr>
        </p:pic>
        <p:sp>
          <p:nvSpPr>
            <p:cNvPr id="85" name="Rectangle 8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H</a:t>
              </a:r>
            </a:p>
          </p:txBody>
        </p:sp>
      </p:grpSp>
      <p:grpSp>
        <p:nvGrpSpPr>
          <p:cNvPr id="86" name="Group 85"/>
          <p:cNvGrpSpPr/>
          <p:nvPr/>
        </p:nvGrpSpPr>
        <p:grpSpPr>
          <a:xfrm>
            <a:off x="10643422" y="2379535"/>
            <a:ext cx="864685" cy="1236329"/>
            <a:chOff x="454025" y="3077179"/>
            <a:chExt cx="807346" cy="1154346"/>
          </a:xfrm>
        </p:grpSpPr>
        <p:pic>
          <p:nvPicPr>
            <p:cNvPr id="87" name="Picture 86"/>
            <p:cNvPicPr>
              <a:picLocks noChangeAspect="1"/>
            </p:cNvPicPr>
            <p:nvPr/>
          </p:nvPicPr>
          <p:blipFill>
            <a:blip r:embed="rId3"/>
            <a:stretch>
              <a:fillRect/>
            </a:stretch>
          </p:blipFill>
          <p:spPr>
            <a:xfrm>
              <a:off x="454025" y="3077179"/>
              <a:ext cx="807346" cy="1154346"/>
            </a:xfrm>
            <a:prstGeom prst="rect">
              <a:avLst/>
            </a:prstGeom>
          </p:spPr>
        </p:pic>
        <p:sp>
          <p:nvSpPr>
            <p:cNvPr id="88" name="Rectangle 87"/>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grpSp>
        <p:nvGrpSpPr>
          <p:cNvPr id="94" name="Group 93"/>
          <p:cNvGrpSpPr/>
          <p:nvPr/>
        </p:nvGrpSpPr>
        <p:grpSpPr>
          <a:xfrm>
            <a:off x="3573339" y="2393388"/>
            <a:ext cx="864685" cy="1236329"/>
            <a:chOff x="454025" y="3077179"/>
            <a:chExt cx="807346" cy="1154346"/>
          </a:xfrm>
        </p:grpSpPr>
        <p:pic>
          <p:nvPicPr>
            <p:cNvPr id="95" name="Picture 94"/>
            <p:cNvPicPr>
              <a:picLocks noChangeAspect="1"/>
            </p:cNvPicPr>
            <p:nvPr/>
          </p:nvPicPr>
          <p:blipFill>
            <a:blip r:embed="rId3"/>
            <a:stretch>
              <a:fillRect/>
            </a:stretch>
          </p:blipFill>
          <p:spPr>
            <a:xfrm>
              <a:off x="454025" y="3077179"/>
              <a:ext cx="807346" cy="1154346"/>
            </a:xfrm>
            <a:prstGeom prst="rect">
              <a:avLst/>
            </a:prstGeom>
          </p:spPr>
        </p:pic>
        <p:sp>
          <p:nvSpPr>
            <p:cNvPr id="96" name="Rectangle 95"/>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7" name="Rectangle 96"/>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8" name="Rectangle 97"/>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2</a:t>
              </a:r>
            </a:p>
          </p:txBody>
        </p:sp>
      </p:grpSp>
      <p:grpSp>
        <p:nvGrpSpPr>
          <p:cNvPr id="134" name="Group 133"/>
          <p:cNvGrpSpPr/>
          <p:nvPr/>
        </p:nvGrpSpPr>
        <p:grpSpPr>
          <a:xfrm>
            <a:off x="30129" y="2389347"/>
            <a:ext cx="864685" cy="1236329"/>
            <a:chOff x="454025" y="3077179"/>
            <a:chExt cx="807346" cy="1154346"/>
          </a:xfrm>
        </p:grpSpPr>
        <p:pic>
          <p:nvPicPr>
            <p:cNvPr id="135" name="Picture 134"/>
            <p:cNvPicPr>
              <a:picLocks noChangeAspect="1"/>
            </p:cNvPicPr>
            <p:nvPr/>
          </p:nvPicPr>
          <p:blipFill>
            <a:blip r:embed="rId3"/>
            <a:stretch>
              <a:fillRect/>
            </a:stretch>
          </p:blipFill>
          <p:spPr>
            <a:xfrm>
              <a:off x="454025" y="3077179"/>
              <a:ext cx="807346" cy="1154346"/>
            </a:xfrm>
            <a:prstGeom prst="rect">
              <a:avLst/>
            </a:prstGeom>
          </p:spPr>
        </p:pic>
        <p:sp>
          <p:nvSpPr>
            <p:cNvPr id="136" name="Rectangle 13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137" name="Group 136"/>
          <p:cNvGrpSpPr/>
          <p:nvPr/>
        </p:nvGrpSpPr>
        <p:grpSpPr>
          <a:xfrm>
            <a:off x="2673940" y="2393389"/>
            <a:ext cx="864685" cy="1236329"/>
            <a:chOff x="454025" y="3077179"/>
            <a:chExt cx="807346" cy="1154346"/>
          </a:xfrm>
        </p:grpSpPr>
        <p:pic>
          <p:nvPicPr>
            <p:cNvPr id="138" name="Picture 137"/>
            <p:cNvPicPr>
              <a:picLocks noChangeAspect="1"/>
            </p:cNvPicPr>
            <p:nvPr/>
          </p:nvPicPr>
          <p:blipFill>
            <a:blip r:embed="rId3"/>
            <a:stretch>
              <a:fillRect/>
            </a:stretch>
          </p:blipFill>
          <p:spPr>
            <a:xfrm>
              <a:off x="454025" y="3077179"/>
              <a:ext cx="807346" cy="1154346"/>
            </a:xfrm>
            <a:prstGeom prst="rect">
              <a:avLst/>
            </a:prstGeom>
          </p:spPr>
        </p:pic>
        <p:sp>
          <p:nvSpPr>
            <p:cNvPr id="139" name="Rectangle 138"/>
            <p:cNvSpPr/>
            <p:nvPr/>
          </p:nvSpPr>
          <p:spPr bwMode="auto">
            <a:xfrm>
              <a:off x="606079" y="3166036"/>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140" name="Group 139"/>
          <p:cNvGrpSpPr/>
          <p:nvPr/>
        </p:nvGrpSpPr>
        <p:grpSpPr>
          <a:xfrm>
            <a:off x="5366784" y="2393388"/>
            <a:ext cx="864685" cy="1236329"/>
            <a:chOff x="454025" y="3077179"/>
            <a:chExt cx="807346" cy="1154346"/>
          </a:xfrm>
        </p:grpSpPr>
        <p:pic>
          <p:nvPicPr>
            <p:cNvPr id="141" name="Picture 140"/>
            <p:cNvPicPr>
              <a:picLocks noChangeAspect="1"/>
            </p:cNvPicPr>
            <p:nvPr/>
          </p:nvPicPr>
          <p:blipFill>
            <a:blip r:embed="rId3"/>
            <a:stretch>
              <a:fillRect/>
            </a:stretch>
          </p:blipFill>
          <p:spPr>
            <a:xfrm>
              <a:off x="454025" y="3077179"/>
              <a:ext cx="807346" cy="1154346"/>
            </a:xfrm>
            <a:prstGeom prst="rect">
              <a:avLst/>
            </a:prstGeom>
          </p:spPr>
        </p:pic>
        <p:sp>
          <p:nvSpPr>
            <p:cNvPr id="142" name="Rectangle 14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143" name="Group 142"/>
          <p:cNvGrpSpPr/>
          <p:nvPr/>
        </p:nvGrpSpPr>
        <p:grpSpPr>
          <a:xfrm>
            <a:off x="7995593" y="2379535"/>
            <a:ext cx="864685" cy="1236329"/>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
        <p:nvSpPr>
          <p:cNvPr id="108" name="TextBox 107"/>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89" name="Group 88"/>
          <p:cNvGrpSpPr/>
          <p:nvPr/>
        </p:nvGrpSpPr>
        <p:grpSpPr>
          <a:xfrm>
            <a:off x="11461547" y="2391408"/>
            <a:ext cx="990308" cy="1013056"/>
            <a:chOff x="9264169" y="3168861"/>
            <a:chExt cx="1048453" cy="1150283"/>
          </a:xfrm>
        </p:grpSpPr>
        <p:grpSp>
          <p:nvGrpSpPr>
            <p:cNvPr id="90" name="Group 89"/>
            <p:cNvGrpSpPr/>
            <p:nvPr/>
          </p:nvGrpSpPr>
          <p:grpSpPr>
            <a:xfrm>
              <a:off x="9369060" y="3168861"/>
              <a:ext cx="838673" cy="860859"/>
              <a:chOff x="-1455738" y="922338"/>
              <a:chExt cx="300038" cy="307975"/>
            </a:xfrm>
          </p:grpSpPr>
          <p:sp>
            <p:nvSpPr>
              <p:cNvPr id="9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4"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5"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91" name="Picture 90"/>
            <p:cNvPicPr>
              <a:picLocks noChangeAspect="1"/>
            </p:cNvPicPr>
            <p:nvPr/>
          </p:nvPicPr>
          <p:blipFill>
            <a:blip r:embed="rId4"/>
            <a:stretch>
              <a:fillRect/>
            </a:stretch>
          </p:blipFill>
          <p:spPr>
            <a:xfrm>
              <a:off x="9264169" y="4013345"/>
              <a:ext cx="1048453" cy="305799"/>
            </a:xfrm>
            <a:prstGeom prst="rect">
              <a:avLst/>
            </a:prstGeom>
          </p:spPr>
        </p:pic>
      </p:grpSp>
      <p:grpSp>
        <p:nvGrpSpPr>
          <p:cNvPr id="148" name="Group 147"/>
          <p:cNvGrpSpPr/>
          <p:nvPr/>
        </p:nvGrpSpPr>
        <p:grpSpPr>
          <a:xfrm>
            <a:off x="10934941" y="650074"/>
            <a:ext cx="1490100" cy="2107303"/>
            <a:chOff x="10532264" y="2494176"/>
            <a:chExt cx="1490100" cy="2107303"/>
          </a:xfrm>
        </p:grpSpPr>
        <p:sp>
          <p:nvSpPr>
            <p:cNvPr id="149" name="Rectangle 148"/>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150" name="Group 149"/>
            <p:cNvGrpSpPr/>
            <p:nvPr/>
          </p:nvGrpSpPr>
          <p:grpSpPr>
            <a:xfrm>
              <a:off x="10532264" y="2494176"/>
              <a:ext cx="1437099" cy="1384404"/>
              <a:chOff x="10632593" y="1209273"/>
              <a:chExt cx="1110459" cy="1069741"/>
            </a:xfrm>
          </p:grpSpPr>
          <p:grpSp>
            <p:nvGrpSpPr>
              <p:cNvPr id="151" name="Group 150"/>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57" name="Flowchart: Magnetic Disk 156"/>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8" name="Flowchart: Magnetic Disk 157"/>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9" name="Flowchart: Magnetic Disk 158"/>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0" name="Flowchart: Magnetic Disk 159"/>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1" name="Flowchart: Magnetic Disk 160"/>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152" name="Group 151"/>
              <p:cNvGrpSpPr/>
              <p:nvPr/>
            </p:nvGrpSpPr>
            <p:grpSpPr>
              <a:xfrm>
                <a:off x="10632593" y="1483519"/>
                <a:ext cx="767612" cy="795495"/>
                <a:chOff x="-477782" y="450675"/>
                <a:chExt cx="5901463" cy="6115812"/>
              </a:xfrm>
            </p:grpSpPr>
            <p:sp>
              <p:nvSpPr>
                <p:cNvPr id="153"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54" name="Picture 153"/>
                <p:cNvPicPr>
                  <a:picLocks noChangeAspect="1"/>
                </p:cNvPicPr>
                <p:nvPr/>
              </p:nvPicPr>
              <p:blipFill>
                <a:blip r:embed="rId5"/>
                <a:stretch>
                  <a:fillRect/>
                </a:stretch>
              </p:blipFill>
              <p:spPr>
                <a:xfrm>
                  <a:off x="2990885" y="4844838"/>
                  <a:ext cx="1486280" cy="1490576"/>
                </a:xfrm>
                <a:prstGeom prst="rect">
                  <a:avLst/>
                </a:prstGeom>
              </p:spPr>
            </p:pic>
            <p:pic>
              <p:nvPicPr>
                <p:cNvPr id="155" name="Picture 154"/>
                <p:cNvPicPr>
                  <a:picLocks noChangeAspect="1"/>
                </p:cNvPicPr>
                <p:nvPr/>
              </p:nvPicPr>
              <p:blipFill>
                <a:blip r:embed="rId5"/>
                <a:stretch>
                  <a:fillRect/>
                </a:stretch>
              </p:blipFill>
              <p:spPr>
                <a:xfrm>
                  <a:off x="624820" y="1700441"/>
                  <a:ext cx="3815982" cy="3827010"/>
                </a:xfrm>
                <a:prstGeom prst="rect">
                  <a:avLst/>
                </a:prstGeom>
              </p:spPr>
            </p:pic>
            <p:pic>
              <p:nvPicPr>
                <p:cNvPr id="156" name="Picture 155"/>
                <p:cNvPicPr>
                  <a:picLocks noChangeAspect="1"/>
                </p:cNvPicPr>
                <p:nvPr/>
              </p:nvPicPr>
              <p:blipFill>
                <a:blip r:embed="rId5"/>
                <a:stretch>
                  <a:fillRect/>
                </a:stretch>
              </p:blipFill>
              <p:spPr>
                <a:xfrm>
                  <a:off x="2211493" y="450675"/>
                  <a:ext cx="1974734" cy="1980442"/>
                </a:xfrm>
                <a:prstGeom prst="rect">
                  <a:avLst/>
                </a:prstGeom>
              </p:spPr>
            </p:pic>
          </p:grpSp>
        </p:grpSp>
      </p:grpSp>
      <p:grpSp>
        <p:nvGrpSpPr>
          <p:cNvPr id="119" name="Group 118"/>
          <p:cNvGrpSpPr/>
          <p:nvPr/>
        </p:nvGrpSpPr>
        <p:grpSpPr>
          <a:xfrm>
            <a:off x="1797821" y="2393388"/>
            <a:ext cx="864685" cy="1236329"/>
            <a:chOff x="454025" y="3077179"/>
            <a:chExt cx="807346" cy="1154346"/>
          </a:xfrm>
        </p:grpSpPr>
        <p:pic>
          <p:nvPicPr>
            <p:cNvPr id="120" name="Picture 119"/>
            <p:cNvPicPr>
              <a:picLocks noChangeAspect="1"/>
            </p:cNvPicPr>
            <p:nvPr/>
          </p:nvPicPr>
          <p:blipFill>
            <a:blip r:embed="rId3"/>
            <a:stretch>
              <a:fillRect/>
            </a:stretch>
          </p:blipFill>
          <p:spPr>
            <a:xfrm>
              <a:off x="454025" y="3077179"/>
              <a:ext cx="807346" cy="1154346"/>
            </a:xfrm>
            <a:prstGeom prst="rect">
              <a:avLst/>
            </a:prstGeom>
          </p:spPr>
        </p:pic>
        <p:sp>
          <p:nvSpPr>
            <p:cNvPr id="121" name="Rectangle 12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2" name="Rectangle 12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3" name="Rectangle 12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700" b="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02890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8"/>
                                        </p:tgtEl>
                                      </p:cBhvr>
                                    </p:animEffect>
                                    <p:set>
                                      <p:cBhvr>
                                        <p:cTn id="7" dur="1" fill="hold">
                                          <p:stCondLst>
                                            <p:cond delay="499"/>
                                          </p:stCondLst>
                                        </p:cTn>
                                        <p:tgtEl>
                                          <p:spTgt spid="148"/>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0 L 0 0.25 E" pathEditMode="relative" ptsTypes="">
                                      <p:cBhvr>
                                        <p:cTn id="9" dur="2000" fill="hold"/>
                                        <p:tgtEl>
                                          <p:spTgt spid="45"/>
                                        </p:tgtEl>
                                        <p:attrNameLst>
                                          <p:attrName>ppt_x</p:attrName>
                                          <p:attrName>ppt_y</p:attrName>
                                        </p:attrNameLst>
                                      </p:cBhvr>
                                    </p:animMotion>
                                  </p:childTnLst>
                                </p:cTn>
                              </p:par>
                              <p:par>
                                <p:cTn id="10" presetID="42" presetClass="path" presetSubtype="0" accel="50000" decel="50000" fill="hold" nodeType="withEffect">
                                  <p:stCondLst>
                                    <p:cond delay="0"/>
                                  </p:stCondLst>
                                  <p:childTnLst>
                                    <p:animMotion origin="layout" path="M 0 0 L 0 0.25 E" pathEditMode="relative" ptsTypes="">
                                      <p:cBhvr>
                                        <p:cTn id="11" dur="2000" fill="hold"/>
                                        <p:tgtEl>
                                          <p:spTgt spid="62"/>
                                        </p:tgtEl>
                                        <p:attrNameLst>
                                          <p:attrName>ppt_x</p:attrName>
                                          <p:attrName>ppt_y</p:attrName>
                                        </p:attrNameLst>
                                      </p:cBhvr>
                                    </p:animMotion>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68"/>
                                        </p:tgtEl>
                                        <p:attrNameLst>
                                          <p:attrName>ppt_x</p:attrName>
                                          <p:attrName>ppt_y</p:attrName>
                                        </p:attrNameLst>
                                      </p:cBhvr>
                                    </p:animMotion>
                                  </p:childTnLst>
                                </p:cTn>
                              </p:par>
                              <p:par>
                                <p:cTn id="14" presetID="42" presetClass="path" presetSubtype="0" accel="50000" decel="50000" fill="hold" nodeType="withEffect">
                                  <p:stCondLst>
                                    <p:cond delay="0"/>
                                  </p:stCondLst>
                                  <p:childTnLst>
                                    <p:animMotion origin="layout" path="M 0 0 L 0 0.25 E" pathEditMode="relative" ptsTypes="">
                                      <p:cBhvr>
                                        <p:cTn id="15" dur="2000" fill="hold"/>
                                        <p:tgtEl>
                                          <p:spTgt spid="77"/>
                                        </p:tgtEl>
                                        <p:attrNameLst>
                                          <p:attrName>ppt_x</p:attrName>
                                          <p:attrName>ppt_y</p:attrName>
                                        </p:attrNameLst>
                                      </p:cBhvr>
                                    </p:animMotion>
                                  </p:childTnLst>
                                </p:cTn>
                              </p:par>
                              <p:par>
                                <p:cTn id="16" presetID="10" presetClass="entr" presetSubtype="0" fill="hold" nodeType="withEffect">
                                  <p:stCondLst>
                                    <p:cond delay="25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par>
                                <p:cTn id="19" presetID="42" presetClass="path" presetSubtype="0" decel="100000" fill="hold" nodeType="withEffect">
                                  <p:stCondLst>
                                    <p:cond delay="250"/>
                                  </p:stCondLst>
                                  <p:childTnLst>
                                    <p:animMotion origin="layout" path="M 2.13684E-6 -2.28779E-6 L 2.13684E-6 0.05039 " pathEditMode="relative" rAng="0" ptsTypes="AA">
                                      <p:cBhvr>
                                        <p:cTn id="20" dur="750" spd="-100000" fill="hold"/>
                                        <p:tgtEl>
                                          <p:spTgt spid="59"/>
                                        </p:tgtEl>
                                        <p:attrNameLst>
                                          <p:attrName>ppt_x</p:attrName>
                                          <p:attrName>ppt_y</p:attrName>
                                        </p:attrNameLst>
                                      </p:cBhvr>
                                      <p:rCtr x="0" y="2519"/>
                                    </p:animMotion>
                                  </p:childTnLst>
                                </p:cTn>
                              </p:par>
                              <p:par>
                                <p:cTn id="21" presetID="10" presetClass="entr" presetSubtype="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500"/>
                                        <p:tgtEl>
                                          <p:spTgt spid="94"/>
                                        </p:tgtEl>
                                      </p:cBhvr>
                                    </p:animEffect>
                                  </p:childTnLst>
                                </p:cTn>
                              </p:par>
                              <p:par>
                                <p:cTn id="24" presetID="42" presetClass="path" presetSubtype="0" decel="100000" fill="hold" nodeType="withEffect">
                                  <p:stCondLst>
                                    <p:cond delay="250"/>
                                  </p:stCondLst>
                                  <p:childTnLst>
                                    <p:animMotion origin="layout" path="M 2.30278E-6 7.48979E-7 L 2.30278E-6 0.05039 " pathEditMode="relative" rAng="0" ptsTypes="AA">
                                      <p:cBhvr>
                                        <p:cTn id="25" dur="750" spd="-100000" fill="hold"/>
                                        <p:tgtEl>
                                          <p:spTgt spid="94"/>
                                        </p:tgtEl>
                                        <p:attrNameLst>
                                          <p:attrName>ppt_x</p:attrName>
                                          <p:attrName>ppt_y</p:attrName>
                                        </p:attrNameLst>
                                      </p:cBhvr>
                                      <p:rCtr x="0" y="2519"/>
                                    </p:animMotion>
                                  </p:childTnLst>
                                </p:cTn>
                              </p:par>
                              <p:par>
                                <p:cTn id="26" presetID="10" presetClass="entr" presetSubtype="0" fill="hold" nodeType="withEffect">
                                  <p:stCondLst>
                                    <p:cond delay="25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42" presetClass="path" presetSubtype="0" decel="100000" fill="hold" nodeType="withEffect">
                                  <p:stCondLst>
                                    <p:cond delay="250"/>
                                  </p:stCondLst>
                                  <p:childTnLst>
                                    <p:animMotion origin="layout" path="M -3.90094E-6 -1.40717E-7 L -3.90094E-6 0.05039 " pathEditMode="relative" rAng="0" ptsTypes="AA">
                                      <p:cBhvr>
                                        <p:cTn id="30" dur="750" spd="-100000" fill="hold"/>
                                        <p:tgtEl>
                                          <p:spTgt spid="71"/>
                                        </p:tgtEl>
                                        <p:attrNameLst>
                                          <p:attrName>ppt_x</p:attrName>
                                          <p:attrName>ppt_y</p:attrName>
                                        </p:attrNameLst>
                                      </p:cBhvr>
                                      <p:rCtr x="0" y="2519"/>
                                    </p:animMotion>
                                  </p:childTnLst>
                                </p:cTn>
                              </p:par>
                              <p:par>
                                <p:cTn id="31" presetID="10" presetClass="entr" presetSubtype="0" fill="hold" nodeType="withEffect">
                                  <p:stCondLst>
                                    <p:cond delay="25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par>
                                <p:cTn id="34" presetID="42" presetClass="path" presetSubtype="0" decel="100000" fill="hold" nodeType="withEffect">
                                  <p:stCondLst>
                                    <p:cond delay="250"/>
                                  </p:stCondLst>
                                  <p:childTnLst>
                                    <p:animMotion origin="layout" path="M -5.02936E-7 -2.8098E-6 L -5.02936E-7 0.05039 " pathEditMode="relative" rAng="0" ptsTypes="AA">
                                      <p:cBhvr>
                                        <p:cTn id="35" dur="750" spd="-100000" fill="hold"/>
                                        <p:tgtEl>
                                          <p:spTgt spid="74"/>
                                        </p:tgtEl>
                                        <p:attrNameLst>
                                          <p:attrName>ppt_x</p:attrName>
                                          <p:attrName>ppt_y</p:attrName>
                                        </p:attrNameLst>
                                      </p:cBhvr>
                                      <p:rCtr x="0" y="2519"/>
                                    </p:animMotion>
                                  </p:childTnLst>
                                </p:cTn>
                              </p:par>
                              <p:par>
                                <p:cTn id="36" presetID="10" presetClass="entr" presetSubtype="0" fill="hold" nodeType="withEffect">
                                  <p:stCondLst>
                                    <p:cond delay="25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500"/>
                                        <p:tgtEl>
                                          <p:spTgt spid="80"/>
                                        </p:tgtEl>
                                      </p:cBhvr>
                                    </p:animEffect>
                                  </p:childTnLst>
                                </p:cTn>
                              </p:par>
                              <p:par>
                                <p:cTn id="39" presetID="42" presetClass="path" presetSubtype="0" decel="100000" fill="hold" nodeType="withEffect">
                                  <p:stCondLst>
                                    <p:cond delay="250"/>
                                  </p:stCondLst>
                                  <p:childTnLst>
                                    <p:animMotion origin="layout" path="M 4.82002E-6 -4.43486E-6 L 4.82002E-6 0.05039 " pathEditMode="relative" rAng="0" ptsTypes="AA">
                                      <p:cBhvr>
                                        <p:cTn id="40" dur="750" spd="-100000" fill="hold"/>
                                        <p:tgtEl>
                                          <p:spTgt spid="80"/>
                                        </p:tgtEl>
                                        <p:attrNameLst>
                                          <p:attrName>ppt_x</p:attrName>
                                          <p:attrName>ppt_y</p:attrName>
                                        </p:attrNameLst>
                                      </p:cBhvr>
                                      <p:rCtr x="0" y="2519"/>
                                    </p:animMotion>
                                  </p:childTnLst>
                                </p:cTn>
                              </p:par>
                              <p:par>
                                <p:cTn id="41" presetID="10" presetClass="entr" presetSubtype="0" fill="hold" nodeType="withEffect">
                                  <p:stCondLst>
                                    <p:cond delay="25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42" presetClass="path" presetSubtype="0" decel="100000" fill="hold" nodeType="withEffect">
                                  <p:stCondLst>
                                    <p:cond delay="250"/>
                                  </p:stCondLst>
                                  <p:childTnLst>
                                    <p:animMotion origin="layout" path="M -1.2484E-6 -4.95688E-6 L -1.2484E-6 0.05039 " pathEditMode="relative" rAng="0" ptsTypes="AA">
                                      <p:cBhvr>
                                        <p:cTn id="45" dur="750" spd="-100000" fill="hold"/>
                                        <p:tgtEl>
                                          <p:spTgt spid="83"/>
                                        </p:tgtEl>
                                        <p:attrNameLst>
                                          <p:attrName>ppt_x</p:attrName>
                                          <p:attrName>ppt_y</p:attrName>
                                        </p:attrNameLst>
                                      </p:cBhvr>
                                      <p:rCtr x="0" y="2519"/>
                                    </p:animMotion>
                                  </p:childTnLst>
                                </p:cTn>
                              </p:par>
                              <p:par>
                                <p:cTn id="46" presetID="10" presetClass="entr" presetSubtype="0" fill="hold" nodeType="withEffect">
                                  <p:stCondLst>
                                    <p:cond delay="250"/>
                                  </p:stCondLst>
                                  <p:childTnLst>
                                    <p:set>
                                      <p:cBhvr>
                                        <p:cTn id="47" dur="1" fill="hold">
                                          <p:stCondLst>
                                            <p:cond delay="0"/>
                                          </p:stCondLst>
                                        </p:cTn>
                                        <p:tgtEl>
                                          <p:spTgt spid="86"/>
                                        </p:tgtEl>
                                        <p:attrNameLst>
                                          <p:attrName>style.visibility</p:attrName>
                                        </p:attrNameLst>
                                      </p:cBhvr>
                                      <p:to>
                                        <p:strVal val="visible"/>
                                      </p:to>
                                    </p:set>
                                    <p:animEffect transition="in" filter="fade">
                                      <p:cBhvr>
                                        <p:cTn id="48" dur="500"/>
                                        <p:tgtEl>
                                          <p:spTgt spid="86"/>
                                        </p:tgtEl>
                                      </p:cBhvr>
                                    </p:animEffect>
                                  </p:childTnLst>
                                </p:cTn>
                              </p:par>
                              <p:par>
                                <p:cTn id="49" presetID="42" presetClass="path" presetSubtype="0" decel="100000" fill="hold" nodeType="withEffect">
                                  <p:stCondLst>
                                    <p:cond delay="250"/>
                                  </p:stCondLst>
                                  <p:childTnLst>
                                    <p:animMotion origin="layout" path="M -2.96145E-7 -3.6995E-6 L -2.96145E-7 0.05039 " pathEditMode="relative" rAng="0" ptsTypes="AA">
                                      <p:cBhvr>
                                        <p:cTn id="50" dur="750" spd="-100000" fill="hold"/>
                                        <p:tgtEl>
                                          <p:spTgt spid="86"/>
                                        </p:tgtEl>
                                        <p:attrNameLst>
                                          <p:attrName>ppt_x</p:attrName>
                                          <p:attrName>ppt_y</p:attrName>
                                        </p:attrNameLst>
                                      </p:cBhvr>
                                      <p:rCtr x="0" y="2519"/>
                                    </p:animMotion>
                                  </p:childTnLst>
                                </p:cTn>
                              </p:par>
                              <p:par>
                                <p:cTn id="51" presetID="16" presetClass="entr" presetSubtype="21" fill="hold" nodeType="withEffect">
                                  <p:stCondLst>
                                    <p:cond delay="250"/>
                                  </p:stCondLst>
                                  <p:childTnLst>
                                    <p:set>
                                      <p:cBhvr>
                                        <p:cTn id="52" dur="1" fill="hold">
                                          <p:stCondLst>
                                            <p:cond delay="0"/>
                                          </p:stCondLst>
                                        </p:cTn>
                                        <p:tgtEl>
                                          <p:spTgt spid="107"/>
                                        </p:tgtEl>
                                        <p:attrNameLst>
                                          <p:attrName>style.visibility</p:attrName>
                                        </p:attrNameLst>
                                      </p:cBhvr>
                                      <p:to>
                                        <p:strVal val="visible"/>
                                      </p:to>
                                    </p:set>
                                    <p:animEffect transition="in" filter="barn(inVertical)">
                                      <p:cBhvr>
                                        <p:cTn id="53" dur="500"/>
                                        <p:tgtEl>
                                          <p:spTgt spid="107"/>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nodeType="withEffect">
                                  <p:stCondLst>
                                    <p:cond delay="250"/>
                                  </p:stCondLst>
                                  <p:childTnLst>
                                    <p:set>
                                      <p:cBhvr>
                                        <p:cTn id="61" dur="1" fill="hold">
                                          <p:stCondLst>
                                            <p:cond delay="0"/>
                                          </p:stCondLst>
                                        </p:cTn>
                                        <p:tgtEl>
                                          <p:spTgt spid="109"/>
                                        </p:tgtEl>
                                        <p:attrNameLst>
                                          <p:attrName>style.visibility</p:attrName>
                                        </p:attrNameLst>
                                      </p:cBhvr>
                                      <p:to>
                                        <p:strVal val="visible"/>
                                      </p:to>
                                    </p:set>
                                    <p:animEffect transition="in" filter="fade">
                                      <p:cBhvr>
                                        <p:cTn id="62" dur="500"/>
                                        <p:tgtEl>
                                          <p:spTgt spid="109"/>
                                        </p:tgtEl>
                                      </p:cBhvr>
                                    </p:animEffect>
                                  </p:childTnLst>
                                </p:cTn>
                              </p:par>
                              <p:par>
                                <p:cTn id="63" presetID="42" presetClass="path" presetSubtype="0" decel="100000" fill="hold" nodeType="withEffect">
                                  <p:stCondLst>
                                    <p:cond delay="250"/>
                                  </p:stCondLst>
                                  <p:childTnLst>
                                    <p:animMotion origin="layout" path="M -2.45086E-7 -3.17749E-6 L -2.45086E-7 0.05039 " pathEditMode="relative" rAng="0" ptsTypes="AA">
                                      <p:cBhvr>
                                        <p:cTn id="64" dur="750" spd="-100000" fill="hold"/>
                                        <p:tgtEl>
                                          <p:spTgt spid="109"/>
                                        </p:tgtEl>
                                        <p:attrNameLst>
                                          <p:attrName>ppt_x</p:attrName>
                                          <p:attrName>ppt_y</p:attrName>
                                        </p:attrNameLst>
                                      </p:cBhvr>
                                      <p:rCtr x="0" y="2519"/>
                                    </p:animMotion>
                                  </p:childTnLst>
                                </p:cTn>
                              </p:par>
                              <p:par>
                                <p:cTn id="65" presetID="10" presetClass="entr" presetSubtype="0" fill="hold" nodeType="withEffect">
                                  <p:stCondLst>
                                    <p:cond delay="2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42" presetClass="path" presetSubtype="0" decel="100000" fill="hold" nodeType="withEffect">
                                  <p:stCondLst>
                                    <p:cond delay="250"/>
                                  </p:stCondLst>
                                  <p:childTnLst>
                                    <p:animMotion origin="layout" path="M -8.93541E-8 2.83704E-6 L -8.93541E-8 0.05038 " pathEditMode="relative" rAng="0" ptsTypes="AA">
                                      <p:cBhvr>
                                        <p:cTn id="69" dur="750" spd="-100000" fill="hold"/>
                                        <p:tgtEl>
                                          <p:spTgt spid="89"/>
                                        </p:tgtEl>
                                        <p:attrNameLst>
                                          <p:attrName>ppt_x</p:attrName>
                                          <p:attrName>ppt_y</p:attrName>
                                        </p:attrNameLst>
                                      </p:cBhvr>
                                      <p:rCtr x="0" y="2519"/>
                                    </p:animMotion>
                                  </p:childTnLst>
                                </p:cTn>
                              </p:par>
                              <p:par>
                                <p:cTn id="70" presetID="10" presetClass="entr" presetSubtype="0" fill="hold" nodeType="withEffect">
                                  <p:stCondLst>
                                    <p:cond delay="25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500"/>
                                        <p:tgtEl>
                                          <p:spTgt spid="119"/>
                                        </p:tgtEl>
                                      </p:cBhvr>
                                    </p:animEffect>
                                  </p:childTnLst>
                                </p:cTn>
                              </p:par>
                              <p:par>
                                <p:cTn id="73" presetID="42" presetClass="path" presetSubtype="0" decel="100000" fill="hold" nodeType="withEffect">
                                  <p:stCondLst>
                                    <p:cond delay="250"/>
                                  </p:stCondLst>
                                  <p:childTnLst>
                                    <p:animMotion origin="layout" path="M 1.21011E-6 7.48979E-7 L 1.21011E-6 0.05039 " pathEditMode="relative" rAng="0" ptsTypes="AA">
                                      <p:cBhvr>
                                        <p:cTn id="74" dur="750" spd="-100000" fill="hold"/>
                                        <p:tgtEl>
                                          <p:spTgt spid="119"/>
                                        </p:tgtEl>
                                        <p:attrNameLst>
                                          <p:attrName>ppt_x</p:attrName>
                                          <p:attrName>ppt_y</p:attrName>
                                        </p:attrNameLst>
                                      </p:cBhvr>
                                      <p:rCtr x="0" y="2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274638" y="1975755"/>
            <a:ext cx="11889565" cy="244126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New compute size options</a:t>
            </a:r>
          </a:p>
        </p:txBody>
      </p:sp>
      <p:grpSp>
        <p:nvGrpSpPr>
          <p:cNvPr id="7" name="Group 6"/>
          <p:cNvGrpSpPr/>
          <p:nvPr/>
        </p:nvGrpSpPr>
        <p:grpSpPr>
          <a:xfrm>
            <a:off x="6634976" y="1652124"/>
            <a:ext cx="731520" cy="907858"/>
            <a:chOff x="5815165" y="2158958"/>
            <a:chExt cx="808746" cy="1003699"/>
          </a:xfrm>
        </p:grpSpPr>
        <p:sp>
          <p:nvSpPr>
            <p:cNvPr id="111"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1</a:t>
              </a:r>
            </a:p>
          </p:txBody>
        </p:sp>
        <p:cxnSp>
          <p:nvCxnSpPr>
            <p:cNvPr id="118" name="Straight Connector 11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414353" y="1623746"/>
            <a:ext cx="731520" cy="907858"/>
            <a:chOff x="6861364" y="2158958"/>
            <a:chExt cx="808746" cy="1003699"/>
          </a:xfrm>
        </p:grpSpPr>
        <p:sp>
          <p:nvSpPr>
            <p:cNvPr id="112"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19" name="Straight Connector 118"/>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274" name="Group 273"/>
          <p:cNvGrpSpPr/>
          <p:nvPr/>
        </p:nvGrpSpPr>
        <p:grpSpPr>
          <a:xfrm>
            <a:off x="351578" y="2851909"/>
            <a:ext cx="433682" cy="649604"/>
            <a:chOff x="454025" y="3077179"/>
            <a:chExt cx="807346" cy="1154346"/>
          </a:xfrm>
        </p:grpSpPr>
        <p:pic>
          <p:nvPicPr>
            <p:cNvPr id="275" name="Picture 274"/>
            <p:cNvPicPr>
              <a:picLocks noChangeAspect="1"/>
            </p:cNvPicPr>
            <p:nvPr/>
          </p:nvPicPr>
          <p:blipFill>
            <a:blip r:embed="rId3"/>
            <a:stretch>
              <a:fillRect/>
            </a:stretch>
          </p:blipFill>
          <p:spPr>
            <a:xfrm>
              <a:off x="454025" y="3077179"/>
              <a:ext cx="807346" cy="1154346"/>
            </a:xfrm>
            <a:prstGeom prst="rect">
              <a:avLst/>
            </a:prstGeom>
          </p:spPr>
        </p:pic>
        <p:sp>
          <p:nvSpPr>
            <p:cNvPr id="276" name="Rectangle 2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A</a:t>
              </a:r>
            </a:p>
          </p:txBody>
        </p:sp>
      </p:grpSp>
      <p:grpSp>
        <p:nvGrpSpPr>
          <p:cNvPr id="282" name="Group 281"/>
          <p:cNvGrpSpPr/>
          <p:nvPr/>
        </p:nvGrpSpPr>
        <p:grpSpPr>
          <a:xfrm>
            <a:off x="2401049" y="2851909"/>
            <a:ext cx="433682" cy="649604"/>
            <a:chOff x="454025" y="3077179"/>
            <a:chExt cx="807346" cy="1154346"/>
          </a:xfrm>
        </p:grpSpPr>
        <p:pic>
          <p:nvPicPr>
            <p:cNvPr id="283" name="Picture 282"/>
            <p:cNvPicPr>
              <a:picLocks noChangeAspect="1"/>
            </p:cNvPicPr>
            <p:nvPr/>
          </p:nvPicPr>
          <p:blipFill>
            <a:blip r:embed="rId3"/>
            <a:stretch>
              <a:fillRect/>
            </a:stretch>
          </p:blipFill>
          <p:spPr>
            <a:xfrm>
              <a:off x="454025" y="3077179"/>
              <a:ext cx="807346" cy="1154346"/>
            </a:xfrm>
            <a:prstGeom prst="rect">
              <a:avLst/>
            </a:prstGeom>
          </p:spPr>
        </p:pic>
        <p:sp>
          <p:nvSpPr>
            <p:cNvPr id="284" name="Rectangle 28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a:t>
              </a:r>
            </a:p>
          </p:txBody>
        </p:sp>
      </p:grpSp>
      <p:grpSp>
        <p:nvGrpSpPr>
          <p:cNvPr id="285" name="Group 284"/>
          <p:cNvGrpSpPr/>
          <p:nvPr/>
        </p:nvGrpSpPr>
        <p:grpSpPr>
          <a:xfrm>
            <a:off x="3582817" y="2866111"/>
            <a:ext cx="433682" cy="649604"/>
            <a:chOff x="454025" y="3077179"/>
            <a:chExt cx="807346" cy="1154346"/>
          </a:xfrm>
        </p:grpSpPr>
        <p:pic>
          <p:nvPicPr>
            <p:cNvPr id="286" name="Picture 285"/>
            <p:cNvPicPr>
              <a:picLocks noChangeAspect="1"/>
            </p:cNvPicPr>
            <p:nvPr/>
          </p:nvPicPr>
          <p:blipFill>
            <a:blip r:embed="rId3"/>
            <a:stretch>
              <a:fillRect/>
            </a:stretch>
          </p:blipFill>
          <p:spPr>
            <a:xfrm>
              <a:off x="454025" y="3077179"/>
              <a:ext cx="807346" cy="1154346"/>
            </a:xfrm>
            <a:prstGeom prst="rect">
              <a:avLst/>
            </a:prstGeom>
          </p:spPr>
        </p:pic>
        <p:sp>
          <p:nvSpPr>
            <p:cNvPr id="287" name="Rectangle 28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F</a:t>
              </a:r>
            </a:p>
          </p:txBody>
        </p:sp>
      </p:grpSp>
      <p:grpSp>
        <p:nvGrpSpPr>
          <p:cNvPr id="291" name="Group 290"/>
          <p:cNvGrpSpPr/>
          <p:nvPr/>
        </p:nvGrpSpPr>
        <p:grpSpPr>
          <a:xfrm>
            <a:off x="8351418" y="2449673"/>
            <a:ext cx="864685" cy="1236329"/>
            <a:chOff x="454025" y="3077179"/>
            <a:chExt cx="807346" cy="1154346"/>
          </a:xfrm>
        </p:grpSpPr>
        <p:pic>
          <p:nvPicPr>
            <p:cNvPr id="292" name="Picture 291"/>
            <p:cNvPicPr>
              <a:picLocks noChangeAspect="1"/>
            </p:cNvPicPr>
            <p:nvPr/>
          </p:nvPicPr>
          <p:blipFill>
            <a:blip r:embed="rId3"/>
            <a:stretch>
              <a:fillRect/>
            </a:stretch>
          </p:blipFill>
          <p:spPr>
            <a:xfrm>
              <a:off x="454025" y="3077179"/>
              <a:ext cx="807346" cy="1154346"/>
            </a:xfrm>
            <a:prstGeom prst="rect">
              <a:avLst/>
            </a:prstGeom>
          </p:spPr>
        </p:pic>
        <p:sp>
          <p:nvSpPr>
            <p:cNvPr id="293" name="Rectangle 29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294" name="Group 293"/>
          <p:cNvGrpSpPr/>
          <p:nvPr/>
        </p:nvGrpSpPr>
        <p:grpSpPr>
          <a:xfrm>
            <a:off x="4186106" y="2866111"/>
            <a:ext cx="433682" cy="649604"/>
            <a:chOff x="454025" y="3077179"/>
            <a:chExt cx="807346" cy="1154346"/>
          </a:xfrm>
        </p:grpSpPr>
        <p:pic>
          <p:nvPicPr>
            <p:cNvPr id="295" name="Picture 294"/>
            <p:cNvPicPr>
              <a:picLocks noChangeAspect="1"/>
            </p:cNvPicPr>
            <p:nvPr/>
          </p:nvPicPr>
          <p:blipFill>
            <a:blip r:embed="rId3"/>
            <a:stretch>
              <a:fillRect/>
            </a:stretch>
          </p:blipFill>
          <p:spPr>
            <a:xfrm>
              <a:off x="454025" y="3077179"/>
              <a:ext cx="807346" cy="1154346"/>
            </a:xfrm>
            <a:prstGeom prst="rect">
              <a:avLst/>
            </a:prstGeom>
          </p:spPr>
        </p:pic>
        <p:sp>
          <p:nvSpPr>
            <p:cNvPr id="296" name="Rectangle 29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G</a:t>
              </a:r>
            </a:p>
          </p:txBody>
        </p:sp>
      </p:grpSp>
      <p:grpSp>
        <p:nvGrpSpPr>
          <p:cNvPr id="306" name="Group 305"/>
          <p:cNvGrpSpPr/>
          <p:nvPr/>
        </p:nvGrpSpPr>
        <p:grpSpPr>
          <a:xfrm>
            <a:off x="2972464" y="2854935"/>
            <a:ext cx="433682" cy="649604"/>
            <a:chOff x="454025" y="3077179"/>
            <a:chExt cx="807346" cy="1154346"/>
          </a:xfrm>
        </p:grpSpPr>
        <p:pic>
          <p:nvPicPr>
            <p:cNvPr id="307" name="Picture 306"/>
            <p:cNvPicPr>
              <a:picLocks noChangeAspect="1"/>
            </p:cNvPicPr>
            <p:nvPr/>
          </p:nvPicPr>
          <p:blipFill>
            <a:blip r:embed="rId3"/>
            <a:stretch>
              <a:fillRect/>
            </a:stretch>
          </p:blipFill>
          <p:spPr>
            <a:xfrm>
              <a:off x="454025" y="3077179"/>
              <a:ext cx="807346" cy="1154346"/>
            </a:xfrm>
            <a:prstGeom prst="rect">
              <a:avLst/>
            </a:prstGeom>
          </p:spPr>
        </p:pic>
        <p:sp>
          <p:nvSpPr>
            <p:cNvPr id="308" name="Rectangle 307"/>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09" name="Rectangle 308"/>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10" name="Rectangle 309"/>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spc="-50">
                  <a:gradFill>
                    <a:gsLst>
                      <a:gs pos="0">
                        <a:srgbClr val="FFFFFF"/>
                      </a:gs>
                      <a:gs pos="100000">
                        <a:srgbClr val="FFFFFF"/>
                      </a:gs>
                    </a:gsLst>
                    <a:lin ang="5400000" scaled="0"/>
                  </a:gradFill>
                </a:rPr>
                <a:t>Dv2</a:t>
              </a:r>
            </a:p>
          </p:txBody>
        </p:sp>
      </p:grpSp>
      <p:sp>
        <p:nvSpPr>
          <p:cNvPr id="341" name="Rectangle 340"/>
          <p:cNvSpPr/>
          <p:nvPr/>
        </p:nvSpPr>
        <p:spPr bwMode="auto">
          <a:xfrm>
            <a:off x="8245346" y="3801110"/>
            <a:ext cx="1076828"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Database Workloads</a:t>
            </a:r>
          </a:p>
        </p:txBody>
      </p:sp>
      <p:sp>
        <p:nvSpPr>
          <p:cNvPr id="342" name="Rectangle 341"/>
          <p:cNvSpPr/>
          <p:nvPr/>
        </p:nvSpPr>
        <p:spPr bwMode="auto">
          <a:xfrm>
            <a:off x="6497199" y="3829488"/>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for Storage Workloads</a:t>
            </a:r>
          </a:p>
        </p:txBody>
      </p:sp>
      <p:grpSp>
        <p:nvGrpSpPr>
          <p:cNvPr id="345" name="Group 344"/>
          <p:cNvGrpSpPr/>
          <p:nvPr/>
        </p:nvGrpSpPr>
        <p:grpSpPr>
          <a:xfrm>
            <a:off x="6567219" y="2470588"/>
            <a:ext cx="864685" cy="1236329"/>
            <a:chOff x="454025" y="3077179"/>
            <a:chExt cx="807346" cy="1154346"/>
          </a:xfrm>
        </p:grpSpPr>
        <p:pic>
          <p:nvPicPr>
            <p:cNvPr id="346" name="Picture 345"/>
            <p:cNvPicPr>
              <a:picLocks noChangeAspect="1"/>
            </p:cNvPicPr>
            <p:nvPr/>
          </p:nvPicPr>
          <p:blipFill>
            <a:blip r:embed="rId3"/>
            <a:stretch>
              <a:fillRect/>
            </a:stretch>
          </p:blipFill>
          <p:spPr>
            <a:xfrm>
              <a:off x="454025" y="3077179"/>
              <a:ext cx="807346" cy="1154346"/>
            </a:xfrm>
            <a:prstGeom prst="rect">
              <a:avLst/>
            </a:prstGeom>
          </p:spPr>
        </p:pic>
        <p:sp>
          <p:nvSpPr>
            <p:cNvPr id="347" name="Rectangle 34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sp>
        <p:nvSpPr>
          <p:cNvPr id="10" name="Rectangle 9"/>
          <p:cNvSpPr/>
          <p:nvPr/>
        </p:nvSpPr>
        <p:spPr bwMode="auto">
          <a:xfrm>
            <a:off x="595860" y="4630537"/>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4630537"/>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4630537"/>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127" name="Group 126"/>
          <p:cNvGrpSpPr/>
          <p:nvPr/>
        </p:nvGrpSpPr>
        <p:grpSpPr>
          <a:xfrm>
            <a:off x="1182" y="5286759"/>
            <a:ext cx="12436475" cy="1229834"/>
            <a:chOff x="0" y="5769846"/>
            <a:chExt cx="12436475" cy="1243251"/>
          </a:xfrm>
        </p:grpSpPr>
        <p:sp>
          <p:nvSpPr>
            <p:cNvPr id="128" name="Rectangle 127"/>
            <p:cNvSpPr/>
            <p:nvPr/>
          </p:nvSpPr>
          <p:spPr bwMode="auto">
            <a:xfrm>
              <a:off x="0" y="5769846"/>
              <a:ext cx="12436475" cy="12432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chemeClr val="tx1"/>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625108" y="5954451"/>
              <a:ext cx="10850102" cy="802727"/>
            </a:xfrm>
            <a:prstGeom prst="rect">
              <a:avLst/>
            </a:prstGeom>
            <a:noFill/>
          </p:spPr>
          <p:txBody>
            <a:bodyPr wrap="square" lIns="182880" tIns="146304" rIns="182880" bIns="146304" rtlCol="0">
              <a:spAutoFit/>
            </a:bodyPr>
            <a:lstStyle/>
            <a:p>
              <a:pPr algn="ctr">
                <a:lnSpc>
                  <a:spcPct val="90000"/>
                </a:lnSpc>
                <a:spcBef>
                  <a:spcPts val="300"/>
                </a:spcBef>
              </a:pPr>
              <a:r>
                <a:rPr lang="en-US" sz="36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rPr>
                <a:t>More than doubling the compute offerings in 2017</a:t>
              </a:r>
              <a:endParaRPr lang="en-US" sz="24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endParaRPr>
            </a:p>
          </p:txBody>
        </p:sp>
      </p:grpSp>
      <p:grpSp>
        <p:nvGrpSpPr>
          <p:cNvPr id="129" name="Group 128"/>
          <p:cNvGrpSpPr/>
          <p:nvPr/>
        </p:nvGrpSpPr>
        <p:grpSpPr>
          <a:xfrm>
            <a:off x="884332" y="2851909"/>
            <a:ext cx="433682" cy="649604"/>
            <a:chOff x="454025" y="3077179"/>
            <a:chExt cx="807346" cy="1154346"/>
          </a:xfrm>
        </p:grpSpPr>
        <p:pic>
          <p:nvPicPr>
            <p:cNvPr id="131" name="Picture 130"/>
            <p:cNvPicPr>
              <a:picLocks noChangeAspect="1"/>
            </p:cNvPicPr>
            <p:nvPr/>
          </p:nvPicPr>
          <p:blipFill>
            <a:blip r:embed="rId3"/>
            <a:stretch>
              <a:fillRect/>
            </a:stretch>
          </p:blipFill>
          <p:spPr>
            <a:xfrm>
              <a:off x="454025" y="3077179"/>
              <a:ext cx="807346" cy="1154346"/>
            </a:xfrm>
            <a:prstGeom prst="rect">
              <a:avLst/>
            </a:prstGeom>
          </p:spPr>
        </p:pic>
        <p:sp>
          <p:nvSpPr>
            <p:cNvPr id="132" name="Rectangle 131"/>
            <p:cNvSpPr/>
            <p:nvPr/>
          </p:nvSpPr>
          <p:spPr bwMode="auto">
            <a:xfrm>
              <a:off x="564089" y="3160508"/>
              <a:ext cx="605993" cy="459582"/>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grpSp>
      <p:grpSp>
        <p:nvGrpSpPr>
          <p:cNvPr id="140" name="Group 139"/>
          <p:cNvGrpSpPr/>
          <p:nvPr/>
        </p:nvGrpSpPr>
        <p:grpSpPr>
          <a:xfrm>
            <a:off x="5903096" y="2851909"/>
            <a:ext cx="433682" cy="649604"/>
            <a:chOff x="1824733" y="2956249"/>
            <a:chExt cx="807346" cy="1154346"/>
          </a:xfrm>
        </p:grpSpPr>
        <p:pic>
          <p:nvPicPr>
            <p:cNvPr id="141" name="Picture 140"/>
            <p:cNvPicPr>
              <a:picLocks noChangeAspect="1"/>
            </p:cNvPicPr>
            <p:nvPr/>
          </p:nvPicPr>
          <p:blipFill>
            <a:blip r:embed="rId3"/>
            <a:stretch>
              <a:fillRect/>
            </a:stretch>
          </p:blipFill>
          <p:spPr>
            <a:xfrm>
              <a:off x="1824733" y="2956249"/>
              <a:ext cx="807346" cy="1154346"/>
            </a:xfrm>
            <a:prstGeom prst="rect">
              <a:avLst/>
            </a:prstGeom>
          </p:spPr>
        </p:pic>
        <p:sp>
          <p:nvSpPr>
            <p:cNvPr id="142" name="Rectangle 141"/>
            <p:cNvSpPr/>
            <p:nvPr/>
          </p:nvSpPr>
          <p:spPr bwMode="auto">
            <a:xfrm>
              <a:off x="1969799" y="3027988"/>
              <a:ext cx="535780" cy="507669"/>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N</a:t>
              </a:r>
            </a:p>
          </p:txBody>
        </p:sp>
      </p:grpSp>
      <p:grpSp>
        <p:nvGrpSpPr>
          <p:cNvPr id="143" name="Group 142"/>
          <p:cNvGrpSpPr/>
          <p:nvPr/>
        </p:nvGrpSpPr>
        <p:grpSpPr>
          <a:xfrm>
            <a:off x="7651358" y="2851909"/>
            <a:ext cx="433682" cy="649604"/>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H</a:t>
              </a:r>
            </a:p>
          </p:txBody>
        </p:sp>
      </p:grpSp>
      <p:grpSp>
        <p:nvGrpSpPr>
          <p:cNvPr id="147" name="Group 146"/>
          <p:cNvGrpSpPr/>
          <p:nvPr/>
        </p:nvGrpSpPr>
        <p:grpSpPr>
          <a:xfrm>
            <a:off x="4881152" y="1638082"/>
            <a:ext cx="731520" cy="907858"/>
            <a:chOff x="5815165" y="2158958"/>
            <a:chExt cx="808746" cy="1003699"/>
          </a:xfrm>
        </p:grpSpPr>
        <p:sp>
          <p:nvSpPr>
            <p:cNvPr id="148"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49" name="Straight Connector 148"/>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150" name="Rectangle 149"/>
          <p:cNvSpPr/>
          <p:nvPr/>
        </p:nvSpPr>
        <p:spPr bwMode="auto">
          <a:xfrm>
            <a:off x="4743375" y="3815446"/>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amp; Application Workloads </a:t>
            </a:r>
          </a:p>
        </p:txBody>
      </p:sp>
      <p:grpSp>
        <p:nvGrpSpPr>
          <p:cNvPr id="151" name="Group 150"/>
          <p:cNvGrpSpPr/>
          <p:nvPr/>
        </p:nvGrpSpPr>
        <p:grpSpPr>
          <a:xfrm>
            <a:off x="4813395" y="2456546"/>
            <a:ext cx="864685" cy="1236329"/>
            <a:chOff x="454025" y="3077179"/>
            <a:chExt cx="807346" cy="1154346"/>
          </a:xfrm>
        </p:grpSpPr>
        <p:pic>
          <p:nvPicPr>
            <p:cNvPr id="152" name="Picture 151"/>
            <p:cNvPicPr>
              <a:picLocks noChangeAspect="1"/>
            </p:cNvPicPr>
            <p:nvPr/>
          </p:nvPicPr>
          <p:blipFill>
            <a:blip r:embed="rId3"/>
            <a:stretch>
              <a:fillRect/>
            </a:stretch>
          </p:blipFill>
          <p:spPr>
            <a:xfrm>
              <a:off x="454025" y="3077179"/>
              <a:ext cx="807346" cy="1154346"/>
            </a:xfrm>
            <a:prstGeom prst="rect">
              <a:avLst/>
            </a:prstGeom>
          </p:spPr>
        </p:pic>
        <p:sp>
          <p:nvSpPr>
            <p:cNvPr id="153" name="Rectangle 15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v3</a:t>
              </a:r>
            </a:p>
          </p:txBody>
        </p:sp>
      </p:grpSp>
      <p:grpSp>
        <p:nvGrpSpPr>
          <p:cNvPr id="155" name="Group 154"/>
          <p:cNvGrpSpPr/>
          <p:nvPr/>
        </p:nvGrpSpPr>
        <p:grpSpPr>
          <a:xfrm>
            <a:off x="9640857" y="1616283"/>
            <a:ext cx="731520" cy="907858"/>
            <a:chOff x="6861364" y="2158958"/>
            <a:chExt cx="808746" cy="1003699"/>
          </a:xfrm>
        </p:grpSpPr>
        <p:sp>
          <p:nvSpPr>
            <p:cNvPr id="156"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57" name="Straight Connector 156"/>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577922" y="2442210"/>
            <a:ext cx="864685" cy="1236329"/>
            <a:chOff x="454025" y="3077179"/>
            <a:chExt cx="807346" cy="1154346"/>
          </a:xfrm>
        </p:grpSpPr>
        <p:pic>
          <p:nvPicPr>
            <p:cNvPr id="159" name="Picture 158"/>
            <p:cNvPicPr>
              <a:picLocks noChangeAspect="1"/>
            </p:cNvPicPr>
            <p:nvPr/>
          </p:nvPicPr>
          <p:blipFill>
            <a:blip r:embed="rId3"/>
            <a:stretch>
              <a:fillRect/>
            </a:stretch>
          </p:blipFill>
          <p:spPr>
            <a:xfrm>
              <a:off x="454025" y="3077179"/>
              <a:ext cx="807346" cy="1154346"/>
            </a:xfrm>
            <a:prstGeom prst="rect">
              <a:avLst/>
            </a:prstGeom>
          </p:spPr>
        </p:pic>
        <p:sp>
          <p:nvSpPr>
            <p:cNvPr id="160" name="Rectangle 15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sp>
        <p:nvSpPr>
          <p:cNvPr id="161" name="Rectangle 160"/>
          <p:cNvSpPr/>
          <p:nvPr/>
        </p:nvSpPr>
        <p:spPr bwMode="auto">
          <a:xfrm>
            <a:off x="9471849" y="3793647"/>
            <a:ext cx="1227297"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st enterprise applications including SAP HANA</a:t>
            </a:r>
          </a:p>
        </p:txBody>
      </p:sp>
      <p:grpSp>
        <p:nvGrpSpPr>
          <p:cNvPr id="81" name="Group 80"/>
          <p:cNvGrpSpPr/>
          <p:nvPr/>
        </p:nvGrpSpPr>
        <p:grpSpPr>
          <a:xfrm>
            <a:off x="11033261" y="1615601"/>
            <a:ext cx="734967" cy="907858"/>
            <a:chOff x="11069612" y="2158958"/>
            <a:chExt cx="812557" cy="1003699"/>
          </a:xfrm>
        </p:grpSpPr>
        <p:sp>
          <p:nvSpPr>
            <p:cNvPr id="82" name="Rectangular Callout 51"/>
            <p:cNvSpPr/>
            <p:nvPr/>
          </p:nvSpPr>
          <p:spPr bwMode="auto">
            <a:xfrm>
              <a:off x="11069612" y="2158958"/>
              <a:ext cx="812557"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6-GA</a:t>
              </a:r>
            </a:p>
          </p:txBody>
        </p:sp>
        <p:cxnSp>
          <p:nvCxnSpPr>
            <p:cNvPr id="83" name="Straight Connector 82"/>
            <p:cNvCxnSpPr/>
            <p:nvPr/>
          </p:nvCxnSpPr>
          <p:spPr>
            <a:xfrm flipH="1" flipV="1">
              <a:off x="11475890"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10903988" y="2513086"/>
            <a:ext cx="990308" cy="1013056"/>
            <a:chOff x="9264169" y="3168861"/>
            <a:chExt cx="1048453" cy="1150283"/>
          </a:xfrm>
        </p:grpSpPr>
        <p:grpSp>
          <p:nvGrpSpPr>
            <p:cNvPr id="85" name="Group 84"/>
            <p:cNvGrpSpPr/>
            <p:nvPr/>
          </p:nvGrpSpPr>
          <p:grpSpPr>
            <a:xfrm>
              <a:off x="9369060" y="3168861"/>
              <a:ext cx="838673" cy="860859"/>
              <a:chOff x="-1455738" y="922338"/>
              <a:chExt cx="300038" cy="307975"/>
            </a:xfrm>
          </p:grpSpPr>
          <p:sp>
            <p:nvSpPr>
              <p:cNvPr id="87"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8"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9"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0"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1"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2"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3"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4"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5"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6"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86" name="Picture 85"/>
            <p:cNvPicPr>
              <a:picLocks noChangeAspect="1"/>
            </p:cNvPicPr>
            <p:nvPr/>
          </p:nvPicPr>
          <p:blipFill>
            <a:blip r:embed="rId4"/>
            <a:stretch>
              <a:fillRect/>
            </a:stretch>
          </p:blipFill>
          <p:spPr>
            <a:xfrm>
              <a:off x="9264169" y="4013345"/>
              <a:ext cx="1048453" cy="305799"/>
            </a:xfrm>
            <a:prstGeom prst="rect">
              <a:avLst/>
            </a:prstGeom>
          </p:spPr>
        </p:pic>
      </p:grpSp>
      <p:sp>
        <p:nvSpPr>
          <p:cNvPr id="97" name="Rectangle 96"/>
          <p:cNvSpPr/>
          <p:nvPr/>
        </p:nvSpPr>
        <p:spPr bwMode="auto">
          <a:xfrm>
            <a:off x="10818065" y="3792965"/>
            <a:ext cx="1103296"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AP HANA workloads</a:t>
            </a:r>
          </a:p>
        </p:txBody>
      </p:sp>
      <p:grpSp>
        <p:nvGrpSpPr>
          <p:cNvPr id="105" name="Group 104"/>
          <p:cNvGrpSpPr/>
          <p:nvPr/>
        </p:nvGrpSpPr>
        <p:grpSpPr>
          <a:xfrm>
            <a:off x="1453521" y="1638082"/>
            <a:ext cx="731520" cy="907858"/>
            <a:chOff x="5815165" y="2158958"/>
            <a:chExt cx="808746" cy="1003699"/>
          </a:xfrm>
        </p:grpSpPr>
        <p:sp>
          <p:nvSpPr>
            <p:cNvPr id="106"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08" name="Straight Connector 10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385764" y="2456546"/>
            <a:ext cx="864685" cy="1236329"/>
            <a:chOff x="454025" y="3077179"/>
            <a:chExt cx="807346" cy="1154346"/>
          </a:xfrm>
        </p:grpSpPr>
        <p:pic>
          <p:nvPicPr>
            <p:cNvPr id="113" name="Picture 112"/>
            <p:cNvPicPr>
              <a:picLocks noChangeAspect="1"/>
            </p:cNvPicPr>
            <p:nvPr/>
          </p:nvPicPr>
          <p:blipFill>
            <a:blip r:embed="rId3"/>
            <a:stretch>
              <a:fillRect/>
            </a:stretch>
          </p:blipFill>
          <p:spPr>
            <a:xfrm>
              <a:off x="454025" y="3077179"/>
              <a:ext cx="807346" cy="1154346"/>
            </a:xfrm>
            <a:prstGeom prst="rect">
              <a:avLst/>
            </a:prstGeom>
          </p:spPr>
        </p:pic>
        <p:sp>
          <p:nvSpPr>
            <p:cNvPr id="114" name="Rectangle 11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400" b="1">
                <a:gradFill>
                  <a:gsLst>
                    <a:gs pos="0">
                      <a:srgbClr val="FFFFFF"/>
                    </a:gs>
                    <a:gs pos="100000">
                      <a:srgbClr val="FFFFFF"/>
                    </a:gs>
                  </a:gsLst>
                  <a:lin ang="5400000" scaled="0"/>
                </a:gradFill>
              </a:endParaRPr>
            </a:p>
          </p:txBody>
        </p:sp>
      </p:grpSp>
      <p:sp>
        <p:nvSpPr>
          <p:cNvPr id="115" name="Rectangle 114"/>
          <p:cNvSpPr/>
          <p:nvPr/>
        </p:nvSpPr>
        <p:spPr bwMode="auto">
          <a:xfrm>
            <a:off x="1326741" y="3832932"/>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mall</a:t>
            </a:r>
          </a:p>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 Workloads </a:t>
            </a:r>
          </a:p>
        </p:txBody>
      </p:sp>
    </p:spTree>
    <p:extLst>
      <p:ext uri="{BB962C8B-B14F-4D97-AF65-F5344CB8AC3E}">
        <p14:creationId xmlns:p14="http://schemas.microsoft.com/office/powerpoint/2010/main" val="138378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0 0 L 0 0.25 E" pathEditMode="relative" ptsTypes="">
                                      <p:cBhvr>
                                        <p:cTn id="6" dur="2000" fill="hold"/>
                                        <p:tgtEl>
                                          <p:spTgt spid="45"/>
                                        </p:tgtEl>
                                        <p:attrNameLst>
                                          <p:attrName>ppt_x</p:attrName>
                                          <p:attrName>ppt_y</p:attrName>
                                        </p:attrNameLst>
                                      </p:cBhvr>
                                    </p:animMotion>
                                  </p:childTnLst>
                                </p:cTn>
                              </p:par>
                              <p:par>
                                <p:cTn id="7" presetID="42" presetClass="path" presetSubtype="0" accel="50000" decel="50000" fill="hold" nodeType="withEffect">
                                  <p:stCondLst>
                                    <p:cond delay="0"/>
                                  </p:stCondLst>
                                  <p:childTnLst>
                                    <p:animMotion origin="layout" path="M 0 0 L 0 0.25 E" pathEditMode="relative" ptsTypes="">
                                      <p:cBhvr>
                                        <p:cTn id="8" dur="2000" fill="hold"/>
                                        <p:tgtEl>
                                          <p:spTgt spid="62"/>
                                        </p:tgtEl>
                                        <p:attrNameLst>
                                          <p:attrName>ppt_x</p:attrName>
                                          <p:attrName>ppt_y</p:attrName>
                                        </p:attrNameLst>
                                      </p:cBhvr>
                                    </p:animMotion>
                                  </p:childTnLst>
                                </p:cTn>
                              </p:par>
                              <p:par>
                                <p:cTn id="9" presetID="42" presetClass="path" presetSubtype="0" accel="50000" decel="50000" fill="hold" nodeType="withEffect">
                                  <p:stCondLst>
                                    <p:cond delay="0"/>
                                  </p:stCondLst>
                                  <p:childTnLst>
                                    <p:animMotion origin="layout" path="M 0 0 L 0 0.25 E" pathEditMode="relative" ptsTypes="">
                                      <p:cBhvr>
                                        <p:cTn id="10" dur="2000" fill="hold"/>
                                        <p:tgtEl>
                                          <p:spTgt spid="68"/>
                                        </p:tgtEl>
                                        <p:attrNameLst>
                                          <p:attrName>ppt_x</p:attrName>
                                          <p:attrName>ppt_y</p:attrName>
                                        </p:attrNameLst>
                                      </p:cBhvr>
                                    </p:animMotion>
                                  </p:childTnLst>
                                </p:cTn>
                              </p:par>
                              <p:par>
                                <p:cTn id="11" presetID="42" presetClass="path" presetSubtype="0" accel="50000" decel="50000" fill="hold" nodeType="withEffect">
                                  <p:stCondLst>
                                    <p:cond delay="0"/>
                                  </p:stCondLst>
                                  <p:childTnLst>
                                    <p:animMotion origin="layout" path="M 0 0 L 0 0.25 E" pathEditMode="relative" ptsTypes="">
                                      <p:cBhvr>
                                        <p:cTn id="12" dur="2000" fill="hold"/>
                                        <p:tgtEl>
                                          <p:spTgt spid="77"/>
                                        </p:tgtEl>
                                        <p:attrNameLst>
                                          <p:attrName>ppt_x</p:attrName>
                                          <p:attrName>ppt_y</p:attrName>
                                        </p:attrNameLst>
                                      </p:cBhvr>
                                    </p:animMotion>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250"/>
                                  </p:stCondLst>
                                  <p:childTnLst>
                                    <p:animMotion origin="layout" path="M -8.14399E-7 -2.08806E-7 L -8.14399E-7 0.05039 " pathEditMode="relative" rAng="0" ptsTypes="AA">
                                      <p:cBhvr>
                                        <p:cTn id="17" dur="750" spd="-100000" fill="hold"/>
                                        <p:tgtEl>
                                          <p:spTgt spid="7"/>
                                        </p:tgtEl>
                                        <p:attrNameLst>
                                          <p:attrName>ppt_x</p:attrName>
                                          <p:attrName>ppt_y</p:attrName>
                                        </p:attrNameLst>
                                      </p:cBhvr>
                                      <p:rCtr x="0" y="2519"/>
                                    </p:animMotion>
                                  </p:childTnLst>
                                </p:cTn>
                              </p:par>
                              <p:par>
                                <p:cTn id="18" presetID="10" presetClass="entr" presetSubtype="0" fill="hold" nodeType="withEffect">
                                  <p:stCondLst>
                                    <p:cond delay="25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42" presetClass="path" presetSubtype="0" decel="100000" fill="hold" nodeType="withEffect">
                                  <p:stCondLst>
                                    <p:cond delay="250"/>
                                  </p:stCondLst>
                                  <p:childTnLst>
                                    <p:animMotion origin="layout" path="M 1.01098E-6 2.46028E-6 L 1.01098E-6 0.05038 " pathEditMode="relative" rAng="0" ptsTypes="AA">
                                      <p:cBhvr>
                                        <p:cTn id="22" dur="750" spd="-100000" fill="hold"/>
                                        <p:tgtEl>
                                          <p:spTgt spid="147"/>
                                        </p:tgtEl>
                                        <p:attrNameLst>
                                          <p:attrName>ppt_x</p:attrName>
                                          <p:attrName>ppt_y</p:attrName>
                                        </p:attrNameLst>
                                      </p:cBhvr>
                                      <p:rCtr x="0" y="2519"/>
                                    </p:animMotion>
                                  </p:childTnLst>
                                </p:cTn>
                              </p:par>
                              <p:par>
                                <p:cTn id="23" presetID="10" presetClass="entr" presetSubtype="0" fill="hold" nodeType="withEffect">
                                  <p:stCondLst>
                                    <p:cond delay="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250"/>
                                  </p:stCondLst>
                                  <p:childTnLst>
                                    <p:animMotion origin="layout" path="M 1.70283E-6 4.23967E-6 L 1.70283E-6 0.05038 " pathEditMode="relative" rAng="0" ptsTypes="AA">
                                      <p:cBhvr>
                                        <p:cTn id="27" dur="750" spd="-100000" fill="hold"/>
                                        <p:tgtEl>
                                          <p:spTgt spid="8"/>
                                        </p:tgtEl>
                                        <p:attrNameLst>
                                          <p:attrName>ppt_x</p:attrName>
                                          <p:attrName>ppt_y</p:attrName>
                                        </p:attrNameLst>
                                      </p:cBhvr>
                                      <p:rCtr x="0" y="2519"/>
                                    </p:animMotion>
                                  </p:childTnLst>
                                </p:cTn>
                              </p:par>
                              <p:par>
                                <p:cTn id="28" presetID="10" presetClass="entr" presetSubtype="0" fill="hold" grpId="0" nodeType="withEffect">
                                  <p:stCondLst>
                                    <p:cond delay="250"/>
                                  </p:stCondLst>
                                  <p:childTnLst>
                                    <p:set>
                                      <p:cBhvr>
                                        <p:cTn id="29" dur="1" fill="hold">
                                          <p:stCondLst>
                                            <p:cond delay="0"/>
                                          </p:stCondLst>
                                        </p:cTn>
                                        <p:tgtEl>
                                          <p:spTgt spid="342"/>
                                        </p:tgtEl>
                                        <p:attrNameLst>
                                          <p:attrName>style.visibility</p:attrName>
                                        </p:attrNameLst>
                                      </p:cBhvr>
                                      <p:to>
                                        <p:strVal val="visible"/>
                                      </p:to>
                                    </p:set>
                                    <p:animEffect transition="in" filter="fade">
                                      <p:cBhvr>
                                        <p:cTn id="30" dur="500"/>
                                        <p:tgtEl>
                                          <p:spTgt spid="342"/>
                                        </p:tgtEl>
                                      </p:cBhvr>
                                    </p:animEffect>
                                  </p:childTnLst>
                                </p:cTn>
                              </p:par>
                              <p:par>
                                <p:cTn id="31" presetID="42" presetClass="path" presetSubtype="0" decel="100000" fill="hold" grpId="1" nodeType="withEffect">
                                  <p:stCondLst>
                                    <p:cond delay="250"/>
                                  </p:stCondLst>
                                  <p:childTnLst>
                                    <p:animMotion origin="layout" path="M -3.16569E-6 1.24376E-6 L -3.16569E-6 0.05038 " pathEditMode="relative" rAng="0" ptsTypes="AA">
                                      <p:cBhvr>
                                        <p:cTn id="32" dur="750" spd="-100000" fill="hold"/>
                                        <p:tgtEl>
                                          <p:spTgt spid="342"/>
                                        </p:tgtEl>
                                        <p:attrNameLst>
                                          <p:attrName>ppt_x</p:attrName>
                                          <p:attrName>ppt_y</p:attrName>
                                        </p:attrNameLst>
                                      </p:cBhvr>
                                      <p:rCtr x="0" y="2519"/>
                                    </p:animMotion>
                                  </p:childTnLst>
                                </p:cTn>
                              </p:par>
                              <p:par>
                                <p:cTn id="33" presetID="10" presetClass="entr" presetSubtype="0" fill="hold" grpId="0" nodeType="withEffect">
                                  <p:stCondLst>
                                    <p:cond delay="250"/>
                                  </p:stCondLst>
                                  <p:childTnLst>
                                    <p:set>
                                      <p:cBhvr>
                                        <p:cTn id="34" dur="1" fill="hold">
                                          <p:stCondLst>
                                            <p:cond delay="0"/>
                                          </p:stCondLst>
                                        </p:cTn>
                                        <p:tgtEl>
                                          <p:spTgt spid="341"/>
                                        </p:tgtEl>
                                        <p:attrNameLst>
                                          <p:attrName>style.visibility</p:attrName>
                                        </p:attrNameLst>
                                      </p:cBhvr>
                                      <p:to>
                                        <p:strVal val="visible"/>
                                      </p:to>
                                    </p:set>
                                    <p:animEffect transition="in" filter="fade">
                                      <p:cBhvr>
                                        <p:cTn id="35" dur="500"/>
                                        <p:tgtEl>
                                          <p:spTgt spid="341"/>
                                        </p:tgtEl>
                                      </p:cBhvr>
                                    </p:animEffect>
                                  </p:childTnLst>
                                </p:cTn>
                              </p:par>
                              <p:par>
                                <p:cTn id="36" presetID="42" presetClass="path" presetSubtype="0" decel="100000" fill="hold" grpId="1" nodeType="withEffect">
                                  <p:stCondLst>
                                    <p:cond delay="250"/>
                                  </p:stCondLst>
                                  <p:childTnLst>
                                    <p:animMotion origin="layout" path="M -3.59459E-6 -4.30776E-6 L -3.59459E-6 0.05039 " pathEditMode="relative" rAng="0" ptsTypes="AA">
                                      <p:cBhvr>
                                        <p:cTn id="37" dur="750" spd="-100000" fill="hold"/>
                                        <p:tgtEl>
                                          <p:spTgt spid="341"/>
                                        </p:tgtEl>
                                        <p:attrNameLst>
                                          <p:attrName>ppt_x</p:attrName>
                                          <p:attrName>ppt_y</p:attrName>
                                        </p:attrNameLst>
                                      </p:cBhvr>
                                      <p:rCtr x="0" y="2519"/>
                                    </p:animMotion>
                                  </p:childTnLst>
                                </p:cTn>
                              </p:par>
                              <p:par>
                                <p:cTn id="38" presetID="10" presetClass="entr" presetSubtype="0" fill="hold" grpId="0" nodeType="withEffect">
                                  <p:stCondLst>
                                    <p:cond delay="250"/>
                                  </p:stCondLst>
                                  <p:childTnLst>
                                    <p:set>
                                      <p:cBhvr>
                                        <p:cTn id="39" dur="1" fill="hold">
                                          <p:stCondLst>
                                            <p:cond delay="0"/>
                                          </p:stCondLst>
                                        </p:cTn>
                                        <p:tgtEl>
                                          <p:spTgt spid="150"/>
                                        </p:tgtEl>
                                        <p:attrNameLst>
                                          <p:attrName>style.visibility</p:attrName>
                                        </p:attrNameLst>
                                      </p:cBhvr>
                                      <p:to>
                                        <p:strVal val="visible"/>
                                      </p:to>
                                    </p:set>
                                    <p:animEffect transition="in" filter="fade">
                                      <p:cBhvr>
                                        <p:cTn id="40" dur="500"/>
                                        <p:tgtEl>
                                          <p:spTgt spid="150"/>
                                        </p:tgtEl>
                                      </p:cBhvr>
                                    </p:animEffect>
                                  </p:childTnLst>
                                </p:cTn>
                              </p:par>
                              <p:par>
                                <p:cTn id="41" presetID="42" presetClass="path" presetSubtype="0" decel="100000" fill="hold" grpId="1" nodeType="withEffect">
                                  <p:stCondLst>
                                    <p:cond delay="250"/>
                                  </p:stCondLst>
                                  <p:childTnLst>
                                    <p:animMotion origin="layout" path="M -1.34031E-6 3.91285E-6 L -1.34031E-6 0.05038 " pathEditMode="relative" rAng="0" ptsTypes="AA">
                                      <p:cBhvr>
                                        <p:cTn id="42" dur="750" spd="-100000" fill="hold"/>
                                        <p:tgtEl>
                                          <p:spTgt spid="150"/>
                                        </p:tgtEl>
                                        <p:attrNameLst>
                                          <p:attrName>ppt_x</p:attrName>
                                          <p:attrName>ppt_y</p:attrName>
                                        </p:attrNameLst>
                                      </p:cBhvr>
                                      <p:rCtr x="0" y="2519"/>
                                    </p:animMotion>
                                  </p:childTnLst>
                                </p:cTn>
                              </p:par>
                              <p:par>
                                <p:cTn id="43" presetID="10" presetClass="entr" presetSubtype="0" fill="hold" nodeType="withEffect">
                                  <p:stCondLst>
                                    <p:cond delay="250"/>
                                  </p:stCondLst>
                                  <p:childTnLst>
                                    <p:set>
                                      <p:cBhvr>
                                        <p:cTn id="44" dur="1" fill="hold">
                                          <p:stCondLst>
                                            <p:cond delay="0"/>
                                          </p:stCondLst>
                                        </p:cTn>
                                        <p:tgtEl>
                                          <p:spTgt spid="155"/>
                                        </p:tgtEl>
                                        <p:attrNameLst>
                                          <p:attrName>style.visibility</p:attrName>
                                        </p:attrNameLst>
                                      </p:cBhvr>
                                      <p:to>
                                        <p:strVal val="visible"/>
                                      </p:to>
                                    </p:set>
                                    <p:animEffect transition="in" filter="fade">
                                      <p:cBhvr>
                                        <p:cTn id="45" dur="500"/>
                                        <p:tgtEl>
                                          <p:spTgt spid="155"/>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161"/>
                                        </p:tgtEl>
                                        <p:attrNameLst>
                                          <p:attrName>style.visibility</p:attrName>
                                        </p:attrNameLst>
                                      </p:cBhvr>
                                      <p:to>
                                        <p:strVal val="visible"/>
                                      </p:to>
                                    </p:set>
                                    <p:animEffect transition="in" filter="fade">
                                      <p:cBhvr>
                                        <p:cTn id="48" dur="500"/>
                                        <p:tgtEl>
                                          <p:spTgt spid="161"/>
                                        </p:tgtEl>
                                      </p:cBhvr>
                                    </p:animEffect>
                                  </p:childTnLst>
                                </p:cTn>
                              </p:par>
                              <p:par>
                                <p:cTn id="49" presetID="42" presetClass="path" presetSubtype="0" decel="100000" fill="hold" grpId="1" nodeType="withEffect">
                                  <p:stCondLst>
                                    <p:cond delay="250"/>
                                  </p:stCondLst>
                                  <p:childTnLst>
                                    <p:animMotion origin="layout" path="M -4.00562E-6 -3.41807E-6 L -4.00562E-6 0.05039 " pathEditMode="relative" rAng="0" ptsTypes="AA">
                                      <p:cBhvr>
                                        <p:cTn id="50" dur="750" spd="-100000" fill="hold"/>
                                        <p:tgtEl>
                                          <p:spTgt spid="161"/>
                                        </p:tgtEl>
                                        <p:attrNameLst>
                                          <p:attrName>ppt_x</p:attrName>
                                          <p:attrName>ppt_y</p:attrName>
                                        </p:attrNameLst>
                                      </p:cBhvr>
                                      <p:rCtr x="0" y="2519"/>
                                    </p:animMotion>
                                  </p:childTnLst>
                                </p:cTn>
                              </p:par>
                              <p:par>
                                <p:cTn id="51" presetID="10" presetClass="entr" presetSubtype="0" fill="hold" nodeType="withEffect">
                                  <p:stCondLst>
                                    <p:cond delay="250"/>
                                  </p:stCondLst>
                                  <p:childTnLst>
                                    <p:set>
                                      <p:cBhvr>
                                        <p:cTn id="52" dur="1" fill="hold">
                                          <p:stCondLst>
                                            <p:cond delay="0"/>
                                          </p:stCondLst>
                                        </p:cTn>
                                        <p:tgtEl>
                                          <p:spTgt spid="81"/>
                                        </p:tgtEl>
                                        <p:attrNameLst>
                                          <p:attrName>style.visibility</p:attrName>
                                        </p:attrNameLst>
                                      </p:cBhvr>
                                      <p:to>
                                        <p:strVal val="visible"/>
                                      </p:to>
                                    </p:set>
                                    <p:animEffect transition="in" filter="fade">
                                      <p:cBhvr>
                                        <p:cTn id="53" dur="500"/>
                                        <p:tgtEl>
                                          <p:spTgt spid="81"/>
                                        </p:tgtEl>
                                      </p:cBhvr>
                                    </p:animEffect>
                                  </p:childTnLst>
                                </p:cTn>
                              </p:par>
                              <p:par>
                                <p:cTn id="54" presetID="42" presetClass="path" presetSubtype="0" decel="100000" fill="hold" nodeType="withEffect">
                                  <p:stCondLst>
                                    <p:cond delay="250"/>
                                  </p:stCondLst>
                                  <p:childTnLst>
                                    <p:animMotion origin="layout" path="M 4.60812E-6 -5.44712E-8 L 4.60812E-6 0.05039 " pathEditMode="relative" rAng="0" ptsTypes="AA">
                                      <p:cBhvr>
                                        <p:cTn id="55" dur="750" spd="-100000" fill="hold"/>
                                        <p:tgtEl>
                                          <p:spTgt spid="81"/>
                                        </p:tgtEl>
                                        <p:attrNameLst>
                                          <p:attrName>ppt_x</p:attrName>
                                          <p:attrName>ppt_y</p:attrName>
                                        </p:attrNameLst>
                                      </p:cBhvr>
                                      <p:rCtr x="0" y="2519"/>
                                    </p:animMotion>
                                  </p:childTnLst>
                                </p:cTn>
                              </p:par>
                              <p:par>
                                <p:cTn id="56" presetID="10" presetClass="entr" presetSubtype="0" fill="hold" grpId="0" nodeType="withEffect">
                                  <p:stCondLst>
                                    <p:cond delay="25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42" presetClass="path" presetSubtype="0" decel="100000" fill="hold" grpId="1" nodeType="withEffect">
                                  <p:stCondLst>
                                    <p:cond delay="250"/>
                                  </p:stCondLst>
                                  <p:childTnLst>
                                    <p:animMotion origin="layout" path="M -6.63773E-8 1.39809E-6 L -6.63773E-8 0.05038 " pathEditMode="relative" rAng="0" ptsTypes="AA">
                                      <p:cBhvr>
                                        <p:cTn id="60" dur="750" spd="-100000" fill="hold"/>
                                        <p:tgtEl>
                                          <p:spTgt spid="97"/>
                                        </p:tgtEl>
                                        <p:attrNameLst>
                                          <p:attrName>ppt_x</p:attrName>
                                          <p:attrName>ppt_y</p:attrName>
                                        </p:attrNameLst>
                                      </p:cBhvr>
                                      <p:rCtr x="0" y="2519"/>
                                    </p:animMotion>
                                  </p:childTnLst>
                                </p:cTn>
                              </p:par>
                              <p:par>
                                <p:cTn id="61" presetID="10" presetClass="entr" presetSubtype="0" fill="hold" nodeType="withEffect">
                                  <p:stCondLst>
                                    <p:cond delay="250"/>
                                  </p:stCondLst>
                                  <p:childTnLst>
                                    <p:set>
                                      <p:cBhvr>
                                        <p:cTn id="62" dur="1" fill="hold">
                                          <p:stCondLst>
                                            <p:cond delay="0"/>
                                          </p:stCondLst>
                                        </p:cTn>
                                        <p:tgtEl>
                                          <p:spTgt spid="105"/>
                                        </p:tgtEl>
                                        <p:attrNameLst>
                                          <p:attrName>style.visibility</p:attrName>
                                        </p:attrNameLst>
                                      </p:cBhvr>
                                      <p:to>
                                        <p:strVal val="visible"/>
                                      </p:to>
                                    </p:set>
                                    <p:animEffect transition="in" filter="fade">
                                      <p:cBhvr>
                                        <p:cTn id="63" dur="500"/>
                                        <p:tgtEl>
                                          <p:spTgt spid="105"/>
                                        </p:tgtEl>
                                      </p:cBhvr>
                                    </p:animEffect>
                                  </p:childTnLst>
                                </p:cTn>
                              </p:par>
                              <p:par>
                                <p:cTn id="64" presetID="42" presetClass="path" presetSubtype="0" decel="100000" fill="hold" nodeType="withEffect">
                                  <p:stCondLst>
                                    <p:cond delay="250"/>
                                  </p:stCondLst>
                                  <p:childTnLst>
                                    <p:animMotion origin="layout" path="M 4.57748E-6 2.46028E-6 L 4.57748E-6 0.05038 " pathEditMode="relative" rAng="0" ptsTypes="AA">
                                      <p:cBhvr>
                                        <p:cTn id="65" dur="750" spd="-100000" fill="hold"/>
                                        <p:tgtEl>
                                          <p:spTgt spid="105"/>
                                        </p:tgtEl>
                                        <p:attrNameLst>
                                          <p:attrName>ppt_x</p:attrName>
                                          <p:attrName>ppt_y</p:attrName>
                                        </p:attrNameLst>
                                      </p:cBhvr>
                                      <p:rCtr x="0" y="2519"/>
                                    </p:animMotion>
                                  </p:childTnLst>
                                </p:cTn>
                              </p:par>
                              <p:par>
                                <p:cTn id="66" presetID="10" presetClass="entr" presetSubtype="0" fill="hold" grpId="0" nodeType="withEffect">
                                  <p:stCondLst>
                                    <p:cond delay="250"/>
                                  </p:stCondLst>
                                  <p:childTnLst>
                                    <p:set>
                                      <p:cBhvr>
                                        <p:cTn id="67" dur="1" fill="hold">
                                          <p:stCondLst>
                                            <p:cond delay="0"/>
                                          </p:stCondLst>
                                        </p:cTn>
                                        <p:tgtEl>
                                          <p:spTgt spid="115"/>
                                        </p:tgtEl>
                                        <p:attrNameLst>
                                          <p:attrName>style.visibility</p:attrName>
                                        </p:attrNameLst>
                                      </p:cBhvr>
                                      <p:to>
                                        <p:strVal val="visible"/>
                                      </p:to>
                                    </p:set>
                                    <p:animEffect transition="in" filter="fade">
                                      <p:cBhvr>
                                        <p:cTn id="68" dur="500"/>
                                        <p:tgtEl>
                                          <p:spTgt spid="115"/>
                                        </p:tgtEl>
                                      </p:cBhvr>
                                    </p:animEffect>
                                  </p:childTnLst>
                                </p:cTn>
                              </p:par>
                              <p:par>
                                <p:cTn id="69" presetID="42" presetClass="path" presetSubtype="0" decel="100000" fill="hold" grpId="1" nodeType="withEffect">
                                  <p:stCondLst>
                                    <p:cond delay="250"/>
                                  </p:stCondLst>
                                  <p:childTnLst>
                                    <p:animMotion origin="layout" path="M -1.31478E-6 -2.68271E-6 L -1.31478E-6 0.05039 " pathEditMode="relative" rAng="0" ptsTypes="AA">
                                      <p:cBhvr>
                                        <p:cTn id="70" dur="750" spd="-100000" fill="hold"/>
                                        <p:tgtEl>
                                          <p:spTgt spid="115"/>
                                        </p:tgtEl>
                                        <p:attrNameLst>
                                          <p:attrName>ppt_x</p:attrName>
                                          <p:attrName>ppt_y</p:attrName>
                                        </p:attrNameLst>
                                      </p:cBhvr>
                                      <p:rCtr x="0" y="2519"/>
                                    </p:animMotion>
                                  </p:childTnLst>
                                </p:cTn>
                              </p:par>
                            </p:childTnLst>
                          </p:cTn>
                        </p:par>
                        <p:par>
                          <p:cTn id="71" fill="hold">
                            <p:stCondLst>
                              <p:cond delay="2000"/>
                            </p:stCondLst>
                            <p:childTnLst>
                              <p:par>
                                <p:cTn id="72" presetID="2" presetClass="entr" presetSubtype="4" decel="100000" fill="hold" nodeType="afterEffect">
                                  <p:stCondLst>
                                    <p:cond delay="0"/>
                                  </p:stCondLst>
                                  <p:childTnLst>
                                    <p:set>
                                      <p:cBhvr>
                                        <p:cTn id="73" dur="1" fill="hold">
                                          <p:stCondLst>
                                            <p:cond delay="0"/>
                                          </p:stCondLst>
                                        </p:cTn>
                                        <p:tgtEl>
                                          <p:spTgt spid="127"/>
                                        </p:tgtEl>
                                        <p:attrNameLst>
                                          <p:attrName>style.visibility</p:attrName>
                                        </p:attrNameLst>
                                      </p:cBhvr>
                                      <p:to>
                                        <p:strVal val="visible"/>
                                      </p:to>
                                    </p:set>
                                    <p:anim calcmode="lin" valueType="num">
                                      <p:cBhvr additive="base">
                                        <p:cTn id="74" dur="750" fill="hold"/>
                                        <p:tgtEl>
                                          <p:spTgt spid="127"/>
                                        </p:tgtEl>
                                        <p:attrNameLst>
                                          <p:attrName>ppt_x</p:attrName>
                                        </p:attrNameLst>
                                      </p:cBhvr>
                                      <p:tavLst>
                                        <p:tav tm="0">
                                          <p:val>
                                            <p:strVal val="#ppt_x"/>
                                          </p:val>
                                        </p:tav>
                                        <p:tav tm="100000">
                                          <p:val>
                                            <p:strVal val="#ppt_x"/>
                                          </p:val>
                                        </p:tav>
                                      </p:tavLst>
                                    </p:anim>
                                    <p:anim calcmode="lin" valueType="num">
                                      <p:cBhvr additive="base">
                                        <p:cTn id="75" dur="750" fill="hold"/>
                                        <p:tgtEl>
                                          <p:spTgt spid="1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P spid="342" grpId="0"/>
      <p:bldP spid="342" grpId="1"/>
      <p:bldP spid="150" grpId="0"/>
      <p:bldP spid="150" grpId="1"/>
      <p:bldP spid="161" grpId="0"/>
      <p:bldP spid="161" grpId="1"/>
      <p:bldP spid="97" grpId="0"/>
      <p:bldP spid="97" grpId="1"/>
      <p:bldP spid="115" grpId="0"/>
      <p:bldP spid="115"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dirty="0"/>
              <a:t>New VM sizes</a:t>
            </a:r>
            <a:endParaRPr lang="en-US" dirty="0">
              <a:solidFill>
                <a:schemeClr val="tx1"/>
              </a:solidFill>
            </a:endParaRPr>
          </a:p>
        </p:txBody>
      </p:sp>
      <p:sp>
        <p:nvSpPr>
          <p:cNvPr id="3" name="Text Placeholder 2">
            <a:extLst>
              <a:ext uri="{FF2B5EF4-FFF2-40B4-BE49-F238E27FC236}">
                <a16:creationId xmlns:a16="http://schemas.microsoft.com/office/drawing/2014/main" id="{44F929DC-1D9E-4603-8F03-E9F56F403F8E}"/>
              </a:ext>
            </a:extLst>
          </p:cNvPr>
          <p:cNvSpPr>
            <a:spLocks noGrp="1"/>
          </p:cNvSpPr>
          <p:nvPr>
            <p:ph type="body" sz="quarter" idx="10"/>
          </p:nvPr>
        </p:nvSpPr>
        <p:spPr>
          <a:xfrm>
            <a:off x="274638" y="1212850"/>
            <a:ext cx="11888787" cy="3120854"/>
          </a:xfrm>
        </p:spPr>
        <p:txBody>
          <a:bodyPr/>
          <a:lstStyle/>
          <a:p>
            <a:pPr marL="571500" indent="-571500">
              <a:buFont typeface="Arial" panose="020B0604020202020204" pitchFamily="34" charset="0"/>
              <a:buChar char="•"/>
            </a:pPr>
            <a:r>
              <a:rPr lang="en-US" dirty="0"/>
              <a:t>SAP HANA running on both M-series and purpose-built infrastructure, the largest of their kind in the cloud. </a:t>
            </a:r>
          </a:p>
          <a:p>
            <a:pPr marL="571500" indent="-571500">
              <a:buFont typeface="Arial" panose="020B0604020202020204" pitchFamily="34" charset="0"/>
              <a:buChar char="•"/>
            </a:pPr>
            <a:r>
              <a:rPr lang="en-US" dirty="0"/>
              <a:t>B-series VM for burstable workloads</a:t>
            </a:r>
          </a:p>
          <a:p>
            <a:pPr marL="571500" indent="-571500">
              <a:buFont typeface="Arial" panose="020B0604020202020204" pitchFamily="34" charset="0"/>
              <a:buChar char="•"/>
            </a:pPr>
            <a:r>
              <a:rPr lang="en-US" dirty="0"/>
              <a:t>Fv2-, NCv2-, ND-series Intel’s Scalable Xeon and NVIDIA’s Tesla P100 and P40 GPUs.</a:t>
            </a:r>
            <a:br>
              <a:rPr lang="en-US" sz="2400" dirty="0"/>
            </a:br>
            <a:endParaRPr lang="en-US" sz="1600" dirty="0"/>
          </a:p>
        </p:txBody>
      </p:sp>
    </p:spTree>
    <p:extLst>
      <p:ext uri="{BB962C8B-B14F-4D97-AF65-F5344CB8AC3E}">
        <p14:creationId xmlns:p14="http://schemas.microsoft.com/office/powerpoint/2010/main" val="24196338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434848"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Content Placeholder 2"/>
          <p:cNvSpPr txBox="1">
            <a:spLocks/>
          </p:cNvSpPr>
          <p:nvPr/>
        </p:nvSpPr>
        <p:spPr>
          <a:xfrm>
            <a:off x="289051" y="2504234"/>
            <a:ext cx="4489026" cy="454278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Manage identical VMs at Scale</a:t>
            </a:r>
          </a:p>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High performance provisioning of 1-1000 VMs</a:t>
            </a:r>
          </a:p>
          <a:p>
            <a:pPr mar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Auto-configuration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Auto-scale</a:t>
            </a:r>
            <a:r>
              <a:rPr kumimoji="0" lang="en-US" sz="2400" b="0" i="0" u="none" strike="noStrike" kern="1200" cap="none" spc="0" normalizeH="0" noProof="0">
                <a:ln>
                  <a:noFill/>
                </a:ln>
                <a:gradFill>
                  <a:gsLst>
                    <a:gs pos="1250">
                      <a:srgbClr val="FFFFFF"/>
                    </a:gs>
                    <a:gs pos="100000">
                      <a:srgbClr val="FFFFFF"/>
                    </a:gs>
                  </a:gsLst>
                  <a:lin ang="5400000" scaled="0"/>
                </a:gradFill>
                <a:effectLst/>
                <a:uLnTx/>
                <a:uFillTx/>
                <a:cs typeface="Segoe UI Semibold" panose="020B0702040204020203" pitchFamily="34" charset="0"/>
              </a:rPr>
              <a:t> based on schedule and resource metrics</a:t>
            </a:r>
            <a:endPar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endParaRP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Easy updates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Managed Disk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Single ARM resource</a:t>
            </a:r>
          </a:p>
        </p:txBody>
      </p:sp>
      <p:sp>
        <p:nvSpPr>
          <p:cNvPr id="5" name="Title 1"/>
          <p:cNvSpPr txBox="1">
            <a:spLocks/>
          </p:cNvSpPr>
          <p:nvPr/>
        </p:nvSpPr>
        <p:spPr>
          <a:xfrm>
            <a:off x="261159" y="1473200"/>
            <a:ext cx="11183414"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VM Scale Sets</a:t>
            </a:r>
          </a:p>
        </p:txBody>
      </p:sp>
      <p:sp>
        <p:nvSpPr>
          <p:cNvPr id="6" name="AutoShape 3"/>
          <p:cNvSpPr>
            <a:spLocks noChangeAspect="1" noChangeArrowheads="1" noTextEdit="1"/>
          </p:cNvSpPr>
          <p:nvPr/>
        </p:nvSpPr>
        <p:spPr bwMode="auto">
          <a:xfrm>
            <a:off x="8101013" y="957264"/>
            <a:ext cx="404495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5"/>
          <p:cNvSpPr>
            <a:spLocks/>
          </p:cNvSpPr>
          <p:nvPr/>
        </p:nvSpPr>
        <p:spPr bwMode="auto">
          <a:xfrm>
            <a:off x="7860534" y="623625"/>
            <a:ext cx="3704740" cy="2248164"/>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776734" y="1982073"/>
            <a:ext cx="1931089" cy="177943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3788805"/>
            <a:ext cx="1050532" cy="968029"/>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3788804"/>
            <a:ext cx="1050532" cy="968029"/>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3789067"/>
            <a:ext cx="1050532" cy="968029"/>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3775720"/>
            <a:ext cx="1050532" cy="968029"/>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4782735"/>
            <a:ext cx="1050532" cy="968029"/>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4782734"/>
            <a:ext cx="1050532" cy="968029"/>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4782997"/>
            <a:ext cx="1050532" cy="968029"/>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4769650"/>
            <a:ext cx="1050532" cy="968029"/>
          </a:xfrm>
          <a:prstGeom prst="rect">
            <a:avLst/>
          </a:prstGeom>
        </p:spPr>
      </p:pic>
      <p:pic>
        <p:nvPicPr>
          <p:cNvPr id="19" name="Picture 18">
            <a:extLst>
              <a:ext uri="{FF2B5EF4-FFF2-40B4-BE49-F238E27FC236}">
                <a16:creationId xmlns:a16="http://schemas.microsoft.com/office/drawing/2014/main" id="{951E5043-9C4B-4F19-BAFF-2BC5203A76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9529" y="2140634"/>
            <a:ext cx="2675079" cy="3647053"/>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65765E-6 4.59828E-6 L -0.05285 4.59828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3886729" y="-71121"/>
            <a:ext cx="854886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eaLnBrk="1" fontAlgn="auto" hangingPunct="1">
              <a:spcBef>
                <a:spcPts val="0"/>
              </a:spcBef>
              <a:spcAft>
                <a:spcPts val="0"/>
              </a:spcAft>
              <a:defRPr/>
            </a:pPr>
            <a:endParaRPr lang="en-US" sz="1224" kern="0" err="1">
              <a:solidFill>
                <a:sysClr val="windowText" lastClr="000000"/>
              </a:solidFill>
            </a:endParaRPr>
          </a:p>
        </p:txBody>
      </p:sp>
      <p:grpSp>
        <p:nvGrpSpPr>
          <p:cNvPr id="9" name="Group 8" hidden="1"/>
          <p:cNvGrpSpPr/>
          <p:nvPr/>
        </p:nvGrpSpPr>
        <p:grpSpPr>
          <a:xfrm>
            <a:off x="-8079780" y="-3620778"/>
            <a:ext cx="6043466" cy="1830186"/>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zure</a:t>
                </a:r>
              </a:p>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Notification </a:t>
                </a:r>
                <a:b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Mobile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Logic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grpSp>
        <p:nvGrpSpPr>
          <p:cNvPr id="33" name="Group 32"/>
          <p:cNvGrpSpPr/>
          <p:nvPr/>
        </p:nvGrpSpPr>
        <p:grpSpPr>
          <a:xfrm>
            <a:off x="4400795" y="1585053"/>
            <a:ext cx="7802928" cy="4461053"/>
            <a:chOff x="5081830" y="1372044"/>
            <a:chExt cx="7650624" cy="4373978"/>
          </a:xfrm>
        </p:grpSpPr>
        <p:sp>
          <p:nvSpPr>
            <p:cNvPr id="35" name="Text Placeholder 5"/>
            <p:cNvSpPr txBox="1">
              <a:spLocks/>
            </p:cNvSpPr>
            <p:nvPr/>
          </p:nvSpPr>
          <p:spPr>
            <a:xfrm>
              <a:off x="5081830" y="1372044"/>
              <a:ext cx="7650624" cy="941478"/>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spcAft>
                  <a:spcPts val="1199"/>
                </a:spcAft>
                <a:defRPr/>
              </a:pPr>
              <a:r>
                <a:rPr lang="en-US" sz="4800" spc="-102">
                  <a:ln w="3175">
                    <a:noFill/>
                  </a:ln>
                  <a:gradFill>
                    <a:gsLst>
                      <a:gs pos="1250">
                        <a:srgbClr val="FFFFFF"/>
                      </a:gs>
                      <a:gs pos="100000">
                        <a:srgbClr val="FFFFFF"/>
                      </a:gs>
                    </a:gsLst>
                    <a:lin ang="5400000" scaled="0"/>
                  </a:gradFill>
                  <a:latin typeface="Segoe UI Light"/>
                  <a:cs typeface="Segoe UI" pitchFamily="34" charset="0"/>
                </a:rPr>
                <a:t>Azure Batch</a:t>
              </a:r>
            </a:p>
          </p:txBody>
        </p:sp>
        <p:sp>
          <p:nvSpPr>
            <p:cNvPr id="38" name="Text Placeholder 5"/>
            <p:cNvSpPr txBox="1">
              <a:spLocks/>
            </p:cNvSpPr>
            <p:nvPr/>
          </p:nvSpPr>
          <p:spPr>
            <a:xfrm>
              <a:off x="5081830" y="2746478"/>
              <a:ext cx="6687605" cy="2999544"/>
            </a:xfrm>
            <a:prstGeom prst="rect">
              <a:avLst/>
            </a:prstGeom>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Compute pools for job process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 scaling and regional coverage</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Linux and Windows</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ally recover failed tasks</a:t>
              </a:r>
            </a:p>
            <a:p>
              <a:pPr defTabSz="932563">
                <a:spcBef>
                  <a:spcPts val="1224"/>
                </a:spcBef>
                <a:defRPr/>
              </a:pPr>
              <a:r>
                <a:rPr lang="en-US" sz="2400" err="1">
                  <a:gradFill>
                    <a:gsLst>
                      <a:gs pos="98571">
                        <a:schemeClr val="tx1"/>
                      </a:gs>
                      <a:gs pos="72857">
                        <a:schemeClr val="tx1"/>
                      </a:gs>
                    </a:gsLst>
                    <a:lin ang="5400000" scaled="1"/>
                  </a:gradFill>
                  <a:latin typeface="+mj-lt"/>
                  <a:cs typeface="Segoe UI Semibold" panose="020B0702040204020203" pitchFamily="34" charset="0"/>
                </a:rPr>
                <a:t>Input/Output</a:t>
              </a:r>
              <a:r>
                <a:rPr lang="en-US" sz="2400">
                  <a:gradFill>
                    <a:gsLst>
                      <a:gs pos="98571">
                        <a:schemeClr val="tx1"/>
                      </a:gs>
                      <a:gs pos="72857">
                        <a:schemeClr val="tx1"/>
                      </a:gs>
                    </a:gsLst>
                    <a:lin ang="5400000" scaled="1"/>
                  </a:gradFill>
                  <a:latin typeface="+mj-lt"/>
                  <a:cs typeface="Segoe UI Semibold" panose="020B0702040204020203" pitchFamily="34" charset="0"/>
                </a:rPr>
                <a:t> handl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Preview: Low-Priority batch</a:t>
              </a:r>
            </a:p>
          </p:txBody>
        </p:sp>
      </p:grpSp>
      <p:pic>
        <p:nvPicPr>
          <p:cNvPr id="39" name="Picture 38"/>
          <p:cNvPicPr>
            <a:picLocks noChangeAspect="1"/>
          </p:cNvPicPr>
          <p:nvPr/>
        </p:nvPicPr>
        <p:blipFill>
          <a:blip r:embed="rId9"/>
          <a:stretch>
            <a:fillRect/>
          </a:stretch>
        </p:blipFill>
        <p:spPr>
          <a:xfrm>
            <a:off x="142509" y="1147660"/>
            <a:ext cx="3690882" cy="4484517"/>
          </a:xfrm>
          <a:prstGeom prst="rect">
            <a:avLst/>
          </a:prstGeom>
        </p:spPr>
      </p:pic>
    </p:spTree>
    <p:extLst>
      <p:ext uri="{BB962C8B-B14F-4D97-AF65-F5344CB8AC3E}">
        <p14:creationId xmlns:p14="http://schemas.microsoft.com/office/powerpoint/2010/main" val="69510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8892" y="3265804"/>
            <a:ext cx="5984286" cy="257301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Docker tooling and API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DCOS, Docker Swarm and Kubernete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ux and Windows Server container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and Azure Stack</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18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ages in Azure Container Registry, </a:t>
            </a:r>
            <a:r>
              <a:rPr lang="en-US" sz="180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kerHub</a:t>
            </a:r>
            <a:r>
              <a:rPr lang="en-US" sz="18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etc.</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5" name="Title 1"/>
          <p:cNvSpPr txBox="1">
            <a:spLocks/>
          </p:cNvSpPr>
          <p:nvPr/>
        </p:nvSpPr>
        <p:spPr>
          <a:xfrm>
            <a:off x="301852" y="1703588"/>
            <a:ext cx="6675437"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solidFill>
                  <a:srgbClr val="0072CC"/>
                </a:solidFill>
                <a:effectLst/>
                <a:uLnTx/>
                <a:uFillTx/>
                <a:latin typeface="Segoe UI Light"/>
                <a:ea typeface="+mn-ea"/>
                <a:cs typeface="Segoe UI" pitchFamily="34" charset="0"/>
              </a:rPr>
              <a:t> </a:t>
            </a:r>
            <a:br>
              <a:rPr kumimoji="0" lang="en-US" sz="4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Container Service</a:t>
            </a:r>
            <a:endParaRPr kumimoji="0" lang="en-US" sz="5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34" name="Group 33"/>
          <p:cNvGrpSpPr/>
          <p:nvPr/>
        </p:nvGrpSpPr>
        <p:grpSpPr>
          <a:xfrm>
            <a:off x="6284881" y="1088000"/>
            <a:ext cx="6033917" cy="5189312"/>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algn="ctr" defTabSz="914224">
                <a:defRPr/>
              </a:pPr>
              <a:r>
                <a:rPr lang="en-US" sz="3200" kern="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Swarm</a:t>
              </a:r>
              <a:endParaRPr lang="en-US" sz="2000" kern="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DC/OS</a:t>
              </a:r>
              <a:endParaRPr lang="en-US" sz="2000" kern="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r>
                <a:rPr lang="en-US" sz="1836"/>
                <a:t> </a:t>
              </a:r>
            </a:p>
          </p:txBody>
        </p:sp>
        <p:sp>
          <p:nvSpPr>
            <p:cNvPr id="48" name="Rectangle 47"/>
            <p:cNvSpPr/>
            <p:nvPr/>
          </p:nvSpPr>
          <p:spPr>
            <a:xfrm>
              <a:off x="6417613" y="2879286"/>
              <a:ext cx="207221" cy="383880"/>
            </a:xfrm>
            <a:prstGeom prst="rect">
              <a:avLst/>
            </a:prstGeom>
          </p:spPr>
          <p:txBody>
            <a:bodyPr wrap="square">
              <a:spAutoFit/>
            </a:bodyPr>
            <a:lstStyle/>
            <a:p>
              <a:r>
                <a:rPr lang="en-US" sz="1836"/>
                <a:t> </a:t>
              </a:r>
            </a:p>
          </p:txBody>
        </p:sp>
        <p:sp>
          <p:nvSpPr>
            <p:cNvPr id="49" name="Rectangle 48"/>
            <p:cNvSpPr/>
            <p:nvPr/>
          </p:nvSpPr>
          <p:spPr>
            <a:xfrm>
              <a:off x="6417613" y="2879286"/>
              <a:ext cx="207221" cy="383880"/>
            </a:xfrm>
            <a:prstGeom prst="rect">
              <a:avLst/>
            </a:prstGeom>
          </p:spPr>
          <p:txBody>
            <a:bodyPr wrap="square">
              <a:spAutoFit/>
            </a:bodyPr>
            <a:lstStyle/>
            <a:p>
              <a:r>
                <a:rPr lang="en-US" sz="1836"/>
                <a:t> </a:t>
              </a:r>
            </a:p>
          </p:txBody>
        </p:sp>
        <p:sp>
          <p:nvSpPr>
            <p:cNvPr id="50" name="Rectangle 49"/>
            <p:cNvSpPr/>
            <p:nvPr/>
          </p:nvSpPr>
          <p:spPr>
            <a:xfrm>
              <a:off x="6417613" y="2879286"/>
              <a:ext cx="207221" cy="383880"/>
            </a:xfrm>
            <a:prstGeom prst="rect">
              <a:avLst/>
            </a:prstGeom>
          </p:spPr>
          <p:txBody>
            <a:bodyPr wrap="square">
              <a:spAutoFit/>
            </a:bodyPr>
            <a:lstStyle/>
            <a:p>
              <a:r>
                <a:rPr lang="en-US" sz="1836"/>
                <a:t> </a:t>
              </a:r>
            </a:p>
          </p:txBody>
        </p:sp>
        <p:sp>
          <p:nvSpPr>
            <p:cNvPr id="51" name="Rectangle 50"/>
            <p:cNvSpPr/>
            <p:nvPr/>
          </p:nvSpPr>
          <p:spPr>
            <a:xfrm>
              <a:off x="6417613" y="2879286"/>
              <a:ext cx="207221" cy="383880"/>
            </a:xfrm>
            <a:prstGeom prst="rect">
              <a:avLst/>
            </a:prstGeom>
          </p:spPr>
          <p:txBody>
            <a:bodyPr wrap="square">
              <a:spAutoFit/>
            </a:bodyPr>
            <a:lstStyle/>
            <a:p>
              <a:r>
                <a:rPr lang="en-US" sz="1836"/>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54" name="Picture 5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6" y="5455525"/>
              <a:ext cx="1657995"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Kubernetes</a:t>
              </a:r>
              <a:endParaRPr lang="en-US" sz="2000" kern="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pic>
        <p:nvPicPr>
          <p:cNvPr id="73" name="Graphic 72">
            <a:extLst>
              <a:ext uri="{FF2B5EF4-FFF2-40B4-BE49-F238E27FC236}">
                <a16:creationId xmlns:a16="http://schemas.microsoft.com/office/drawing/2014/main" id="{A691DC6A-E5A3-4DDA-890A-C0A8B17FC0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9805" y="5585494"/>
            <a:ext cx="818429" cy="818429"/>
          </a:xfrm>
          <a:prstGeom prst="rect">
            <a:avLst/>
          </a:prstGeom>
        </p:spPr>
      </p:pic>
      <p:pic>
        <p:nvPicPr>
          <p:cNvPr id="74" name="Picture 73">
            <a:extLst>
              <a:ext uri="{FF2B5EF4-FFF2-40B4-BE49-F238E27FC236}">
                <a16:creationId xmlns:a16="http://schemas.microsoft.com/office/drawing/2014/main" id="{20D0DCA4-E48B-48C2-9191-E83053C68856}"/>
              </a:ext>
            </a:extLst>
          </p:cNvPr>
          <p:cNvPicPr>
            <a:picLocks noChangeAspect="1"/>
          </p:cNvPicPr>
          <p:nvPr/>
        </p:nvPicPr>
        <p:blipFill>
          <a:blip r:embed="rId8"/>
          <a:stretch>
            <a:fillRect/>
          </a:stretch>
        </p:blipFill>
        <p:spPr>
          <a:xfrm>
            <a:off x="9154612" y="1160257"/>
            <a:ext cx="1149722" cy="1149722"/>
          </a:xfrm>
          <a:prstGeom prst="rect">
            <a:avLst/>
          </a:prstGeom>
        </p:spPr>
      </p:pic>
    </p:spTree>
    <p:extLst>
      <p:ext uri="{BB962C8B-B14F-4D97-AF65-F5344CB8AC3E}">
        <p14:creationId xmlns:p14="http://schemas.microsoft.com/office/powerpoint/2010/main" val="1800665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1.66965E-6 -3.58602E-6 L -0.05284 -3.58602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30" name="Rounded Rectangle 29"/>
          <p:cNvSpPr/>
          <p:nvPr/>
        </p:nvSpPr>
        <p:spPr bwMode="auto">
          <a:xfrm>
            <a:off x="378619"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
        <p:nvSpPr>
          <p:cNvPr id="5" name="Title 1"/>
          <p:cNvSpPr txBox="1">
            <a:spLocks/>
          </p:cNvSpPr>
          <p:nvPr/>
        </p:nvSpPr>
        <p:spPr>
          <a:xfrm>
            <a:off x="5196077" y="379412"/>
            <a:ext cx="6675437"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a:solidFill>
                  <a:srgbClr val="0072CC"/>
                </a:solidFill>
              </a:rPr>
              <a:t> </a:t>
            </a:r>
            <a:br>
              <a:rPr sz="4400">
                <a:gradFill>
                  <a:gsLst>
                    <a:gs pos="1250">
                      <a:srgbClr val="FFFFFF"/>
                    </a:gs>
                    <a:gs pos="100000">
                      <a:srgbClr val="FFFFFF"/>
                    </a:gs>
                  </a:gsLst>
                  <a:lin ang="5400000" scaled="0"/>
                </a:gradFill>
              </a:rPr>
            </a:br>
            <a:r>
              <a:rPr>
                <a:gradFill>
                  <a:gsLst>
                    <a:gs pos="1250">
                      <a:srgbClr val="FFFFFF"/>
                    </a:gs>
                    <a:gs pos="100000">
                      <a:srgbClr val="FFFFFF"/>
                    </a:gs>
                  </a:gsLst>
                  <a:lin ang="5400000" scaled="0"/>
                </a:gradFill>
              </a:rPr>
              <a:t>Service Fabric</a:t>
            </a:r>
            <a:endParaRPr sz="5400">
              <a:gradFill>
                <a:gsLst>
                  <a:gs pos="125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833135" y="1635266"/>
            <a:ext cx="3721448" cy="3723618"/>
          </a:xfrm>
          <a:prstGeom prst="rect">
            <a:avLst/>
          </a:prstGeom>
        </p:spPr>
      </p:pic>
    </p:spTree>
    <p:extLst>
      <p:ext uri="{BB962C8B-B14F-4D97-AF65-F5344CB8AC3E}">
        <p14:creationId xmlns:p14="http://schemas.microsoft.com/office/powerpoint/2010/main" val="753994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82027E-6 -4.20336E-6 L -0.05284 -4.20336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Containers as Infrastructure (GA)</a:t>
            </a:r>
          </a:p>
        </p:txBody>
      </p:sp>
      <p:sp>
        <p:nvSpPr>
          <p:cNvPr id="3" name="Text Placeholder 2">
            <a:extLst>
              <a:ext uri="{FF2B5EF4-FFF2-40B4-BE49-F238E27FC236}">
                <a16:creationId xmlns:a16="http://schemas.microsoft.com/office/drawing/2014/main" id="{20ED9FBD-121F-4CDA-B408-A50C431C4196}"/>
              </a:ext>
            </a:extLst>
          </p:cNvPr>
          <p:cNvSpPr>
            <a:spLocks noGrp="1"/>
          </p:cNvSpPr>
          <p:nvPr>
            <p:ph type="body" sz="quarter" idx="10"/>
          </p:nvPr>
        </p:nvSpPr>
        <p:spPr>
          <a:xfrm>
            <a:off x="342953" y="1369596"/>
            <a:ext cx="6797568" cy="4912114"/>
          </a:xfrm>
        </p:spPr>
        <p:txBody>
          <a:bodyPr/>
          <a:lstStyle/>
          <a:p>
            <a:pPr marL="571500" indent="-571500">
              <a:buFont typeface="Arial" panose="020B0604020202020204" pitchFamily="34" charset="0"/>
              <a:buChar char="•"/>
            </a:pPr>
            <a:r>
              <a:rPr lang="en-US" sz="3200" dirty="0">
                <a:latin typeface="+mn-lt"/>
              </a:rPr>
              <a:t>Use Azure Container Instances(ACI) to create and manage Docker containers in Azure</a:t>
            </a:r>
          </a:p>
          <a:p>
            <a:pPr marL="571500" indent="-571500">
              <a:buFont typeface="Arial" panose="020B0604020202020204" pitchFamily="34" charset="0"/>
              <a:buChar char="•"/>
            </a:pPr>
            <a:r>
              <a:rPr lang="en-US" sz="3200" dirty="0">
                <a:latin typeface="+mn-lt"/>
              </a:rPr>
              <a:t>Containers as first class resources. No need for provisioning of virtual machines </a:t>
            </a:r>
          </a:p>
          <a:p>
            <a:pPr marL="571500" indent="-571500">
              <a:buFont typeface="Arial" panose="020B0604020202020204" pitchFamily="34" charset="0"/>
              <a:buChar char="•"/>
            </a:pPr>
            <a:r>
              <a:rPr lang="en-US" sz="3200" dirty="0">
                <a:latin typeface="+mn-lt"/>
              </a:rPr>
              <a:t>Exposed to the internet with a public IP address </a:t>
            </a:r>
          </a:p>
          <a:p>
            <a:pPr marL="571500" indent="-571500">
              <a:buFont typeface="Arial" panose="020B0604020202020204" pitchFamily="34" charset="0"/>
              <a:buChar char="•"/>
            </a:pPr>
            <a:r>
              <a:rPr lang="en-US" sz="3200" dirty="0">
                <a:latin typeface="+mn-lt"/>
              </a:rPr>
              <a:t>Per second billing</a:t>
            </a:r>
          </a:p>
        </p:txBody>
      </p:sp>
      <p:pic>
        <p:nvPicPr>
          <p:cNvPr id="4" name="Picture 3">
            <a:extLst>
              <a:ext uri="{FF2B5EF4-FFF2-40B4-BE49-F238E27FC236}">
                <a16:creationId xmlns:a16="http://schemas.microsoft.com/office/drawing/2014/main" id="{9F0579EF-4A29-45D0-A966-5AFD2E4184C7}"/>
              </a:ext>
            </a:extLst>
          </p:cNvPr>
          <p:cNvPicPr>
            <a:picLocks noChangeAspect="1"/>
          </p:cNvPicPr>
          <p:nvPr/>
        </p:nvPicPr>
        <p:blipFill>
          <a:blip r:embed="rId3"/>
          <a:stretch>
            <a:fillRect/>
          </a:stretch>
        </p:blipFill>
        <p:spPr>
          <a:xfrm>
            <a:off x="7478330" y="1287462"/>
            <a:ext cx="4669557" cy="3505200"/>
          </a:xfrm>
          <a:prstGeom prst="rect">
            <a:avLst/>
          </a:prstGeom>
        </p:spPr>
      </p:pic>
    </p:spTree>
    <p:extLst>
      <p:ext uri="{BB962C8B-B14F-4D97-AF65-F5344CB8AC3E}">
        <p14:creationId xmlns:p14="http://schemas.microsoft.com/office/powerpoint/2010/main" val="24149382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Reserved Virtual Machine Instances (GA)</a:t>
            </a:r>
          </a:p>
        </p:txBody>
      </p:sp>
      <p:sp>
        <p:nvSpPr>
          <p:cNvPr id="4" name="Text Placeholder 3">
            <a:extLst>
              <a:ext uri="{FF2B5EF4-FFF2-40B4-BE49-F238E27FC236}">
                <a16:creationId xmlns:a16="http://schemas.microsoft.com/office/drawing/2014/main" id="{928DBB5D-6991-4687-A5DB-4568AC901C6D}"/>
              </a:ext>
            </a:extLst>
          </p:cNvPr>
          <p:cNvSpPr>
            <a:spLocks noGrp="1"/>
          </p:cNvSpPr>
          <p:nvPr>
            <p:ph type="body" sz="quarter" idx="10"/>
          </p:nvPr>
        </p:nvSpPr>
        <p:spPr>
          <a:xfrm>
            <a:off x="274638" y="1212850"/>
            <a:ext cx="7924799" cy="5053691"/>
          </a:xfrm>
        </p:spPr>
        <p:txBody>
          <a:bodyPr/>
          <a:lstStyle/>
          <a:p>
            <a:pPr marL="571500" indent="-571500">
              <a:buFont typeface="Arial" panose="020B0604020202020204" pitchFamily="34" charset="0"/>
              <a:buChar char="•"/>
            </a:pPr>
            <a:r>
              <a:rPr lang="en-US" sz="2800" dirty="0">
                <a:latin typeface="+mn-lt"/>
              </a:rPr>
              <a:t>Upfront commitment - Reserved Instances (RIs) in three easy steps</a:t>
            </a:r>
          </a:p>
          <a:p>
            <a:pPr marL="800100" lvl="1" indent="-571500">
              <a:buFont typeface="Arial" panose="020B0604020202020204" pitchFamily="34" charset="0"/>
              <a:buChar char="•"/>
            </a:pPr>
            <a:r>
              <a:rPr lang="en-US" dirty="0"/>
              <a:t>Specify your Azure region</a:t>
            </a:r>
          </a:p>
          <a:p>
            <a:pPr marL="800100" lvl="1" indent="-571500">
              <a:buFont typeface="Arial" panose="020B0604020202020204" pitchFamily="34" charset="0"/>
              <a:buChar char="•"/>
            </a:pPr>
            <a:r>
              <a:rPr lang="en-US" dirty="0"/>
              <a:t>Virtual machine type</a:t>
            </a:r>
          </a:p>
          <a:p>
            <a:pPr marL="800100" lvl="1" indent="-571500">
              <a:buFont typeface="Arial" panose="020B0604020202020204" pitchFamily="34" charset="0"/>
              <a:buChar char="•"/>
            </a:pPr>
            <a:r>
              <a:rPr lang="en-US" dirty="0"/>
              <a:t>Term (one year or three years) </a:t>
            </a:r>
          </a:p>
          <a:p>
            <a:pPr marL="571500" indent="-571500">
              <a:buFont typeface="Arial" panose="020B0604020202020204" pitchFamily="34" charset="0"/>
              <a:buChar char="•"/>
            </a:pPr>
            <a:r>
              <a:rPr lang="en-US" sz="2800" dirty="0">
                <a:latin typeface="+mn-lt"/>
              </a:rPr>
              <a:t>Provides flexibility </a:t>
            </a:r>
          </a:p>
          <a:p>
            <a:pPr marL="800100" lvl="1" indent="-571500">
              <a:buFont typeface="Arial" panose="020B0604020202020204" pitchFamily="34" charset="0"/>
              <a:buChar char="•"/>
            </a:pPr>
            <a:r>
              <a:rPr lang="en-US" dirty="0"/>
              <a:t>Exchange or cancel Reserved Instances at any time</a:t>
            </a:r>
          </a:p>
          <a:p>
            <a:pPr marL="800100" lvl="1" indent="-571500">
              <a:buFont typeface="Arial" panose="020B0604020202020204" pitchFamily="34" charset="0"/>
              <a:buChar char="•"/>
            </a:pPr>
            <a:r>
              <a:rPr lang="en-US" dirty="0"/>
              <a:t>Exchange across any region and any series</a:t>
            </a:r>
          </a:p>
          <a:p>
            <a:pPr marL="800100" lvl="1" indent="-571500">
              <a:buFont typeface="Arial" panose="020B0604020202020204" pitchFamily="34" charset="0"/>
              <a:buChar char="•"/>
            </a:pPr>
            <a:r>
              <a:rPr lang="en-US" dirty="0"/>
              <a:t>Cancel at any time in the reservation term for an adjusted refund</a:t>
            </a:r>
          </a:p>
        </p:txBody>
      </p:sp>
      <p:pic>
        <p:nvPicPr>
          <p:cNvPr id="3" name="Picture 2">
            <a:extLst>
              <a:ext uri="{FF2B5EF4-FFF2-40B4-BE49-F238E27FC236}">
                <a16:creationId xmlns:a16="http://schemas.microsoft.com/office/drawing/2014/main" id="{C37829AC-2A36-43ED-AA95-A2349F305A45}"/>
              </a:ext>
            </a:extLst>
          </p:cNvPr>
          <p:cNvPicPr>
            <a:picLocks noChangeAspect="1"/>
          </p:cNvPicPr>
          <p:nvPr/>
        </p:nvPicPr>
        <p:blipFill>
          <a:blip r:embed="rId3"/>
          <a:stretch>
            <a:fillRect/>
          </a:stretch>
        </p:blipFill>
        <p:spPr>
          <a:xfrm>
            <a:off x="8351837" y="1668462"/>
            <a:ext cx="3794892" cy="3062287"/>
          </a:xfrm>
          <a:prstGeom prst="rect">
            <a:avLst/>
          </a:prstGeom>
        </p:spPr>
      </p:pic>
    </p:spTree>
    <p:extLst>
      <p:ext uri="{BB962C8B-B14F-4D97-AF65-F5344CB8AC3E}">
        <p14:creationId xmlns:p14="http://schemas.microsoft.com/office/powerpoint/2010/main" val="249277873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249D5F-F42D-46CE-8E63-214813CD759F}"/>
              </a:ext>
            </a:extLst>
          </p:cNvPr>
          <p:cNvSpPr/>
          <p:nvPr/>
        </p:nvSpPr>
        <p:spPr>
          <a:xfrm>
            <a:off x="378137" y="1955523"/>
            <a:ext cx="1462833" cy="355738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002050">
                    <a:lumMod val="75000"/>
                    <a:lumOff val="25000"/>
                  </a:srgbClr>
                </a:solidFill>
                <a:latin typeface="Segoe UI"/>
              </a:rPr>
              <a:t>AWS</a:t>
            </a:r>
          </a:p>
          <a:p>
            <a:pPr algn="ctr" defTabSz="932597">
              <a:defRPr/>
            </a:pPr>
            <a:r>
              <a:rPr lang="en-US" dirty="0">
                <a:solidFill>
                  <a:srgbClr val="002050">
                    <a:lumMod val="75000"/>
                    <a:lumOff val="25000"/>
                  </a:srgbClr>
                </a:solidFill>
                <a:latin typeface="Segoe UI"/>
              </a:rPr>
              <a:t>Standard RI</a:t>
            </a:r>
          </a:p>
          <a:p>
            <a:pPr algn="ctr" defTabSz="932597">
              <a:defRPr/>
            </a:pPr>
            <a:r>
              <a:rPr lang="en-US" dirty="0">
                <a:solidFill>
                  <a:srgbClr val="FFFFFF"/>
                </a:solidFill>
                <a:latin typeface="Segoe UI"/>
              </a:rPr>
              <a:t>r4.xlarge</a:t>
            </a:r>
          </a:p>
          <a:p>
            <a:pPr algn="ctr" defTabSz="932597">
              <a:defRPr/>
            </a:pPr>
            <a:r>
              <a:rPr lang="en-US" dirty="0">
                <a:solidFill>
                  <a:srgbClr val="FFFFFF"/>
                </a:solidFill>
                <a:latin typeface="Segoe UI"/>
              </a:rPr>
              <a:t>Windows</a:t>
            </a:r>
          </a:p>
          <a:p>
            <a:pPr algn="ctr" defTabSz="932597">
              <a:defRPr/>
            </a:pPr>
            <a:r>
              <a:rPr lang="en-US" dirty="0">
                <a:solidFill>
                  <a:srgbClr val="FFFFFF"/>
                </a:solidFill>
                <a:latin typeface="Segoe UI"/>
              </a:rPr>
              <a:t>US West (Oregon)</a:t>
            </a:r>
          </a:p>
        </p:txBody>
      </p:sp>
      <p:sp>
        <p:nvSpPr>
          <p:cNvPr id="7" name="TextBox 6">
            <a:extLst>
              <a:ext uri="{FF2B5EF4-FFF2-40B4-BE49-F238E27FC236}">
                <a16:creationId xmlns:a16="http://schemas.microsoft.com/office/drawing/2014/main" id="{8DDB7EFE-34FC-4D97-9F17-D2580B5D63B3}"/>
              </a:ext>
            </a:extLst>
          </p:cNvPr>
          <p:cNvSpPr txBox="1"/>
          <p:nvPr/>
        </p:nvSpPr>
        <p:spPr>
          <a:xfrm>
            <a:off x="261173" y="5512910"/>
            <a:ext cx="1693318" cy="478442"/>
          </a:xfrm>
          <a:prstGeom prst="rect">
            <a:avLst/>
          </a:prstGeom>
          <a:noFill/>
        </p:spPr>
        <p:txBody>
          <a:bodyPr wrap="square" rtlCol="0">
            <a:spAutoFit/>
          </a:bodyPr>
          <a:lstStyle/>
          <a:p>
            <a:pPr algn="ctr" defTabSz="932597">
              <a:defRPr/>
            </a:pPr>
            <a:r>
              <a:rPr lang="en-US" sz="1224" dirty="0">
                <a:solidFill>
                  <a:srgbClr val="FFFFFF"/>
                </a:solidFill>
                <a:latin typeface="Segoe UI"/>
              </a:rPr>
              <a:t>3-year paid upfront Reserved Instance</a:t>
            </a:r>
          </a:p>
        </p:txBody>
      </p:sp>
      <p:sp>
        <p:nvSpPr>
          <p:cNvPr id="8" name="Rectangle 7">
            <a:extLst>
              <a:ext uri="{FF2B5EF4-FFF2-40B4-BE49-F238E27FC236}">
                <a16:creationId xmlns:a16="http://schemas.microsoft.com/office/drawing/2014/main" id="{77889BE1-4286-447A-A332-C7586EED5466}"/>
              </a:ext>
            </a:extLst>
          </p:cNvPr>
          <p:cNvSpPr/>
          <p:nvPr/>
        </p:nvSpPr>
        <p:spPr>
          <a:xfrm>
            <a:off x="3525521" y="4127367"/>
            <a:ext cx="1462833" cy="14050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FFFFFF"/>
                </a:solidFill>
                <a:latin typeface="Segoe UI"/>
              </a:rPr>
              <a:t>AZURE</a:t>
            </a:r>
          </a:p>
          <a:p>
            <a:pPr algn="ctr" defTabSz="932597">
              <a:defRPr/>
            </a:pPr>
            <a:r>
              <a:rPr lang="en-US" dirty="0">
                <a:solidFill>
                  <a:srgbClr val="FFFFFF"/>
                </a:solidFill>
                <a:latin typeface="Segoe UI"/>
              </a:rPr>
              <a:t>E4v3 Windows</a:t>
            </a:r>
          </a:p>
          <a:p>
            <a:pPr algn="ctr" defTabSz="932597">
              <a:defRPr/>
            </a:pPr>
            <a:r>
              <a:rPr lang="en-US" dirty="0">
                <a:solidFill>
                  <a:srgbClr val="FFFFFF"/>
                </a:solidFill>
                <a:latin typeface="Segoe UI"/>
              </a:rPr>
              <a:t>(US West 2)</a:t>
            </a:r>
          </a:p>
        </p:txBody>
      </p:sp>
      <p:sp>
        <p:nvSpPr>
          <p:cNvPr id="9" name="TextBox 8">
            <a:extLst>
              <a:ext uri="{FF2B5EF4-FFF2-40B4-BE49-F238E27FC236}">
                <a16:creationId xmlns:a16="http://schemas.microsoft.com/office/drawing/2014/main" id="{01027316-495F-4C9D-BCE9-396DA6C0BC02}"/>
              </a:ext>
            </a:extLst>
          </p:cNvPr>
          <p:cNvSpPr txBox="1"/>
          <p:nvPr/>
        </p:nvSpPr>
        <p:spPr>
          <a:xfrm>
            <a:off x="403612" y="1518678"/>
            <a:ext cx="1483456" cy="376684"/>
          </a:xfrm>
          <a:prstGeom prst="rect">
            <a:avLst/>
          </a:prstGeom>
          <a:noFill/>
        </p:spPr>
        <p:txBody>
          <a:bodyPr wrap="none" rtlCol="0">
            <a:spAutoFit/>
          </a:bodyPr>
          <a:lstStyle/>
          <a:p>
            <a:pPr defTabSz="932597">
              <a:defRPr/>
            </a:pPr>
            <a:r>
              <a:rPr lang="en-US" dirty="0">
                <a:solidFill>
                  <a:srgbClr val="FFFFFF"/>
                </a:solidFill>
                <a:latin typeface="Segoe UI"/>
              </a:rPr>
              <a:t>Total: $7,464</a:t>
            </a:r>
          </a:p>
        </p:txBody>
      </p:sp>
      <p:sp>
        <p:nvSpPr>
          <p:cNvPr id="10" name="TextBox 9">
            <a:extLst>
              <a:ext uri="{FF2B5EF4-FFF2-40B4-BE49-F238E27FC236}">
                <a16:creationId xmlns:a16="http://schemas.microsoft.com/office/drawing/2014/main" id="{46C68E98-7BDA-4E48-955A-D97480E6B966}"/>
              </a:ext>
            </a:extLst>
          </p:cNvPr>
          <p:cNvSpPr txBox="1"/>
          <p:nvPr/>
        </p:nvSpPr>
        <p:spPr>
          <a:xfrm>
            <a:off x="6014790" y="5512910"/>
            <a:ext cx="1681600" cy="1169551"/>
          </a:xfrm>
          <a:prstGeom prst="rect">
            <a:avLst/>
          </a:prstGeom>
          <a:noFill/>
        </p:spPr>
        <p:txBody>
          <a:bodyPr wrap="square" rtlCol="0">
            <a:spAutoFit/>
          </a:bodyPr>
          <a:lstStyle/>
          <a:p>
            <a:pPr algn="ctr" defTabSz="932597">
              <a:defRPr/>
            </a:pPr>
            <a:r>
              <a:rPr lang="en-US" sz="1400" b="1" dirty="0">
                <a:solidFill>
                  <a:schemeClr val="accent4"/>
                </a:solidFill>
                <a:latin typeface="Segoe UI"/>
              </a:rPr>
              <a:t>3-year Reserved Virtual Machine Instance + Azure Hybrid Benefit for Windows</a:t>
            </a:r>
          </a:p>
        </p:txBody>
      </p:sp>
      <p:sp>
        <p:nvSpPr>
          <p:cNvPr id="11" name="Title 1">
            <a:extLst>
              <a:ext uri="{FF2B5EF4-FFF2-40B4-BE49-F238E27FC236}">
                <a16:creationId xmlns:a16="http://schemas.microsoft.com/office/drawing/2014/main" id="{9E8DE957-BFB2-4EC4-AC1B-E40589FE91A3}"/>
              </a:ext>
            </a:extLst>
          </p:cNvPr>
          <p:cNvSpPr txBox="1">
            <a:spLocks/>
          </p:cNvSpPr>
          <p:nvPr/>
        </p:nvSpPr>
        <p:spPr>
          <a:xfrm>
            <a:off x="286648" y="34033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dirty="0">
                <a:solidFill>
                  <a:srgbClr val="FFFFFF"/>
                </a:solidFill>
                <a:latin typeface="Segoe UI Light"/>
              </a:rPr>
              <a:t>Compared to AWS</a:t>
            </a:r>
          </a:p>
        </p:txBody>
      </p:sp>
      <p:sp>
        <p:nvSpPr>
          <p:cNvPr id="12" name="TextBox 11">
            <a:extLst>
              <a:ext uri="{FF2B5EF4-FFF2-40B4-BE49-F238E27FC236}">
                <a16:creationId xmlns:a16="http://schemas.microsoft.com/office/drawing/2014/main" id="{7B40ABF0-4745-4F5D-9774-E26BCA10E38D}"/>
              </a:ext>
            </a:extLst>
          </p:cNvPr>
          <p:cNvSpPr txBox="1"/>
          <p:nvPr/>
        </p:nvSpPr>
        <p:spPr>
          <a:xfrm>
            <a:off x="3410279" y="5532387"/>
            <a:ext cx="1693318" cy="862712"/>
          </a:xfrm>
          <a:prstGeom prst="rect">
            <a:avLst/>
          </a:prstGeom>
          <a:noFill/>
        </p:spPr>
        <p:txBody>
          <a:bodyPr wrap="square" rtlCol="0">
            <a:spAutoFit/>
          </a:bodyPr>
          <a:lstStyle/>
          <a:p>
            <a:pPr algn="ctr" defTabSz="932597">
              <a:defRPr/>
            </a:pPr>
            <a:r>
              <a:rPr lang="en-US" sz="1224" dirty="0">
                <a:solidFill>
                  <a:srgbClr val="FFFFFF"/>
                </a:solidFill>
                <a:latin typeface="Segoe UI"/>
              </a:rPr>
              <a:t>3-year Reserved Virtual Machine Instance + Windows Server</a:t>
            </a:r>
          </a:p>
        </p:txBody>
      </p:sp>
      <p:sp>
        <p:nvSpPr>
          <p:cNvPr id="13" name="TextBox 12">
            <a:extLst>
              <a:ext uri="{FF2B5EF4-FFF2-40B4-BE49-F238E27FC236}">
                <a16:creationId xmlns:a16="http://schemas.microsoft.com/office/drawing/2014/main" id="{B3A88B51-4B3E-41B8-B017-20878B4686A1}"/>
              </a:ext>
            </a:extLst>
          </p:cNvPr>
          <p:cNvSpPr txBox="1"/>
          <p:nvPr/>
        </p:nvSpPr>
        <p:spPr>
          <a:xfrm>
            <a:off x="3554439" y="1516277"/>
            <a:ext cx="1483456" cy="376684"/>
          </a:xfrm>
          <a:prstGeom prst="rect">
            <a:avLst/>
          </a:prstGeom>
          <a:noFill/>
        </p:spPr>
        <p:txBody>
          <a:bodyPr wrap="none" rtlCol="0">
            <a:spAutoFit/>
          </a:bodyPr>
          <a:lstStyle/>
          <a:p>
            <a:pPr defTabSz="932597">
              <a:defRPr/>
            </a:pPr>
            <a:r>
              <a:rPr lang="en-US" dirty="0">
                <a:solidFill>
                  <a:srgbClr val="FFFFFF"/>
                </a:solidFill>
                <a:latin typeface="Segoe UI"/>
              </a:rPr>
              <a:t>Total: $7,464</a:t>
            </a:r>
          </a:p>
        </p:txBody>
      </p:sp>
      <p:sp>
        <p:nvSpPr>
          <p:cNvPr id="14" name="Rectangle 13">
            <a:extLst>
              <a:ext uri="{FF2B5EF4-FFF2-40B4-BE49-F238E27FC236}">
                <a16:creationId xmlns:a16="http://schemas.microsoft.com/office/drawing/2014/main" id="{B59C86F9-299D-4B8A-8C5F-0D37D4647339}"/>
              </a:ext>
            </a:extLst>
          </p:cNvPr>
          <p:cNvSpPr/>
          <p:nvPr/>
        </p:nvSpPr>
        <p:spPr>
          <a:xfrm>
            <a:off x="6124174" y="4127368"/>
            <a:ext cx="1462833" cy="14050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632" dirty="0">
                <a:solidFill>
                  <a:srgbClr val="FFFFFF"/>
                </a:solidFill>
                <a:latin typeface="Segoe UI"/>
              </a:rPr>
              <a:t>AZURE</a:t>
            </a:r>
          </a:p>
          <a:p>
            <a:pPr algn="ctr" defTabSz="932597">
              <a:defRPr/>
            </a:pPr>
            <a:r>
              <a:rPr lang="en-US" sz="1632" dirty="0">
                <a:solidFill>
                  <a:srgbClr val="FFFFFF"/>
                </a:solidFill>
                <a:latin typeface="Segoe UI"/>
              </a:rPr>
              <a:t>E4v3 Windows</a:t>
            </a:r>
          </a:p>
          <a:p>
            <a:pPr algn="ctr" defTabSz="932597">
              <a:defRPr/>
            </a:pPr>
            <a:r>
              <a:rPr lang="en-US" sz="1632" dirty="0">
                <a:solidFill>
                  <a:srgbClr val="FFFFFF"/>
                </a:solidFill>
                <a:latin typeface="Segoe UI"/>
              </a:rPr>
              <a:t>(US West 2)</a:t>
            </a:r>
          </a:p>
        </p:txBody>
      </p:sp>
      <p:sp>
        <p:nvSpPr>
          <p:cNvPr id="15" name="Right Brace 14">
            <a:extLst>
              <a:ext uri="{FF2B5EF4-FFF2-40B4-BE49-F238E27FC236}">
                <a16:creationId xmlns:a16="http://schemas.microsoft.com/office/drawing/2014/main" id="{3FA895B6-F14A-4200-8D32-6241818BF44C}"/>
              </a:ext>
            </a:extLst>
          </p:cNvPr>
          <p:cNvSpPr/>
          <p:nvPr/>
        </p:nvSpPr>
        <p:spPr>
          <a:xfrm>
            <a:off x="7620032" y="3763849"/>
            <a:ext cx="169210" cy="306126"/>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16" name="TextBox 15">
            <a:extLst>
              <a:ext uri="{FF2B5EF4-FFF2-40B4-BE49-F238E27FC236}">
                <a16:creationId xmlns:a16="http://schemas.microsoft.com/office/drawing/2014/main" id="{9F098C45-717D-4A69-8A01-46A5B27EEC6F}"/>
              </a:ext>
            </a:extLst>
          </p:cNvPr>
          <p:cNvSpPr txBox="1"/>
          <p:nvPr/>
        </p:nvSpPr>
        <p:spPr>
          <a:xfrm>
            <a:off x="7770360" y="3734215"/>
            <a:ext cx="803283" cy="376684"/>
          </a:xfrm>
          <a:prstGeom prst="rect">
            <a:avLst/>
          </a:prstGeom>
          <a:noFill/>
        </p:spPr>
        <p:txBody>
          <a:bodyPr wrap="square" rtlCol="0">
            <a:spAutoFit/>
          </a:bodyPr>
          <a:lstStyle/>
          <a:p>
            <a:pPr algn="ctr" defTabSz="932597">
              <a:defRPr/>
            </a:pPr>
            <a:r>
              <a:rPr lang="en-US" dirty="0">
                <a:solidFill>
                  <a:srgbClr val="FFFFFF"/>
                </a:solidFill>
                <a:latin typeface="Segoe UI"/>
              </a:rPr>
              <a:t>$252</a:t>
            </a:r>
          </a:p>
        </p:txBody>
      </p:sp>
      <p:sp>
        <p:nvSpPr>
          <p:cNvPr id="18" name="Right Brace 17">
            <a:extLst>
              <a:ext uri="{FF2B5EF4-FFF2-40B4-BE49-F238E27FC236}">
                <a16:creationId xmlns:a16="http://schemas.microsoft.com/office/drawing/2014/main" id="{D0AF79BB-5507-4792-A0CB-AF0DFD2350B1}"/>
              </a:ext>
            </a:extLst>
          </p:cNvPr>
          <p:cNvSpPr/>
          <p:nvPr/>
        </p:nvSpPr>
        <p:spPr>
          <a:xfrm>
            <a:off x="7620032" y="4198623"/>
            <a:ext cx="169210" cy="1240740"/>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19" name="TextBox 18">
            <a:extLst>
              <a:ext uri="{FF2B5EF4-FFF2-40B4-BE49-F238E27FC236}">
                <a16:creationId xmlns:a16="http://schemas.microsoft.com/office/drawing/2014/main" id="{BF38442D-B0DF-4644-BC47-F61C2E0BE25B}"/>
              </a:ext>
            </a:extLst>
          </p:cNvPr>
          <p:cNvSpPr txBox="1"/>
          <p:nvPr/>
        </p:nvSpPr>
        <p:spPr>
          <a:xfrm>
            <a:off x="7791138" y="4633397"/>
            <a:ext cx="876642" cy="376684"/>
          </a:xfrm>
          <a:prstGeom prst="rect">
            <a:avLst/>
          </a:prstGeom>
          <a:noFill/>
        </p:spPr>
        <p:txBody>
          <a:bodyPr wrap="none" rtlCol="0">
            <a:spAutoFit/>
          </a:bodyPr>
          <a:lstStyle/>
          <a:p>
            <a:pPr defTabSz="932597">
              <a:defRPr/>
            </a:pPr>
            <a:r>
              <a:rPr lang="en-US" dirty="0">
                <a:solidFill>
                  <a:srgbClr val="FFFFFF"/>
                </a:solidFill>
                <a:latin typeface="Segoe UI"/>
              </a:rPr>
              <a:t>$2,628</a:t>
            </a:r>
          </a:p>
        </p:txBody>
      </p:sp>
      <p:sp>
        <p:nvSpPr>
          <p:cNvPr id="20" name="TextBox 19">
            <a:extLst>
              <a:ext uri="{FF2B5EF4-FFF2-40B4-BE49-F238E27FC236}">
                <a16:creationId xmlns:a16="http://schemas.microsoft.com/office/drawing/2014/main" id="{3358E16D-83CC-4DCA-A517-87B6FECFE2C6}"/>
              </a:ext>
            </a:extLst>
          </p:cNvPr>
          <p:cNvSpPr txBox="1"/>
          <p:nvPr/>
        </p:nvSpPr>
        <p:spPr>
          <a:xfrm>
            <a:off x="5984216" y="3247869"/>
            <a:ext cx="1742748" cy="376684"/>
          </a:xfrm>
          <a:prstGeom prst="rect">
            <a:avLst/>
          </a:prstGeom>
          <a:noFill/>
        </p:spPr>
        <p:txBody>
          <a:bodyPr wrap="square" rtlCol="0">
            <a:spAutoFit/>
          </a:bodyPr>
          <a:lstStyle/>
          <a:p>
            <a:pPr algn="ctr" defTabSz="932597">
              <a:defRPr/>
            </a:pPr>
            <a:r>
              <a:rPr lang="en-US" b="1" dirty="0">
                <a:solidFill>
                  <a:srgbClr val="FF0000"/>
                </a:solidFill>
                <a:latin typeface="Segoe UI"/>
              </a:rPr>
              <a:t>Total: $2,880</a:t>
            </a:r>
          </a:p>
        </p:txBody>
      </p:sp>
      <p:sp>
        <p:nvSpPr>
          <p:cNvPr id="21" name="TextBox 20">
            <a:extLst>
              <a:ext uri="{FF2B5EF4-FFF2-40B4-BE49-F238E27FC236}">
                <a16:creationId xmlns:a16="http://schemas.microsoft.com/office/drawing/2014/main" id="{FF8D59D2-2336-4FB8-A358-715467FB0915}"/>
              </a:ext>
            </a:extLst>
          </p:cNvPr>
          <p:cNvSpPr txBox="1"/>
          <p:nvPr/>
        </p:nvSpPr>
        <p:spPr>
          <a:xfrm>
            <a:off x="151748" y="6472950"/>
            <a:ext cx="4407906" cy="869710"/>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020" dirty="0">
                <a:solidFill>
                  <a:srgbClr val="FFFFFF"/>
                </a:solidFill>
                <a:latin typeface="Segoe UI"/>
              </a:rPr>
              <a:t>*(2) 2-core Windows Server Standard Open Value Subscription</a:t>
            </a:r>
          </a:p>
          <a:p>
            <a:pPr defTabSz="932597">
              <a:lnSpc>
                <a:spcPct val="90000"/>
              </a:lnSpc>
              <a:spcAft>
                <a:spcPts val="612"/>
              </a:spcAft>
              <a:defRPr/>
            </a:pPr>
            <a:endParaRPr lang="en-US" sz="2448" dirty="0" err="1">
              <a:solidFill>
                <a:srgbClr val="FFFFFF"/>
              </a:solidFill>
              <a:latin typeface="Segoe UI"/>
            </a:endParaRPr>
          </a:p>
        </p:txBody>
      </p:sp>
      <p:sp>
        <p:nvSpPr>
          <p:cNvPr id="22" name="Rectangle 21">
            <a:extLst>
              <a:ext uri="{FF2B5EF4-FFF2-40B4-BE49-F238E27FC236}">
                <a16:creationId xmlns:a16="http://schemas.microsoft.com/office/drawing/2014/main" id="{DDB94AAF-F9E3-456F-9653-A34A5DF2A3F7}"/>
              </a:ext>
            </a:extLst>
          </p:cNvPr>
          <p:cNvSpPr/>
          <p:nvPr/>
        </p:nvSpPr>
        <p:spPr>
          <a:xfrm>
            <a:off x="1978085" y="1603809"/>
            <a:ext cx="1462833" cy="392857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002050">
                    <a:lumMod val="75000"/>
                    <a:lumOff val="25000"/>
                  </a:srgbClr>
                </a:solidFill>
                <a:latin typeface="Segoe UI"/>
              </a:rPr>
              <a:t>AWS</a:t>
            </a:r>
          </a:p>
          <a:p>
            <a:pPr algn="ctr" defTabSz="932597">
              <a:defRPr/>
            </a:pPr>
            <a:r>
              <a:rPr lang="en-US" dirty="0">
                <a:solidFill>
                  <a:srgbClr val="002050">
                    <a:lumMod val="75000"/>
                    <a:lumOff val="25000"/>
                  </a:srgbClr>
                </a:solidFill>
                <a:latin typeface="Segoe UI"/>
              </a:rPr>
              <a:t>Convertible RI</a:t>
            </a:r>
          </a:p>
          <a:p>
            <a:pPr algn="ctr" defTabSz="932597">
              <a:defRPr/>
            </a:pPr>
            <a:r>
              <a:rPr lang="en-US" dirty="0">
                <a:solidFill>
                  <a:srgbClr val="FFFFFF"/>
                </a:solidFill>
                <a:latin typeface="Segoe UI"/>
              </a:rPr>
              <a:t>r4.xlarge</a:t>
            </a:r>
          </a:p>
          <a:p>
            <a:pPr algn="ctr" defTabSz="932597">
              <a:defRPr/>
            </a:pPr>
            <a:r>
              <a:rPr lang="en-US" dirty="0">
                <a:solidFill>
                  <a:srgbClr val="FFFFFF"/>
                </a:solidFill>
                <a:latin typeface="Segoe UI"/>
              </a:rPr>
              <a:t>Windows</a:t>
            </a:r>
          </a:p>
          <a:p>
            <a:pPr algn="ctr" defTabSz="932597">
              <a:defRPr/>
            </a:pPr>
            <a:r>
              <a:rPr lang="en-US" dirty="0">
                <a:solidFill>
                  <a:srgbClr val="FFFFFF"/>
                </a:solidFill>
                <a:latin typeface="Segoe UI"/>
              </a:rPr>
              <a:t>US West (Oregon)</a:t>
            </a:r>
          </a:p>
        </p:txBody>
      </p:sp>
      <p:sp>
        <p:nvSpPr>
          <p:cNvPr id="23" name="TextBox 22">
            <a:extLst>
              <a:ext uri="{FF2B5EF4-FFF2-40B4-BE49-F238E27FC236}">
                <a16:creationId xmlns:a16="http://schemas.microsoft.com/office/drawing/2014/main" id="{F891C470-64A3-4F23-BD8D-3397AD5F2262}"/>
              </a:ext>
            </a:extLst>
          </p:cNvPr>
          <p:cNvSpPr txBox="1"/>
          <p:nvPr/>
        </p:nvSpPr>
        <p:spPr>
          <a:xfrm>
            <a:off x="1861121" y="5532387"/>
            <a:ext cx="1693318" cy="670577"/>
          </a:xfrm>
          <a:prstGeom prst="rect">
            <a:avLst/>
          </a:prstGeom>
          <a:noFill/>
        </p:spPr>
        <p:txBody>
          <a:bodyPr wrap="square" rtlCol="0">
            <a:spAutoFit/>
          </a:bodyPr>
          <a:lstStyle/>
          <a:p>
            <a:pPr algn="ctr" defTabSz="932597">
              <a:defRPr/>
            </a:pPr>
            <a:r>
              <a:rPr lang="en-US" sz="1224" dirty="0">
                <a:solidFill>
                  <a:srgbClr val="FFFFFF"/>
                </a:solidFill>
                <a:latin typeface="Segoe UI"/>
              </a:rPr>
              <a:t>3-year paid upfront Convertible Reserved Instance</a:t>
            </a:r>
          </a:p>
        </p:txBody>
      </p:sp>
      <p:sp>
        <p:nvSpPr>
          <p:cNvPr id="24" name="TextBox 23">
            <a:extLst>
              <a:ext uri="{FF2B5EF4-FFF2-40B4-BE49-F238E27FC236}">
                <a16:creationId xmlns:a16="http://schemas.microsoft.com/office/drawing/2014/main" id="{3E4E6601-ADDF-4BB7-BEA3-213168E5D1EB}"/>
              </a:ext>
            </a:extLst>
          </p:cNvPr>
          <p:cNvSpPr txBox="1"/>
          <p:nvPr/>
        </p:nvSpPr>
        <p:spPr>
          <a:xfrm>
            <a:off x="2007003" y="1197256"/>
            <a:ext cx="1483456" cy="376684"/>
          </a:xfrm>
          <a:prstGeom prst="rect">
            <a:avLst/>
          </a:prstGeom>
          <a:noFill/>
        </p:spPr>
        <p:txBody>
          <a:bodyPr wrap="none" rtlCol="0">
            <a:spAutoFit/>
          </a:bodyPr>
          <a:lstStyle/>
          <a:p>
            <a:pPr defTabSz="932597">
              <a:defRPr/>
            </a:pPr>
            <a:r>
              <a:rPr lang="en-US" dirty="0">
                <a:solidFill>
                  <a:srgbClr val="FFFFFF"/>
                </a:solidFill>
                <a:latin typeface="Segoe UI"/>
              </a:rPr>
              <a:t>Total: $7,974</a:t>
            </a:r>
          </a:p>
        </p:txBody>
      </p:sp>
      <p:sp>
        <p:nvSpPr>
          <p:cNvPr id="25" name="Rectangle 24">
            <a:extLst>
              <a:ext uri="{FF2B5EF4-FFF2-40B4-BE49-F238E27FC236}">
                <a16:creationId xmlns:a16="http://schemas.microsoft.com/office/drawing/2014/main" id="{68EF363D-B7B9-440A-9534-26F7F09C2106}"/>
              </a:ext>
            </a:extLst>
          </p:cNvPr>
          <p:cNvSpPr/>
          <p:nvPr/>
        </p:nvSpPr>
        <p:spPr>
          <a:xfrm>
            <a:off x="3525521" y="1955523"/>
            <a:ext cx="1462833" cy="217184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FFFFFF"/>
                </a:solidFill>
                <a:latin typeface="Segoe UI"/>
              </a:rPr>
              <a:t>Windows Server</a:t>
            </a:r>
          </a:p>
          <a:p>
            <a:pPr algn="ctr" defTabSz="932597">
              <a:defRPr/>
            </a:pPr>
            <a:r>
              <a:rPr lang="en-US" dirty="0">
                <a:solidFill>
                  <a:srgbClr val="FFFFFF"/>
                </a:solidFill>
                <a:latin typeface="Segoe UI"/>
              </a:rPr>
              <a:t>4-core**</a:t>
            </a:r>
          </a:p>
        </p:txBody>
      </p:sp>
      <p:sp>
        <p:nvSpPr>
          <p:cNvPr id="26" name="Right Brace 25">
            <a:extLst>
              <a:ext uri="{FF2B5EF4-FFF2-40B4-BE49-F238E27FC236}">
                <a16:creationId xmlns:a16="http://schemas.microsoft.com/office/drawing/2014/main" id="{FA465004-9C24-48A4-B6E0-A5B4BDD64277}"/>
              </a:ext>
            </a:extLst>
          </p:cNvPr>
          <p:cNvSpPr/>
          <p:nvPr/>
        </p:nvSpPr>
        <p:spPr>
          <a:xfrm>
            <a:off x="5046355" y="2037747"/>
            <a:ext cx="136950" cy="1996595"/>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27" name="TextBox 26">
            <a:extLst>
              <a:ext uri="{FF2B5EF4-FFF2-40B4-BE49-F238E27FC236}">
                <a16:creationId xmlns:a16="http://schemas.microsoft.com/office/drawing/2014/main" id="{1541F383-6645-47F9-9945-D6716ED7F5DC}"/>
              </a:ext>
            </a:extLst>
          </p:cNvPr>
          <p:cNvSpPr txBox="1"/>
          <p:nvPr/>
        </p:nvSpPr>
        <p:spPr>
          <a:xfrm>
            <a:off x="5175921" y="2850449"/>
            <a:ext cx="894918" cy="376684"/>
          </a:xfrm>
          <a:prstGeom prst="rect">
            <a:avLst/>
          </a:prstGeom>
          <a:noFill/>
        </p:spPr>
        <p:txBody>
          <a:bodyPr wrap="square" rtlCol="0">
            <a:spAutoFit/>
          </a:bodyPr>
          <a:lstStyle/>
          <a:p>
            <a:pPr defTabSz="932597">
              <a:defRPr/>
            </a:pPr>
            <a:r>
              <a:rPr lang="en-US" dirty="0">
                <a:solidFill>
                  <a:srgbClr val="FFFFFF"/>
                </a:solidFill>
                <a:latin typeface="Segoe UI"/>
              </a:rPr>
              <a:t>$4,836</a:t>
            </a:r>
          </a:p>
        </p:txBody>
      </p:sp>
      <p:sp>
        <p:nvSpPr>
          <p:cNvPr id="28" name="Right Brace 27">
            <a:extLst>
              <a:ext uri="{FF2B5EF4-FFF2-40B4-BE49-F238E27FC236}">
                <a16:creationId xmlns:a16="http://schemas.microsoft.com/office/drawing/2014/main" id="{BE402A51-8E38-4FAD-BA51-A8D548A3D9CB}"/>
              </a:ext>
            </a:extLst>
          </p:cNvPr>
          <p:cNvSpPr/>
          <p:nvPr/>
        </p:nvSpPr>
        <p:spPr>
          <a:xfrm>
            <a:off x="5062449" y="4198623"/>
            <a:ext cx="122750" cy="1240740"/>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29" name="TextBox 28">
            <a:extLst>
              <a:ext uri="{FF2B5EF4-FFF2-40B4-BE49-F238E27FC236}">
                <a16:creationId xmlns:a16="http://schemas.microsoft.com/office/drawing/2014/main" id="{3DBF893A-B719-46A6-8844-8F84D12B7D0D}"/>
              </a:ext>
            </a:extLst>
          </p:cNvPr>
          <p:cNvSpPr txBox="1"/>
          <p:nvPr/>
        </p:nvSpPr>
        <p:spPr>
          <a:xfrm>
            <a:off x="5192017" y="4633397"/>
            <a:ext cx="878822" cy="376684"/>
          </a:xfrm>
          <a:prstGeom prst="rect">
            <a:avLst/>
          </a:prstGeom>
          <a:noFill/>
        </p:spPr>
        <p:txBody>
          <a:bodyPr wrap="square" rtlCol="0">
            <a:spAutoFit/>
          </a:bodyPr>
          <a:lstStyle/>
          <a:p>
            <a:pPr defTabSz="932597">
              <a:defRPr/>
            </a:pPr>
            <a:r>
              <a:rPr lang="en-US" dirty="0">
                <a:solidFill>
                  <a:srgbClr val="FFFFFF"/>
                </a:solidFill>
                <a:latin typeface="Segoe UI"/>
              </a:rPr>
              <a:t>$2,628</a:t>
            </a:r>
          </a:p>
        </p:txBody>
      </p:sp>
      <p:sp>
        <p:nvSpPr>
          <p:cNvPr id="30" name="Rectangle 29">
            <a:extLst>
              <a:ext uri="{FF2B5EF4-FFF2-40B4-BE49-F238E27FC236}">
                <a16:creationId xmlns:a16="http://schemas.microsoft.com/office/drawing/2014/main" id="{C4AFF851-ACE0-4FA3-B61A-CB7C30F35770}"/>
              </a:ext>
            </a:extLst>
          </p:cNvPr>
          <p:cNvSpPr/>
          <p:nvPr/>
        </p:nvSpPr>
        <p:spPr>
          <a:xfrm>
            <a:off x="6124174" y="3649109"/>
            <a:ext cx="1462833" cy="4759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dirty="0">
                <a:solidFill>
                  <a:srgbClr val="FFFFFF"/>
                </a:solidFill>
                <a:latin typeface="Segoe UI"/>
              </a:rPr>
              <a:t>Azure Hybrid Benefit for Windows</a:t>
            </a:r>
          </a:p>
        </p:txBody>
      </p:sp>
    </p:spTree>
    <p:extLst>
      <p:ext uri="{BB962C8B-B14F-4D97-AF65-F5344CB8AC3E}">
        <p14:creationId xmlns:p14="http://schemas.microsoft.com/office/powerpoint/2010/main" val="358971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down)">
                                      <p:cBhvr>
                                        <p:cTn id="16" dur="500"/>
                                        <p:tgtEl>
                                          <p:spTgt spid="22"/>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childTnLst>
                          </p:cTn>
                        </p:par>
                        <p:par>
                          <p:cTn id="22" fill="hold">
                            <p:stCondLst>
                              <p:cond delay="1000"/>
                            </p:stCondLst>
                            <p:childTnLst>
                              <p:par>
                                <p:cTn id="23" presetID="22" presetClass="entr" presetSubtype="4"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down)">
                                      <p:cBhvr>
                                        <p:cTn id="25" dur="500"/>
                                        <p:tgtEl>
                                          <p:spTgt spid="8"/>
                                        </p:tgtEl>
                                      </p:cBhvr>
                                    </p:animEffect>
                                  </p:childTnLst>
                                </p:cTn>
                              </p:par>
                            </p:childTnLst>
                          </p:cTn>
                        </p:par>
                        <p:par>
                          <p:cTn id="26" fill="hold">
                            <p:stCondLst>
                              <p:cond delay="1500"/>
                            </p:stCondLst>
                            <p:childTnLst>
                              <p:par>
                                <p:cTn id="27" presetID="22" presetClass="entr" presetSubtype="4"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down)">
                                      <p:cBhvr>
                                        <p:cTn id="29" dur="500"/>
                                        <p:tgtEl>
                                          <p:spTgt spid="25"/>
                                        </p:tgtEl>
                                      </p:cBhvr>
                                    </p:animEffect>
                                  </p:childTnLst>
                                </p:cTn>
                              </p:par>
                            </p:childTnLst>
                          </p:cTn>
                        </p:par>
                        <p:par>
                          <p:cTn id="30" fill="hold">
                            <p:stCondLst>
                              <p:cond delay="2000"/>
                            </p:stCondLst>
                            <p:childTnLst>
                              <p:par>
                                <p:cTn id="31" presetID="1" presetClass="entr" presetSubtype="0"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par>
                          <p:cTn id="33" fill="hold">
                            <p:stCondLst>
                              <p:cond delay="2000"/>
                            </p:stCondLst>
                            <p:childTnLst>
                              <p:par>
                                <p:cTn id="34" presetID="1" presetClass="entr" presetSubtype="0" fill="hold" grpId="0" nodeType="afterEffect">
                                  <p:stCondLst>
                                    <p:cond delay="0"/>
                                  </p:stCondLst>
                                  <p:childTnLst>
                                    <p:set>
                                      <p:cBhvr>
                                        <p:cTn id="35" dur="1" fill="hold">
                                          <p:stCondLst>
                                            <p:cond delay="0"/>
                                          </p:stCondLst>
                                        </p:cTn>
                                        <p:tgtEl>
                                          <p:spTgt spid="28"/>
                                        </p:tgtEl>
                                        <p:attrNameLst>
                                          <p:attrName>style.visibility</p:attrName>
                                        </p:attrNameLst>
                                      </p:cBhvr>
                                      <p:to>
                                        <p:strVal val="visible"/>
                                      </p:to>
                                    </p:set>
                                  </p:childTnLst>
                                </p:cTn>
                              </p:par>
                            </p:childTnLst>
                          </p:cTn>
                        </p:par>
                        <p:par>
                          <p:cTn id="36" fill="hold">
                            <p:stCondLst>
                              <p:cond delay="2000"/>
                            </p:stCondLst>
                            <p:childTnLst>
                              <p:par>
                                <p:cTn id="37" presetID="1" presetClass="entr" presetSubtype="0"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childTnLst>
                          </p:cTn>
                        </p:par>
                        <p:par>
                          <p:cTn id="39" fill="hold">
                            <p:stCondLst>
                              <p:cond delay="2000"/>
                            </p:stCondLst>
                            <p:childTnLst>
                              <p:par>
                                <p:cTn id="40" presetID="1" presetClass="entr" presetSubtype="0" fill="hold" grpId="0" nodeType="afterEffect">
                                  <p:stCondLst>
                                    <p:cond delay="0"/>
                                  </p:stCondLst>
                                  <p:childTnLst>
                                    <p:set>
                                      <p:cBhvr>
                                        <p:cTn id="41" dur="1" fill="hold">
                                          <p:stCondLst>
                                            <p:cond delay="0"/>
                                          </p:stCondLst>
                                        </p:cTn>
                                        <p:tgtEl>
                                          <p:spTgt spid="26"/>
                                        </p:tgtEl>
                                        <p:attrNameLst>
                                          <p:attrName>style.visibility</p:attrName>
                                        </p:attrNameLst>
                                      </p:cBhvr>
                                      <p:to>
                                        <p:strVal val="visible"/>
                                      </p:to>
                                    </p:set>
                                  </p:childTnLst>
                                </p:cTn>
                              </p:par>
                            </p:childTnLst>
                          </p:cTn>
                        </p:par>
                        <p:par>
                          <p:cTn id="42" fill="hold">
                            <p:stCondLst>
                              <p:cond delay="2000"/>
                            </p:stCondLst>
                            <p:childTnLst>
                              <p:par>
                                <p:cTn id="43" presetID="1" presetClass="entr" presetSubtype="0" fill="hold" grpId="0" nodeType="after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childTnLst>
                          </p:cTn>
                        </p:par>
                        <p:par>
                          <p:cTn id="45" fill="hold">
                            <p:stCondLst>
                              <p:cond delay="2000"/>
                            </p:stCondLst>
                            <p:childTnLst>
                              <p:par>
                                <p:cTn id="46" presetID="1" presetClass="entr" presetSubtype="0" fill="hold" grpId="0" nodeType="afterEffect">
                                  <p:stCondLst>
                                    <p:cond delay="0"/>
                                  </p:stCondLst>
                                  <p:childTnLst>
                                    <p:set>
                                      <p:cBhvr>
                                        <p:cTn id="47" dur="1" fill="hold">
                                          <p:stCondLst>
                                            <p:cond delay="0"/>
                                          </p:stCondLst>
                                        </p:cTn>
                                        <p:tgtEl>
                                          <p:spTgt spid="13"/>
                                        </p:tgtEl>
                                        <p:attrNameLst>
                                          <p:attrName>style.visibility</p:attrName>
                                        </p:attrNameLst>
                                      </p:cBhvr>
                                      <p:to>
                                        <p:strVal val="visible"/>
                                      </p:to>
                                    </p:set>
                                  </p:childTnLst>
                                </p:cTn>
                              </p:par>
                            </p:childTnLst>
                          </p:cTn>
                        </p:par>
                        <p:par>
                          <p:cTn id="48" fill="hold">
                            <p:stCondLst>
                              <p:cond delay="2000"/>
                            </p:stCondLst>
                            <p:childTnLst>
                              <p:par>
                                <p:cTn id="49" presetID="22" presetClass="entr" presetSubtype="4"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wipe(down)">
                                      <p:cBhvr>
                                        <p:cTn id="51" dur="500"/>
                                        <p:tgtEl>
                                          <p:spTgt spid="14"/>
                                        </p:tgtEl>
                                      </p:cBhvr>
                                    </p:animEffect>
                                  </p:childTnLst>
                                </p:cTn>
                              </p:par>
                            </p:childTnLst>
                          </p:cTn>
                        </p:par>
                        <p:par>
                          <p:cTn id="52" fill="hold">
                            <p:stCondLst>
                              <p:cond delay="2500"/>
                            </p:stCondLst>
                            <p:childTnLst>
                              <p:par>
                                <p:cTn id="53" presetID="22" presetClass="entr" presetSubtype="4" fill="hold" grpId="0"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down)">
                                      <p:cBhvr>
                                        <p:cTn id="55" dur="500"/>
                                        <p:tgtEl>
                                          <p:spTgt spid="30"/>
                                        </p:tgtEl>
                                      </p:cBhvr>
                                    </p:animEffect>
                                  </p:childTnLst>
                                </p:cTn>
                              </p:par>
                            </p:childTnLst>
                          </p:cTn>
                        </p:par>
                        <p:par>
                          <p:cTn id="56" fill="hold">
                            <p:stCondLst>
                              <p:cond delay="3000"/>
                            </p:stCondLst>
                            <p:childTnLst>
                              <p:par>
                                <p:cTn id="57" presetID="1" presetClass="entr" presetSubtype="0" fill="hold" grpId="0" nodeType="afterEffect">
                                  <p:stCondLst>
                                    <p:cond delay="0"/>
                                  </p:stCondLst>
                                  <p:childTnLst>
                                    <p:set>
                                      <p:cBhvr>
                                        <p:cTn id="58" dur="1" fill="hold">
                                          <p:stCondLst>
                                            <p:cond delay="0"/>
                                          </p:stCondLst>
                                        </p:cTn>
                                        <p:tgtEl>
                                          <p:spTgt spid="10"/>
                                        </p:tgtEl>
                                        <p:attrNameLst>
                                          <p:attrName>style.visibility</p:attrName>
                                        </p:attrNameLst>
                                      </p:cBhvr>
                                      <p:to>
                                        <p:strVal val="visible"/>
                                      </p:to>
                                    </p:set>
                                  </p:childTnLst>
                                </p:cTn>
                              </p:par>
                            </p:childTnLst>
                          </p:cTn>
                        </p:par>
                        <p:par>
                          <p:cTn id="59" fill="hold">
                            <p:stCondLst>
                              <p:cond delay="3000"/>
                            </p:stCondLst>
                            <p:childTnLst>
                              <p:par>
                                <p:cTn id="60" presetID="1" presetClass="entr" presetSubtype="0" fill="hold" grpId="0" nodeType="afterEffect">
                                  <p:stCondLst>
                                    <p:cond delay="0"/>
                                  </p:stCondLst>
                                  <p:childTnLst>
                                    <p:set>
                                      <p:cBhvr>
                                        <p:cTn id="61" dur="1" fill="hold">
                                          <p:stCondLst>
                                            <p:cond delay="0"/>
                                          </p:stCondLst>
                                        </p:cTn>
                                        <p:tgtEl>
                                          <p:spTgt spid="18"/>
                                        </p:tgtEl>
                                        <p:attrNameLst>
                                          <p:attrName>style.visibility</p:attrName>
                                        </p:attrNameLst>
                                      </p:cBhvr>
                                      <p:to>
                                        <p:strVal val="visible"/>
                                      </p:to>
                                    </p:set>
                                  </p:childTnLst>
                                </p:cTn>
                              </p:par>
                            </p:childTnLst>
                          </p:cTn>
                        </p:par>
                        <p:par>
                          <p:cTn id="62" fill="hold">
                            <p:stCondLst>
                              <p:cond delay="3000"/>
                            </p:stCondLst>
                            <p:childTnLst>
                              <p:par>
                                <p:cTn id="63" presetID="1" presetClass="entr" presetSubtype="0" fill="hold" grpId="0" nodeType="afterEffect">
                                  <p:stCondLst>
                                    <p:cond delay="0"/>
                                  </p:stCondLst>
                                  <p:childTnLst>
                                    <p:set>
                                      <p:cBhvr>
                                        <p:cTn id="64" dur="1" fill="hold">
                                          <p:stCondLst>
                                            <p:cond delay="0"/>
                                          </p:stCondLst>
                                        </p:cTn>
                                        <p:tgtEl>
                                          <p:spTgt spid="19"/>
                                        </p:tgtEl>
                                        <p:attrNameLst>
                                          <p:attrName>style.visibility</p:attrName>
                                        </p:attrNameLst>
                                      </p:cBhvr>
                                      <p:to>
                                        <p:strVal val="visible"/>
                                      </p:to>
                                    </p:set>
                                  </p:childTnLst>
                                </p:cTn>
                              </p:par>
                            </p:childTnLst>
                          </p:cTn>
                        </p:par>
                        <p:par>
                          <p:cTn id="65" fill="hold">
                            <p:stCondLst>
                              <p:cond delay="3000"/>
                            </p:stCondLst>
                            <p:childTnLst>
                              <p:par>
                                <p:cTn id="66" presetID="1" presetClass="entr" presetSubtype="0"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childTnLst>
                                </p:cTn>
                              </p:par>
                            </p:childTnLst>
                          </p:cTn>
                        </p:par>
                        <p:par>
                          <p:cTn id="68" fill="hold">
                            <p:stCondLst>
                              <p:cond delay="3000"/>
                            </p:stCondLst>
                            <p:childTnLst>
                              <p:par>
                                <p:cTn id="69" presetID="1" presetClass="entr" presetSubtype="0" fill="hold" grpId="0" nodeType="afterEffect">
                                  <p:stCondLst>
                                    <p:cond delay="0"/>
                                  </p:stCondLst>
                                  <p:childTnLst>
                                    <p:set>
                                      <p:cBhvr>
                                        <p:cTn id="70" dur="1" fill="hold">
                                          <p:stCondLst>
                                            <p:cond delay="0"/>
                                          </p:stCondLst>
                                        </p:cTn>
                                        <p:tgtEl>
                                          <p:spTgt spid="15"/>
                                        </p:tgtEl>
                                        <p:attrNameLst>
                                          <p:attrName>style.visibility</p:attrName>
                                        </p:attrNameLst>
                                      </p:cBhvr>
                                      <p:to>
                                        <p:strVal val="visible"/>
                                      </p:to>
                                    </p:set>
                                  </p:childTnLst>
                                </p:cTn>
                              </p:par>
                            </p:childTnLst>
                          </p:cTn>
                        </p:par>
                        <p:par>
                          <p:cTn id="71" fill="hold">
                            <p:stCondLst>
                              <p:cond delay="3000"/>
                            </p:stCondLst>
                            <p:childTnLst>
                              <p:par>
                                <p:cTn id="72" presetID="1" presetClass="entr" presetSubtype="0" fill="hold" grpId="0" nodeType="afterEffect">
                                  <p:stCondLst>
                                    <p:cond delay="0"/>
                                  </p:stCondLst>
                                  <p:childTnLst>
                                    <p:set>
                                      <p:cBhvr>
                                        <p:cTn id="73" dur="1" fill="hold">
                                          <p:stCondLst>
                                            <p:cond delay="0"/>
                                          </p:stCondLst>
                                        </p:cTn>
                                        <p:tgtEl>
                                          <p:spTgt spid="20"/>
                                        </p:tgtEl>
                                        <p:attrNameLst>
                                          <p:attrName>style.visibility</p:attrName>
                                        </p:attrNameLst>
                                      </p:cBhvr>
                                      <p:to>
                                        <p:strVal val="visible"/>
                                      </p:to>
                                    </p:set>
                                  </p:childTnLst>
                                </p:cTn>
                              </p:par>
                            </p:childTnLst>
                          </p:cTn>
                        </p:par>
                        <p:par>
                          <p:cTn id="74" fill="hold">
                            <p:stCondLst>
                              <p:cond delay="3000"/>
                            </p:stCondLst>
                            <p:childTnLst>
                              <p:par>
                                <p:cTn id="75" presetID="1" presetClass="entr" presetSubtype="0"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P spid="10" grpId="0"/>
      <p:bldP spid="12" grpId="0"/>
      <p:bldP spid="13" grpId="0"/>
      <p:bldP spid="14" grpId="0" animBg="1"/>
      <p:bldP spid="15" grpId="0" animBg="1"/>
      <p:bldP spid="16" grpId="0"/>
      <p:bldP spid="18" grpId="0" animBg="1"/>
      <p:bldP spid="19" grpId="0"/>
      <p:bldP spid="20" grpId="0"/>
      <p:bldP spid="21" grpId="0"/>
      <p:bldP spid="22" grpId="0" animBg="1"/>
      <p:bldP spid="23" grpId="0"/>
      <p:bldP spid="24" grpId="0"/>
      <p:bldP spid="25" grpId="0" animBg="1"/>
      <p:bldP spid="26" grpId="0" animBg="1"/>
      <p:bldP spid="27" grpId="0"/>
      <p:bldP spid="28" grpId="0" animBg="1"/>
      <p:bldP spid="29" grpId="0"/>
      <p:bldP spid="3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vailability Zones (Public Preview)</a:t>
            </a:r>
          </a:p>
        </p:txBody>
      </p:sp>
      <p:sp>
        <p:nvSpPr>
          <p:cNvPr id="3" name="Text Placeholder 2">
            <a:extLst>
              <a:ext uri="{FF2B5EF4-FFF2-40B4-BE49-F238E27FC236}">
                <a16:creationId xmlns:a16="http://schemas.microsoft.com/office/drawing/2014/main" id="{6B96101A-D398-4B1E-BB53-13C497838E3A}"/>
              </a:ext>
            </a:extLst>
          </p:cNvPr>
          <p:cNvSpPr>
            <a:spLocks noGrp="1"/>
          </p:cNvSpPr>
          <p:nvPr>
            <p:ph type="body" sz="quarter" idx="10"/>
          </p:nvPr>
        </p:nvSpPr>
        <p:spPr>
          <a:xfrm>
            <a:off x="254806" y="1213017"/>
            <a:ext cx="6954031" cy="4807470"/>
          </a:xfrm>
        </p:spPr>
        <p:txBody>
          <a:bodyPr/>
          <a:lstStyle/>
          <a:p>
            <a:r>
              <a:rPr lang="en-US" sz="2400" dirty="0">
                <a:latin typeface="+mn-lt"/>
              </a:rPr>
              <a:t>Highly Available Applications  within regions with Availability Zones</a:t>
            </a:r>
          </a:p>
          <a:p>
            <a:pPr marL="342900" indent="-342900">
              <a:buFont typeface="Arial" panose="020B0604020202020204" pitchFamily="34" charset="0"/>
              <a:buChar char="•"/>
            </a:pPr>
            <a:r>
              <a:rPr lang="en-US" sz="2400" dirty="0">
                <a:latin typeface="+mn-lt"/>
              </a:rPr>
              <a:t>Availability Zones help to protect you from datacenter-level failures</a:t>
            </a:r>
          </a:p>
          <a:p>
            <a:pPr marL="342900" indent="-342900">
              <a:buFont typeface="Arial" panose="020B0604020202020204" pitchFamily="34" charset="0"/>
              <a:buChar char="•"/>
            </a:pPr>
            <a:r>
              <a:rPr lang="en-US" sz="2400" dirty="0">
                <a:latin typeface="+mn-lt"/>
              </a:rPr>
              <a:t>Located inside an Azure region, and each one has its own independent power source, network, and cooling</a:t>
            </a:r>
          </a:p>
          <a:p>
            <a:pPr marL="342900" indent="-342900">
              <a:buFont typeface="Arial" panose="020B0604020202020204" pitchFamily="34" charset="0"/>
              <a:buChar char="•"/>
            </a:pPr>
            <a:r>
              <a:rPr lang="en-US" sz="2400" dirty="0">
                <a:latin typeface="+mn-lt"/>
              </a:rPr>
              <a:t>To ensure resiliency, there's a minimum of three separate zones in all enabled regions</a:t>
            </a:r>
          </a:p>
          <a:p>
            <a:pPr marL="342900" indent="-342900">
              <a:buFont typeface="Arial" panose="020B0604020202020204" pitchFamily="34" charset="0"/>
              <a:buChar char="•"/>
            </a:pPr>
            <a:r>
              <a:rPr lang="en-US" sz="2400" dirty="0">
                <a:latin typeface="+mn-lt"/>
              </a:rPr>
              <a:t>Physical &amp; logical separation of Availability Zones within a region protects applications and data from zone-level failures.</a:t>
            </a:r>
          </a:p>
          <a:p>
            <a:pPr marL="800100" indent="-342900">
              <a:spcAft>
                <a:spcPts val="600"/>
              </a:spcAft>
              <a:buFont typeface="Arial" panose="020B0604020202020204" pitchFamily="34" charset="0"/>
              <a:buChar char="•"/>
            </a:pPr>
            <a:endParaRPr lang="en-US" sz="1800" dirty="0"/>
          </a:p>
        </p:txBody>
      </p:sp>
      <p:pic>
        <p:nvPicPr>
          <p:cNvPr id="4" name="Picture 3">
            <a:extLst>
              <a:ext uri="{FF2B5EF4-FFF2-40B4-BE49-F238E27FC236}">
                <a16:creationId xmlns:a16="http://schemas.microsoft.com/office/drawing/2014/main" id="{F7AEBE7F-97E6-4BE7-9472-924AD855A760}"/>
              </a:ext>
            </a:extLst>
          </p:cNvPr>
          <p:cNvPicPr>
            <a:picLocks noChangeAspect="1"/>
          </p:cNvPicPr>
          <p:nvPr/>
        </p:nvPicPr>
        <p:blipFill>
          <a:blip r:embed="rId3"/>
          <a:stretch>
            <a:fillRect/>
          </a:stretch>
        </p:blipFill>
        <p:spPr>
          <a:xfrm>
            <a:off x="7818437" y="1592262"/>
            <a:ext cx="4073217" cy="3500787"/>
          </a:xfrm>
          <a:prstGeom prst="rect">
            <a:avLst/>
          </a:prstGeom>
        </p:spPr>
      </p:pic>
    </p:spTree>
    <p:extLst>
      <p:ext uri="{BB962C8B-B14F-4D97-AF65-F5344CB8AC3E}">
        <p14:creationId xmlns:p14="http://schemas.microsoft.com/office/powerpoint/2010/main" val="211511385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398" y="295684"/>
            <a:ext cx="11888046" cy="1093589"/>
          </a:xfrm>
        </p:spPr>
        <p:txBody>
          <a:bodyPr/>
          <a:lstStyle/>
          <a:p>
            <a:r>
              <a:rPr lang="en-US"/>
              <a:t>Azure Storage Services</a:t>
            </a:r>
          </a:p>
        </p:txBody>
      </p:sp>
      <p:sp>
        <p:nvSpPr>
          <p:cNvPr id="7" name="Rectangle 6"/>
          <p:cNvSpPr/>
          <p:nvPr/>
        </p:nvSpPr>
        <p:spPr bwMode="auto">
          <a:xfrm>
            <a:off x="2754576"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678"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56773" fontAlgn="base">
              <a:spcBef>
                <a:spcPct val="0"/>
              </a:spcBef>
              <a:spcAft>
                <a:spcPct val="0"/>
              </a:spcAft>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81021"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773" fontAlgn="base">
              <a:spcBef>
                <a:spcPct val="0"/>
              </a:spcBef>
              <a:spcAft>
                <a:spcPct val="0"/>
              </a:spcAft>
            </a:pPr>
            <a:r>
              <a:rPr lang="en-US" sz="160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81021" y="5751127"/>
            <a:ext cx="11825648" cy="9461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ctr" anchorCtr="0" forceAA="0" compatLnSpc="1">
            <a:prstTxWarp prst="textNoShape">
              <a:avLst/>
            </a:prstTxWarp>
            <a:noAutofit/>
          </a:bodyPr>
          <a:lstStyle/>
          <a:p>
            <a:pPr algn="ctr" defTabSz="856773" fontAlgn="base">
              <a:spcBef>
                <a:spcPct val="0"/>
              </a:spcBef>
              <a:spcAft>
                <a:spcPct val="0"/>
              </a:spcAft>
            </a:pPr>
            <a:r>
              <a:rPr lang="en-US" sz="280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56773" fontAlgn="base">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9687" y="1211555"/>
            <a:ext cx="5500245" cy="1394303"/>
            <a:chOff x="148911" y="1211263"/>
            <a:chExt cx="5500947" cy="1394481"/>
          </a:xfrm>
        </p:grpSpPr>
        <p:sp>
          <p:nvSpPr>
            <p:cNvPr id="45" name="Rectangle 44"/>
            <p:cNvSpPr/>
            <p:nvPr/>
          </p:nvSpPr>
          <p:spPr bwMode="auto">
            <a:xfrm>
              <a:off x="380276" y="1211263"/>
              <a:ext cx="4705578" cy="125871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39907" tIns="146264" rIns="182831" bIns="146264" rtlCol="0">
                <a:spAutoFit/>
              </a:bodyPr>
              <a:lstStyle/>
              <a:p>
                <a:pPr algn="ct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grpSp>
        <p:grpSp>
          <p:nvGrpSpPr>
            <p:cNvPr id="55" name="Group 54"/>
            <p:cNvGrpSpPr/>
            <p:nvPr/>
          </p:nvGrpSpPr>
          <p:grpSpPr>
            <a:xfrm>
              <a:off x="148911" y="1864676"/>
              <a:ext cx="1718120" cy="671565"/>
              <a:chOff x="7270490" y="5111698"/>
              <a:chExt cx="1718120" cy="671565"/>
            </a:xfrm>
          </p:grpSpPr>
          <p:sp>
            <p:nvSpPr>
              <p:cNvPr id="48" name="Freeform 21"/>
              <p:cNvSpPr>
                <a:spLocks noChangeAspect="1" noEditPoints="1"/>
              </p:cNvSpPr>
              <p:nvPr/>
            </p:nvSpPr>
            <p:spPr bwMode="auto">
              <a:xfrm>
                <a:off x="8110978" y="5111698"/>
                <a:ext cx="276726" cy="23829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826579"/>
              <a:ext cx="2719933" cy="731950"/>
              <a:chOff x="9659512" y="5051313"/>
              <a:chExt cx="2719933" cy="731950"/>
            </a:xfrm>
          </p:grpSpPr>
          <p:sp>
            <p:nvSpPr>
              <p:cNvPr id="49" name="Freeform 21"/>
              <p:cNvSpPr>
                <a:spLocks noChangeAspect="1" noEditPoints="1"/>
              </p:cNvSpPr>
              <p:nvPr/>
            </p:nvSpPr>
            <p:spPr bwMode="auto">
              <a:xfrm>
                <a:off x="10676210" y="5051313"/>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endParaRPr lang="en-US" sz="2400" kern="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128131"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Object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Highly scalable, REST based cloud object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Block Blobs: Sequential file I/O</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Cool Tier Available</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Page Blobs: Random-write pattern data</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Append Blobs</a:t>
            </a:r>
          </a:p>
        </p:txBody>
      </p:sp>
      <p:sp>
        <p:nvSpPr>
          <p:cNvPr id="61" name="Rectangle 60"/>
          <p:cNvSpPr/>
          <p:nvPr/>
        </p:nvSpPr>
        <p:spPr bwMode="auto">
          <a:xfrm>
            <a:off x="9875245"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Queu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Reliable queues at scale for cloud service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cs typeface="Segoe UI" pitchFamily="34" charset="0"/>
              </a:rPr>
              <a:t>Decouple and scale components</a:t>
            </a:r>
          </a:p>
          <a:p>
            <a:pPr defTabSz="856773" fontAlgn="base">
              <a:spcBef>
                <a:spcPct val="0"/>
              </a:spcBef>
              <a:spcAft>
                <a:spcPct val="0"/>
              </a:spcAft>
            </a:pPr>
            <a:r>
              <a:rPr lang="en-US" sz="1400">
                <a:solidFill>
                  <a:schemeClr val="bg1">
                    <a:lumMod val="75000"/>
                  </a:schemeClr>
                </a:soli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501688"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Tabl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Massive auto-scaling NoSQL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Dynamic scaling based on load</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Scale to PBs of table data </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Fast key/value lookup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p:txBody>
      </p:sp>
      <p:grpSp>
        <p:nvGrpSpPr>
          <p:cNvPr id="12" name="Group 11"/>
          <p:cNvGrpSpPr/>
          <p:nvPr/>
        </p:nvGrpSpPr>
        <p:grpSpPr>
          <a:xfrm>
            <a:off x="5133298" y="1214210"/>
            <a:ext cx="7944627" cy="1298936"/>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5511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File Sync (Public Preview)</a:t>
            </a:r>
          </a:p>
        </p:txBody>
      </p:sp>
      <p:sp>
        <p:nvSpPr>
          <p:cNvPr id="3" name="Text Placeholder 2">
            <a:extLst>
              <a:ext uri="{FF2B5EF4-FFF2-40B4-BE49-F238E27FC236}">
                <a16:creationId xmlns:a16="http://schemas.microsoft.com/office/drawing/2014/main" id="{FE98F88A-A763-4710-A2FE-585CCBA2633C}"/>
              </a:ext>
            </a:extLst>
          </p:cNvPr>
          <p:cNvSpPr>
            <a:spLocks noGrp="1"/>
          </p:cNvSpPr>
          <p:nvPr>
            <p:ph type="body" sz="quarter" idx="10"/>
          </p:nvPr>
        </p:nvSpPr>
        <p:spPr>
          <a:xfrm>
            <a:off x="274638" y="1212850"/>
            <a:ext cx="6857999" cy="5262979"/>
          </a:xfrm>
        </p:spPr>
        <p:txBody>
          <a:bodyPr/>
          <a:lstStyle/>
          <a:p>
            <a:r>
              <a:rPr lang="en-US" sz="2000" dirty="0">
                <a:latin typeface="+mn-lt"/>
              </a:rPr>
              <a:t>New capability of Azure Files - sync existing directories &amp; files from Windows Server 2012R2 and 2016 to Azure Files. </a:t>
            </a:r>
          </a:p>
          <a:p>
            <a:pPr marL="342900" indent="-342900">
              <a:buFont typeface="Arial" panose="020B0604020202020204" pitchFamily="34" charset="0"/>
              <a:buChar char="•"/>
            </a:pPr>
            <a:r>
              <a:rPr lang="en-US" sz="2000" b="1" dirty="0">
                <a:latin typeface="+mn-lt"/>
              </a:rPr>
              <a:t>Multi-site sync and access </a:t>
            </a:r>
            <a:r>
              <a:rPr lang="en-US" sz="2000" dirty="0">
                <a:latin typeface="+mn-lt"/>
              </a:rPr>
              <a:t>– Sync between Azure File Shares ,Windows Servers, your branch offices.</a:t>
            </a:r>
          </a:p>
          <a:p>
            <a:pPr marL="342900" indent="-342900">
              <a:buFont typeface="Arial" panose="020B0604020202020204" pitchFamily="34" charset="0"/>
              <a:buChar char="•"/>
            </a:pPr>
            <a:r>
              <a:rPr lang="en-US" sz="2000" b="1" dirty="0">
                <a:latin typeface="+mn-lt"/>
              </a:rPr>
              <a:t>Cloud tiering (server becomes cache)</a:t>
            </a:r>
            <a:r>
              <a:rPr lang="en-US" sz="2000" dirty="0">
                <a:latin typeface="+mn-lt"/>
              </a:rPr>
              <a:t> – Servers low on capacity can benefit from cloud-tiering feature.  Less recently used data removed from the local server and recalled when used.</a:t>
            </a:r>
          </a:p>
          <a:p>
            <a:pPr marL="342900" indent="-342900">
              <a:buFont typeface="Arial" panose="020B0604020202020204" pitchFamily="34" charset="0"/>
              <a:buChar char="•"/>
            </a:pPr>
            <a:r>
              <a:rPr lang="en-US" sz="2000" b="1" dirty="0">
                <a:latin typeface="+mn-lt"/>
              </a:rPr>
              <a:t>Integrated server data backup</a:t>
            </a:r>
            <a:r>
              <a:rPr lang="en-US" sz="2000" dirty="0">
                <a:latin typeface="+mn-lt"/>
              </a:rPr>
              <a:t> –File Sync works with Azure Backup to provide integrated backup and restoration. </a:t>
            </a:r>
          </a:p>
          <a:p>
            <a:pPr marL="342900" indent="-342900">
              <a:buFont typeface="Arial" panose="020B0604020202020204" pitchFamily="34" charset="0"/>
              <a:buChar char="•"/>
            </a:pPr>
            <a:r>
              <a:rPr lang="en-US" sz="2000" b="1" dirty="0">
                <a:latin typeface="+mn-lt"/>
              </a:rPr>
              <a:t>Direct cloud data access</a:t>
            </a:r>
            <a:r>
              <a:rPr lang="en-US" sz="2000" dirty="0">
                <a:latin typeface="+mn-lt"/>
              </a:rPr>
              <a:t> – (lift and shift) can be done with sync to allow both on premise &amp; cloud access to the same data during the migration. </a:t>
            </a:r>
          </a:p>
          <a:p>
            <a:endParaRPr lang="en-US" sz="3600" dirty="0"/>
          </a:p>
        </p:txBody>
      </p:sp>
      <p:pic>
        <p:nvPicPr>
          <p:cNvPr id="8" name="Picture 7">
            <a:extLst>
              <a:ext uri="{FF2B5EF4-FFF2-40B4-BE49-F238E27FC236}">
                <a16:creationId xmlns:a16="http://schemas.microsoft.com/office/drawing/2014/main" id="{5D92F99F-7640-47CE-9EED-3DE0091DB21F}"/>
              </a:ext>
            </a:extLst>
          </p:cNvPr>
          <p:cNvPicPr>
            <a:picLocks noChangeAspect="1"/>
          </p:cNvPicPr>
          <p:nvPr/>
        </p:nvPicPr>
        <p:blipFill>
          <a:blip r:embed="rId3"/>
          <a:stretch>
            <a:fillRect/>
          </a:stretch>
        </p:blipFill>
        <p:spPr>
          <a:xfrm>
            <a:off x="7095989" y="1212849"/>
            <a:ext cx="5029200" cy="2039666"/>
          </a:xfrm>
          <a:prstGeom prst="rect">
            <a:avLst/>
          </a:prstGeom>
        </p:spPr>
      </p:pic>
    </p:spTree>
    <p:extLst>
      <p:ext uri="{BB962C8B-B14F-4D97-AF65-F5344CB8AC3E}">
        <p14:creationId xmlns:p14="http://schemas.microsoft.com/office/powerpoint/2010/main" val="9979297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1" name="Rectangle 60">
            <a:extLst>
              <a:ext uri="{FF2B5EF4-FFF2-40B4-BE49-F238E27FC236}">
                <a16:creationId xmlns:a16="http://schemas.microsoft.com/office/drawing/2014/main" id="{A0FEC0FD-68EB-4D5F-A3CD-0634C19DDC2D}"/>
              </a:ext>
            </a:extLst>
          </p:cNvPr>
          <p:cNvSpPr/>
          <p:nvPr/>
        </p:nvSpPr>
        <p:spPr>
          <a:xfrm>
            <a:off x="2311956"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endParaRPr lang="en-US" sz="2400" dirty="0">
              <a:solidFill>
                <a:srgbClr val="0089CF"/>
              </a:solidFill>
              <a:latin typeface="Segoe UI Semilight"/>
              <a:cs typeface="Segoe UI Semibold" panose="020B0702040204020203" pitchFamily="34" charset="0"/>
            </a:endParaRP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3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endParaRPr lang="en-US" sz="1836"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sp>
        <p:nvSpPr>
          <p:cNvPr id="83" name="Rectangle 82">
            <a:extLst>
              <a:ext uri="{FF2B5EF4-FFF2-40B4-BE49-F238E27FC236}">
                <a16:creationId xmlns:a16="http://schemas.microsoft.com/office/drawing/2014/main" id="{9171D429-CF38-4D04-8340-6FA5B4D9811D}"/>
              </a:ext>
            </a:extLst>
          </p:cNvPr>
          <p:cNvSpPr/>
          <p:nvPr/>
        </p:nvSpPr>
        <p:spPr>
          <a:xfrm>
            <a:off x="2686148" y="2584866"/>
            <a:ext cx="2255136" cy="414353"/>
          </a:xfrm>
          <a:prstGeom prst="rect">
            <a:avLst/>
          </a:prstGeom>
        </p:spPr>
        <p:txBody>
          <a:bodyPr wrap="none">
            <a:spAutoFit/>
          </a:bodyPr>
          <a:lstStyle/>
          <a:p>
            <a:pPr algn="ctr" defTabSz="932418">
              <a:spcAft>
                <a:spcPts val="600"/>
              </a:spcAft>
              <a:defRPr/>
            </a:pPr>
            <a:r>
              <a:rPr lang="en-US" sz="2040" dirty="0">
                <a:solidFill>
                  <a:srgbClr val="0078D7"/>
                </a:solidFill>
                <a:latin typeface="Segoe UI Semilight"/>
                <a:cs typeface="Segoe UI Semibold" panose="020B0702040204020203" pitchFamily="34" charset="0"/>
              </a:rPr>
              <a:t>Integrated tooling</a:t>
            </a:r>
          </a:p>
        </p:txBody>
      </p:sp>
      <p:grpSp>
        <p:nvGrpSpPr>
          <p:cNvPr id="86" name="Group 85"/>
          <p:cNvGrpSpPr/>
          <p:nvPr/>
        </p:nvGrpSpPr>
        <p:grpSpPr>
          <a:xfrm>
            <a:off x="3385492" y="1618971"/>
            <a:ext cx="856447" cy="780141"/>
            <a:chOff x="1687513" y="3995738"/>
            <a:chExt cx="3902075" cy="3554412"/>
          </a:xfrm>
          <a:solidFill>
            <a:schemeClr val="accent1"/>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chemeClr val="accent1"/>
          </a:solidFill>
          <a:ln>
            <a:noFill/>
          </a:ln>
          <a:effectLst/>
          <a:extLst/>
        </p:spPr>
        <p:txBody>
          <a:bodyPr wrap="none" anchor="ctr"/>
          <a:lstStyle/>
          <a:p>
            <a:pPr defTabSz="932597"/>
            <a:endParaRPr lang="en-US" sz="1836">
              <a:solidFill>
                <a:srgbClr val="505050"/>
              </a:solidFill>
              <a:latin typeface="Segoe UI"/>
            </a:endParaRPr>
          </a:p>
        </p:txBody>
      </p:sp>
      <p:grpSp>
        <p:nvGrpSpPr>
          <p:cNvPr id="91" name="Group 90"/>
          <p:cNvGrpSpPr/>
          <p:nvPr/>
        </p:nvGrpSpPr>
        <p:grpSpPr>
          <a:xfrm>
            <a:off x="6722543" y="1707921"/>
            <a:ext cx="795628" cy="602241"/>
            <a:chOff x="2524125" y="20638"/>
            <a:chExt cx="4748213" cy="3594100"/>
          </a:xfrm>
          <a:solidFill>
            <a:schemeClr val="accent1"/>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17673">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FEEDBACK</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4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300"/>
                                        <p:tgtEl>
                                          <p:spTgt spid="61"/>
                                        </p:tgtEl>
                                      </p:cBhvr>
                                    </p:animEffect>
                                  </p:childTnLst>
                                </p:cTn>
                              </p:par>
                              <p:par>
                                <p:cTn id="13" presetID="42" presetClass="path" presetSubtype="0" decel="100000" fill="hold" grpId="1" nodeType="withEffect">
                                  <p:stCondLst>
                                    <p:cond delay="0"/>
                                  </p:stCondLst>
                                  <p:childTnLst>
                                    <p:animMotion origin="layout" path="M -8.33333E-7 1.11111E-6 L -8.33333E-7 0.1338 " pathEditMode="relative" rAng="0" ptsTypes="AA">
                                      <p:cBhvr>
                                        <p:cTn id="14" dur="700" spd="-100000" fill="hold"/>
                                        <p:tgtEl>
                                          <p:spTgt spid="61"/>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300"/>
                                        <p:tgtEl>
                                          <p:spTgt spid="63"/>
                                        </p:tgtEl>
                                      </p:cBhvr>
                                    </p:animEffect>
                                  </p:childTnLst>
                                </p:cTn>
                              </p:par>
                              <p:par>
                                <p:cTn id="18" presetID="42" presetClass="path" presetSubtype="0" decel="100000" fill="hold" grpId="1" nodeType="withEffect">
                                  <p:stCondLst>
                                    <p:cond delay="250"/>
                                  </p:stCondLst>
                                  <p:childTnLst>
                                    <p:animMotion origin="layout" path="M 3.95833E-6 1.11111E-6 L 3.95833E-6 0.1338 " pathEditMode="relative" rAng="0" ptsTypes="AA">
                                      <p:cBhvr>
                                        <p:cTn id="19" dur="700" spd="-100000" fill="hold"/>
                                        <p:tgtEl>
                                          <p:spTgt spid="63"/>
                                        </p:tgtEl>
                                        <p:attrNameLst>
                                          <p:attrName>ppt_x</p:attrName>
                                          <p:attrName>ppt_y</p:attrName>
                                        </p:attrNameLst>
                                      </p:cBhvr>
                                      <p:rCtr x="0" y="6690"/>
                                    </p:animMotion>
                                  </p:childTnLst>
                                </p:cTn>
                              </p:par>
                              <p:par>
                                <p:cTn id="20" presetID="10" presetClass="entr" presetSubtype="0" fill="hold" nodeType="withEffect">
                                  <p:stCondLst>
                                    <p:cond delay="65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90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300"/>
                                        <p:tgtEl>
                                          <p:spTgt spid="62"/>
                                        </p:tgtEl>
                                      </p:cBhvr>
                                    </p:animEffect>
                                  </p:childTnLst>
                                </p:cTn>
                              </p:par>
                              <p:par>
                                <p:cTn id="26" presetID="42" presetClass="path" presetSubtype="0" decel="100000" fill="hold" grpId="1" nodeType="withEffect">
                                  <p:stCondLst>
                                    <p:cond delay="500"/>
                                  </p:stCondLst>
                                  <p:childTnLst>
                                    <p:animMotion origin="layout" path="M 1.875E-6 1.11111E-6 L 1.875E-6 0.1338 " pathEditMode="relative" rAng="0" ptsTypes="AA">
                                      <p:cBhvr>
                                        <p:cTn id="27" dur="700" spd="-100000" fill="hold"/>
                                        <p:tgtEl>
                                          <p:spTgt spid="62"/>
                                        </p:tgtEl>
                                        <p:attrNameLst>
                                          <p:attrName>ppt_x</p:attrName>
                                          <p:attrName>ppt_y</p:attrName>
                                        </p:attrNameLst>
                                      </p:cBhvr>
                                      <p:rCtr x="0" y="6690"/>
                                    </p:animMotion>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300"/>
                                        <p:tgtEl>
                                          <p:spTgt spid="83"/>
                                        </p:tgtEl>
                                      </p:cBhvr>
                                    </p:animEffect>
                                  </p:childTnLst>
                                </p:cTn>
                              </p:par>
                              <p:par>
                                <p:cTn id="34" presetID="42" presetClass="path" presetSubtype="0" decel="100000" fill="hold" grpId="1" nodeType="withEffect">
                                  <p:stCondLst>
                                    <p:cond delay="0"/>
                                  </p:stCondLst>
                                  <p:childTnLst>
                                    <p:animMotion origin="layout" path="M -6.25E-7 -1.11111E-6 L -6.25E-7 0.1338 " pathEditMode="relative" rAng="0" ptsTypes="AA">
                                      <p:cBhvr>
                                        <p:cTn id="35" dur="700" spd="-100000" fill="hold"/>
                                        <p:tgtEl>
                                          <p:spTgt spid="83"/>
                                        </p:tgtEl>
                                        <p:attrNameLst>
                                          <p:attrName>ppt_x</p:attrName>
                                          <p:attrName>ppt_y</p:attrName>
                                        </p:attrNameLst>
                                      </p:cBhvr>
                                      <p:rCtr x="0" y="6690"/>
                                    </p:animMotion>
                                  </p:childTnLst>
                                </p:cTn>
                              </p:par>
                              <p:par>
                                <p:cTn id="36" presetID="10" presetClass="entr" presetSubtype="0" fill="hold" nodeType="withEffect">
                                  <p:stCondLst>
                                    <p:cond delay="40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childTnLst>
                          </p:cTn>
                        </p:par>
                        <p:par>
                          <p:cTn id="39" fill="hold">
                            <p:stCondLst>
                              <p:cond delay="14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9"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dissolve">
                                      <p:cBhvr>
                                        <p:cTn id="45"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1" grpId="0"/>
      <p:bldP spid="61" grpId="1"/>
      <p:bldP spid="62" grpId="0"/>
      <p:bldP spid="62" grpId="1"/>
      <p:bldP spid="63" grpId="0"/>
      <p:bldP spid="63" grpId="1"/>
      <p:bldP spid="83" grpId="0"/>
      <p:bldP spid="83" grpId="1"/>
      <p:bldP spid="9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ata Box (Limited Preview)</a:t>
            </a:r>
          </a:p>
        </p:txBody>
      </p:sp>
      <p:sp>
        <p:nvSpPr>
          <p:cNvPr id="3" name="Text Placeholder 2">
            <a:extLst>
              <a:ext uri="{FF2B5EF4-FFF2-40B4-BE49-F238E27FC236}">
                <a16:creationId xmlns:a16="http://schemas.microsoft.com/office/drawing/2014/main" id="{FFBE86F5-D48B-48D6-9993-0A0812A70AF0}"/>
              </a:ext>
            </a:extLst>
          </p:cNvPr>
          <p:cNvSpPr>
            <a:spLocks noGrp="1"/>
          </p:cNvSpPr>
          <p:nvPr>
            <p:ph type="body" sz="quarter" idx="10"/>
          </p:nvPr>
        </p:nvSpPr>
        <p:spPr>
          <a:xfrm>
            <a:off x="274638" y="1212849"/>
            <a:ext cx="7848599" cy="5890843"/>
          </a:xfrm>
        </p:spPr>
        <p:txBody>
          <a:bodyPr/>
          <a:lstStyle/>
          <a:p>
            <a:pPr marL="342900" indent="-342900">
              <a:buFont typeface="Arial" panose="020B0604020202020204" pitchFamily="34" charset="0"/>
              <a:buChar char="•"/>
            </a:pPr>
            <a:r>
              <a:rPr lang="en-US" sz="2400" dirty="0">
                <a:latin typeface="+mn-lt"/>
              </a:rPr>
              <a:t>Azure Data Box service allows terabytes of data transfer to Azure</a:t>
            </a:r>
          </a:p>
          <a:p>
            <a:pPr marL="342900" indent="-342900">
              <a:buFont typeface="Arial" panose="020B0604020202020204" pitchFamily="34" charset="0"/>
              <a:buChar char="•"/>
            </a:pPr>
            <a:r>
              <a:rPr lang="en-US" sz="2400" dirty="0">
                <a:latin typeface="+mn-lt"/>
              </a:rPr>
              <a:t>The Azure Data Box provides a secure, tamper-resistant method for quick and simple transfer of your data to Azure. </a:t>
            </a:r>
          </a:p>
          <a:p>
            <a:pPr marL="809271" lvl="1" indent="-342900">
              <a:buFont typeface="Arial" panose="020B0604020202020204" pitchFamily="34" charset="0"/>
              <a:buChar char="•"/>
            </a:pPr>
            <a:r>
              <a:rPr lang="en-US" sz="2400" dirty="0"/>
              <a:t>Order the Data Box through the Azure portal. </a:t>
            </a:r>
          </a:p>
          <a:p>
            <a:pPr marL="809271" lvl="1" indent="-342900">
              <a:buFont typeface="Arial" panose="020B0604020202020204" pitchFamily="34" charset="0"/>
              <a:buChar char="•"/>
            </a:pPr>
            <a:r>
              <a:rPr lang="en-US" sz="2400" dirty="0"/>
              <a:t>Connect it to your existing network</a:t>
            </a:r>
          </a:p>
          <a:p>
            <a:pPr marL="809271" lvl="1" indent="-342900">
              <a:buFont typeface="Arial" panose="020B0604020202020204" pitchFamily="34" charset="0"/>
              <a:buChar char="•"/>
            </a:pPr>
            <a:r>
              <a:rPr lang="en-US" sz="2400" dirty="0"/>
              <a:t>Load your data onto the Data Box using standard NAS protocols (SMB/CIFS).</a:t>
            </a:r>
          </a:p>
          <a:p>
            <a:pPr marL="809271" lvl="1" indent="-342900">
              <a:buFont typeface="Arial" panose="020B0604020202020204" pitchFamily="34" charset="0"/>
              <a:buChar char="•"/>
            </a:pPr>
            <a:r>
              <a:rPr lang="en-US" sz="2400" dirty="0"/>
              <a:t>Data is automatically protected using 256-AES encryption. </a:t>
            </a:r>
          </a:p>
          <a:p>
            <a:pPr marL="809271" lvl="1" indent="-342900">
              <a:buFont typeface="Arial" panose="020B0604020202020204" pitchFamily="34" charset="0"/>
              <a:buChar char="•"/>
            </a:pPr>
            <a:r>
              <a:rPr lang="en-US" sz="2400" dirty="0"/>
              <a:t>The Data Box is returned to the Azure Data Center to be uploaded to Azure, then the device is securely erased.</a:t>
            </a:r>
          </a:p>
          <a:p>
            <a:endParaRPr lang="en-US" dirty="0"/>
          </a:p>
        </p:txBody>
      </p:sp>
      <p:pic>
        <p:nvPicPr>
          <p:cNvPr id="5" name="Picture 4">
            <a:extLst>
              <a:ext uri="{FF2B5EF4-FFF2-40B4-BE49-F238E27FC236}">
                <a16:creationId xmlns:a16="http://schemas.microsoft.com/office/drawing/2014/main" id="{1CEBC94A-489C-40C1-847E-9D19B949E659}"/>
              </a:ext>
            </a:extLst>
          </p:cNvPr>
          <p:cNvPicPr>
            <a:picLocks noChangeAspect="1"/>
          </p:cNvPicPr>
          <p:nvPr/>
        </p:nvPicPr>
        <p:blipFill>
          <a:blip r:embed="rId3"/>
          <a:stretch>
            <a:fillRect/>
          </a:stretch>
        </p:blipFill>
        <p:spPr>
          <a:xfrm>
            <a:off x="8199437" y="2582862"/>
            <a:ext cx="3710124" cy="2743200"/>
          </a:xfrm>
          <a:prstGeom prst="rect">
            <a:avLst/>
          </a:prstGeom>
        </p:spPr>
      </p:pic>
    </p:spTree>
    <p:extLst>
      <p:ext uri="{BB962C8B-B14F-4D97-AF65-F5344CB8AC3E}">
        <p14:creationId xmlns:p14="http://schemas.microsoft.com/office/powerpoint/2010/main" val="48729067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 Placeholder 41"/>
          <p:cNvSpPr txBox="1">
            <a:spLocks/>
          </p:cNvSpPr>
          <p:nvPr/>
        </p:nvSpPr>
        <p:spPr>
          <a:xfrm>
            <a:off x="308493" y="2159480"/>
            <a:ext cx="4998213" cy="470833"/>
          </a:xfrm>
          <a:prstGeom prst="rect">
            <a:avLst/>
          </a:prstGeom>
        </p:spPr>
        <p:txBody>
          <a:bodyPr vert="horz" wrap="square" lIns="146286" tIns="91429" rIns="146286" bIns="91429"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00"/>
              </a:spcBef>
              <a:buClr>
                <a:schemeClr val="tx1"/>
              </a:buClr>
            </a:pPr>
            <a:r>
              <a:rPr lang="en-US" sz="2800">
                <a:gradFill>
                  <a:gsLst>
                    <a:gs pos="1250">
                      <a:schemeClr val="tx2"/>
                    </a:gs>
                    <a:gs pos="99000">
                      <a:schemeClr val="tx2"/>
                    </a:gs>
                  </a:gsLst>
                  <a:lin ang="5400000" scaled="0"/>
                </a:gradFill>
                <a:latin typeface="+mj-lt"/>
              </a:rPr>
              <a:t>Overview</a:t>
            </a:r>
            <a:endParaRPr lang="en-US" sz="16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Managed disks simplifies the experience for managing storage and capacity planning in virtual machin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Disks, images &amp; snapshots treated as native top level resourc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Increases resiliency by abstracting </a:t>
            </a:r>
            <a:br>
              <a:rPr lang="en-US" sz="2000">
                <a:gradFill>
                  <a:gsLst>
                    <a:gs pos="1250">
                      <a:schemeClr val="tx1"/>
                    </a:gs>
                    <a:gs pos="99000">
                      <a:schemeClr val="tx1"/>
                    </a:gs>
                  </a:gsLst>
                  <a:lin ang="5400000" scaled="0"/>
                </a:gradFill>
              </a:rPr>
            </a:br>
            <a:r>
              <a:rPr lang="en-US" sz="2000">
                <a:gradFill>
                  <a:gsLst>
                    <a:gs pos="1250">
                      <a:schemeClr val="tx1"/>
                    </a:gs>
                    <a:gs pos="99000">
                      <a:schemeClr val="tx1"/>
                    </a:gs>
                  </a:gsLst>
                  <a:lin ang="5400000" scaled="0"/>
                </a:gradFill>
              </a:rPr>
              <a:t>the underlying architecture from the user and minimizing mistakes</a:t>
            </a:r>
          </a:p>
        </p:txBody>
      </p:sp>
      <p:sp>
        <p:nvSpPr>
          <p:cNvPr id="2" name="Title 1"/>
          <p:cNvSpPr>
            <a:spLocks noGrp="1"/>
          </p:cNvSpPr>
          <p:nvPr>
            <p:ph type="title"/>
          </p:nvPr>
        </p:nvSpPr>
        <p:spPr/>
        <p:txBody>
          <a:bodyPr/>
          <a:lstStyle/>
          <a:p>
            <a:r>
              <a:rPr lang="en-US"/>
              <a:t>Managed disks</a:t>
            </a:r>
            <a:br>
              <a:rPr lang="en-US"/>
            </a:br>
            <a:r>
              <a:rPr lang="en-US" sz="2000" spc="0">
                <a:latin typeface="+mn-lt"/>
              </a:rPr>
              <a:t>Simple scalability and high resiliency </a:t>
            </a:r>
          </a:p>
        </p:txBody>
      </p:sp>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1" name="Rounded Rectangle 40"/>
            <p:cNvSpPr/>
            <p:nvPr/>
          </p:nvSpPr>
          <p:spPr bwMode="auto">
            <a:xfrm>
              <a:off x="6678772" y="1211262"/>
              <a:ext cx="4840286" cy="457200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82880" tIns="146304" rIns="182880" bIns="146304" rtlCol="0">
              <a:spAutoFit/>
            </a:bodyPr>
            <a:lstStyle/>
            <a:p>
              <a:pPr>
                <a:lnSpc>
                  <a:spcPct val="90000"/>
                </a:lnSpc>
              </a:pPr>
              <a:r>
                <a:rPr lang="en-US" sz="70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82880" tIns="146304" rIns="182880" bIns="146304" rtlCol="0">
              <a:spAutoFit/>
            </a:bodyPr>
            <a:lstStyle/>
            <a:p>
              <a:pPr>
                <a:lnSpc>
                  <a:spcPct val="90000"/>
                </a:lnSpc>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72" name="Group 71">
            <a:extLst>
              <a:ext uri="{FF2B5EF4-FFF2-40B4-BE49-F238E27FC236}">
                <a16:creationId xmlns:a16="http://schemas.microsoft.com/office/drawing/2014/main" id="{DBB2E859-67CD-41B2-814C-F3B90A555732}"/>
              </a:ext>
            </a:extLst>
          </p:cNvPr>
          <p:cNvGrpSpPr/>
          <p:nvPr/>
        </p:nvGrpSpPr>
        <p:grpSpPr>
          <a:xfrm>
            <a:off x="10954363" y="-335268"/>
            <a:ext cx="1488190" cy="1744298"/>
            <a:chOff x="10745492" y="-292054"/>
            <a:chExt cx="1697062" cy="1989116"/>
          </a:xfrm>
        </p:grpSpPr>
        <p:sp>
          <p:nvSpPr>
            <p:cNvPr id="74" name="Diagonal Stripe 73">
              <a:extLst>
                <a:ext uri="{FF2B5EF4-FFF2-40B4-BE49-F238E27FC236}">
                  <a16:creationId xmlns:a16="http://schemas.microsoft.com/office/drawing/2014/main" id="{4E00F7DE-CF58-4350-A174-C2C3FCA5D8E3}"/>
                </a:ext>
              </a:extLst>
            </p:cNvPr>
            <p:cNvSpPr/>
            <p:nvPr/>
          </p:nvSpPr>
          <p:spPr bwMode="auto">
            <a:xfrm rot="5400000">
              <a:off x="10745492" y="0"/>
              <a:ext cx="1697062" cy="1697062"/>
            </a:xfrm>
            <a:prstGeom prst="diagStripe">
              <a:avLst/>
            </a:prstGeom>
            <a:solidFill>
              <a:srgbClr val="BAD80A"/>
            </a:solidFill>
            <a:ln>
              <a:noFill/>
              <a:headEnd type="none" w="med" len="med"/>
              <a:tailEnd type="none" w="med" len="med"/>
            </a:ln>
            <a:effectLst>
              <a:outerShdw dist="762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solidFill>
                  <a:srgbClr val="BAD80A"/>
                </a:solidFill>
                <a:ea typeface="Segoe UI" pitchFamily="34" charset="0"/>
                <a:cs typeface="Segoe UI" pitchFamily="34" charset="0"/>
              </a:endParaRPr>
            </a:p>
          </p:txBody>
        </p:sp>
        <p:sp>
          <p:nvSpPr>
            <p:cNvPr id="75" name="TextBox 74">
              <a:extLst>
                <a:ext uri="{FF2B5EF4-FFF2-40B4-BE49-F238E27FC236}">
                  <a16:creationId xmlns:a16="http://schemas.microsoft.com/office/drawing/2014/main" id="{ADD275B3-B10C-447C-99F6-8A43AACF9ABB}"/>
                </a:ext>
              </a:extLst>
            </p:cNvPr>
            <p:cNvSpPr txBox="1"/>
            <p:nvPr/>
          </p:nvSpPr>
          <p:spPr>
            <a:xfrm rot="2704426">
              <a:off x="10827029" y="372054"/>
              <a:ext cx="1917854" cy="589637"/>
            </a:xfrm>
            <a:prstGeom prst="rect">
              <a:avLst/>
            </a:prstGeom>
            <a:noFill/>
          </p:spPr>
          <p:txBody>
            <a:bodyPr wrap="none" lIns="182880" tIns="146304" rIns="182880" bIns="146304" rtlCol="0">
              <a:spAutoFit/>
            </a:bodyPr>
            <a:lstStyle/>
            <a:p>
              <a:pPr>
                <a:lnSpc>
                  <a:spcPct val="90000"/>
                </a:lnSpc>
                <a:spcAft>
                  <a:spcPts val="600"/>
                </a:spcAft>
              </a:pPr>
              <a:r>
                <a:rPr lang="en-GB" sz="1600" b="1">
                  <a:solidFill>
                    <a:srgbClr val="647406"/>
                  </a:solidFill>
                </a:rPr>
                <a:t>  GA Jan 2017</a:t>
              </a:r>
            </a:p>
          </p:txBody>
        </p:sp>
      </p:grpSp>
      <p:sp>
        <p:nvSpPr>
          <p:cNvPr id="64" name="Content Placeholder 2">
            <a:extLst>
              <a:ext uri="{FF2B5EF4-FFF2-40B4-BE49-F238E27FC236}">
                <a16:creationId xmlns:a16="http://schemas.microsoft.com/office/drawing/2014/main" id="{49D28A7E-E470-4310-9CC7-26C2430FB087}"/>
              </a:ext>
            </a:extLst>
          </p:cNvPr>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45"/>
                                        </p:tgtEl>
                                        <p:attrNameLst>
                                          <p:attrName>ppt_x</p:attrName>
                                          <p:attrName>ppt_y</p:attrName>
                                        </p:attrNameLst>
                                      </p:cBhvr>
                                      <p:rCtr x="-1187" y="0"/>
                                    </p:animMotion>
                                  </p:childTnLst>
                                </p:cTn>
                              </p:par>
                              <p:par>
                                <p:cTn id="10" presetID="10" presetClass="entr" presetSubtype="0" fill="hold" grpId="0" nodeType="with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6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64" grpId="0"/>
      <p:bldP spid="64" grpId="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2: Virtual Machine Tutorial</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506600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aking use of the tutorials in Azure Doc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inux</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werShel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eck the lab guide for parameter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eb server configuration section is optional</a:t>
            </a:r>
          </a:p>
        </p:txBody>
      </p:sp>
    </p:spTree>
    <p:extLst>
      <p:ext uri="{BB962C8B-B14F-4D97-AF65-F5344CB8AC3E}">
        <p14:creationId xmlns:p14="http://schemas.microsoft.com/office/powerpoint/2010/main" val="2287128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60418E-6 L -0.05285 3.60418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4"/>
          <p:cNvGrpSpPr>
            <a:grpSpLocks noChangeAspect="1"/>
          </p:cNvGrpSpPr>
          <p:nvPr/>
        </p:nvGrpSpPr>
        <p:grpSpPr bwMode="auto">
          <a:xfrm>
            <a:off x="6515364" y="1565243"/>
            <a:ext cx="5446156" cy="4515529"/>
            <a:chOff x="2863" y="318"/>
            <a:chExt cx="4354" cy="3610"/>
          </a:xfrm>
        </p:grpSpPr>
        <p:sp>
          <p:nvSpPr>
            <p:cNvPr id="82"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3"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4"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5"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6"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7"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8"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9"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0"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1"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2"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3"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4" name="Rectangle 16"/>
            <p:cNvSpPr>
              <a:spLocks noChangeArrowheads="1"/>
            </p:cNvSpPr>
            <p:nvPr/>
          </p:nvSpPr>
          <p:spPr bwMode="auto">
            <a:xfrm>
              <a:off x="3398" y="2838"/>
              <a:ext cx="49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SQL - A</a:t>
              </a:r>
              <a:endParaRPr lang="en-US" altLang="en-US" sz="1122" kern="0">
                <a:solidFill>
                  <a:srgbClr val="00B0F0"/>
                </a:solidFill>
                <a:latin typeface="Segoe UI Semilight" panose="020B0402040204020203" pitchFamily="34" charset="0"/>
                <a:cs typeface="Segoe UI Semilight" panose="020B0402040204020203" pitchFamily="34" charset="0"/>
              </a:endParaRPr>
            </a:p>
          </p:txBody>
        </p:sp>
        <p:sp>
          <p:nvSpPr>
            <p:cNvPr id="95"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6"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7"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8"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9"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0"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1"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2"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3"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4"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5"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6"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7"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8"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9" name="Rectangle 31"/>
            <p:cNvSpPr>
              <a:spLocks noChangeArrowheads="1"/>
            </p:cNvSpPr>
            <p:nvPr/>
          </p:nvSpPr>
          <p:spPr bwMode="auto">
            <a:xfrm>
              <a:off x="4884" y="2838"/>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Website</a:t>
              </a: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10"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1"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2"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428" kern="0">
                <a:solidFill>
                  <a:srgbClr val="00B0F0"/>
                </a:solidFill>
                <a:latin typeface="Segoe UI Semilight" panose="020B0402040204020203" pitchFamily="34" charset="0"/>
                <a:cs typeface="Segoe UI Semilight" panose="020B0402040204020203" pitchFamily="34" charset="0"/>
              </a:endParaRPr>
            </a:p>
          </p:txBody>
        </p:sp>
        <p:sp>
          <p:nvSpPr>
            <p:cNvPr id="113"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4"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5"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6"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7"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8"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9"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0"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1"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2"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3"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4"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5" name="Rectangle 47"/>
            <p:cNvSpPr>
              <a:spLocks noChangeArrowheads="1"/>
            </p:cNvSpPr>
            <p:nvPr/>
          </p:nvSpPr>
          <p:spPr bwMode="auto">
            <a:xfrm>
              <a:off x="6417" y="2788"/>
              <a:ext cx="41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Virtua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6" name="Rectangle 48"/>
            <p:cNvSpPr>
              <a:spLocks noChangeArrowheads="1"/>
            </p:cNvSpPr>
            <p:nvPr/>
          </p:nvSpPr>
          <p:spPr bwMode="auto">
            <a:xfrm>
              <a:off x="6417" y="2933"/>
              <a:ext cx="60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Machines</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7"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8"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9"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0"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1"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2" name="Rectangle 54"/>
            <p:cNvSpPr>
              <a:spLocks noChangeArrowheads="1"/>
            </p:cNvSpPr>
            <p:nvPr/>
          </p:nvSpPr>
          <p:spPr bwMode="auto">
            <a:xfrm>
              <a:off x="4731" y="523"/>
              <a:ext cx="41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SQL-A</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3" name="Rectangle 55"/>
            <p:cNvSpPr>
              <a:spLocks noChangeArrowheads="1"/>
            </p:cNvSpPr>
            <p:nvPr/>
          </p:nvSpPr>
          <p:spPr bwMode="auto">
            <a:xfrm>
              <a:off x="4728" y="747"/>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Website</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4" name="Rectangle 56"/>
            <p:cNvSpPr>
              <a:spLocks noChangeArrowheads="1"/>
            </p:cNvSpPr>
            <p:nvPr/>
          </p:nvSpPr>
          <p:spPr bwMode="auto">
            <a:xfrm>
              <a:off x="4713" y="987"/>
              <a:ext cx="63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414042"/>
                  </a:solidFill>
                  <a:latin typeface="Segoe UI Semilight" panose="020B0402040204020203" pitchFamily="34" charset="0"/>
                  <a:cs typeface="Segoe UI Semilight" panose="020B0402040204020203" pitchFamily="34" charset="0"/>
                </a:rPr>
                <a:t>[SQL CONFIG] VM (2x)</a:t>
              </a:r>
              <a:endParaRPr lang="en-US" altLang="en-US" sz="1632" kern="0">
                <a:solidFill>
                  <a:srgbClr val="00B0F0"/>
                </a:solidFill>
                <a:latin typeface="Segoe UI Semilight" panose="020B0402040204020203" pitchFamily="34" charset="0"/>
                <a:cs typeface="Segoe UI Semilight" panose="020B0402040204020203" pitchFamily="34" charset="0"/>
              </a:endParaRPr>
            </a:p>
          </p:txBody>
        </p:sp>
        <p:sp>
          <p:nvSpPr>
            <p:cNvPr id="135"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6"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7"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8"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9"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0"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1"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2"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3"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4"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5"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6" name="Rectangle 68"/>
            <p:cNvSpPr>
              <a:spLocks noChangeArrowheads="1"/>
            </p:cNvSpPr>
            <p:nvPr/>
          </p:nvSpPr>
          <p:spPr bwMode="auto">
            <a:xfrm>
              <a:off x="6236"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7"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8" name="Rectangle 70"/>
            <p:cNvSpPr>
              <a:spLocks noChangeArrowheads="1"/>
            </p:cNvSpPr>
            <p:nvPr/>
          </p:nvSpPr>
          <p:spPr bwMode="auto">
            <a:xfrm>
              <a:off x="4713"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9"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0"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1"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2"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53" name="Rectangle 75"/>
            <p:cNvSpPr>
              <a:spLocks noChangeArrowheads="1"/>
            </p:cNvSpPr>
            <p:nvPr/>
          </p:nvSpPr>
          <p:spPr bwMode="auto">
            <a:xfrm>
              <a:off x="4023" y="3702"/>
              <a:ext cx="54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918" b="1" kern="0">
                  <a:solidFill>
                    <a:srgbClr val="FFFFFF"/>
                  </a:solidFill>
                  <a:latin typeface="Segoe UI Semilight" panose="020B0402040204020203" pitchFamily="34" charset="0"/>
                  <a:cs typeface="Segoe UI Semilight" panose="020B0402040204020203" pitchFamily="34" charset="0"/>
                </a:rPr>
                <a:t>SQLCONFIG</a:t>
              </a:r>
              <a:endParaRPr lang="en-US" altLang="en-US" sz="1224" kern="0">
                <a:solidFill>
                  <a:srgbClr val="00B0F0"/>
                </a:solidFill>
                <a:latin typeface="Segoe UI Semilight" panose="020B0402040204020203" pitchFamily="34" charset="0"/>
                <a:cs typeface="Segoe UI Semilight" panose="020B0402040204020203" pitchFamily="34" charset="0"/>
              </a:endParaRPr>
            </a:p>
          </p:txBody>
        </p:sp>
        <p:sp>
          <p:nvSpPr>
            <p:cNvPr id="154" name="Rectangle 76"/>
            <p:cNvSpPr>
              <a:spLocks noChangeArrowheads="1"/>
            </p:cNvSpPr>
            <p:nvPr/>
          </p:nvSpPr>
          <p:spPr bwMode="auto">
            <a:xfrm>
              <a:off x="4204"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55" name="Rectangle 77"/>
            <p:cNvSpPr>
              <a:spLocks noChangeArrowheads="1"/>
            </p:cNvSpPr>
            <p:nvPr/>
          </p:nvSpPr>
          <p:spPr bwMode="auto">
            <a:xfrm>
              <a:off x="4257"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grpSp>
      <p:sp>
        <p:nvSpPr>
          <p:cNvPr id="79" name="Rectangle 78"/>
          <p:cNvSpPr/>
          <p:nvPr/>
        </p:nvSpPr>
        <p:spPr>
          <a:xfrm>
            <a:off x="882" y="0"/>
            <a:ext cx="12434712" cy="111438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80" name="Title 2"/>
          <p:cNvSpPr txBox="1">
            <a:spLocks/>
          </p:cNvSpPr>
          <p:nvPr/>
        </p:nvSpPr>
        <p:spPr>
          <a:xfrm>
            <a:off x="176030" y="8961"/>
            <a:ext cx="11785489" cy="1096456"/>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5400" cap="all">
                <a:solidFill>
                  <a:schemeClr val="bg1"/>
                </a:solidFill>
                <a:latin typeface="+mn-lt"/>
                <a:ea typeface="Abyssinica SIL" panose="02000603020000020004" pitchFamily="2" charset="0"/>
                <a:cs typeface="Leelawadee UI" panose="020B0502040204020203" pitchFamily="34" charset="-34"/>
              </a:rPr>
              <a:t>Azure Resource Manager</a:t>
            </a:r>
          </a:p>
        </p:txBody>
      </p:sp>
      <p:sp>
        <p:nvSpPr>
          <p:cNvPr id="156" name="Rectangle 155"/>
          <p:cNvSpPr/>
          <p:nvPr/>
        </p:nvSpPr>
        <p:spPr>
          <a:xfrm>
            <a:off x="458627" y="2627292"/>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3</a:t>
            </a:r>
          </a:p>
        </p:txBody>
      </p:sp>
      <p:sp>
        <p:nvSpPr>
          <p:cNvPr id="157" name="Rectangle 156"/>
          <p:cNvSpPr/>
          <p:nvPr/>
        </p:nvSpPr>
        <p:spPr>
          <a:xfrm>
            <a:off x="1035907" y="2627292"/>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Repeated deployment in consistent state</a:t>
            </a:r>
          </a:p>
        </p:txBody>
      </p:sp>
      <p:sp>
        <p:nvSpPr>
          <p:cNvPr id="158" name="Rectangle 157"/>
          <p:cNvSpPr/>
          <p:nvPr/>
        </p:nvSpPr>
        <p:spPr>
          <a:xfrm>
            <a:off x="458627" y="2091695"/>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2</a:t>
            </a:r>
          </a:p>
        </p:txBody>
      </p:sp>
      <p:sp>
        <p:nvSpPr>
          <p:cNvPr id="159" name="Rectangle 158"/>
          <p:cNvSpPr/>
          <p:nvPr/>
        </p:nvSpPr>
        <p:spPr>
          <a:xfrm>
            <a:off x="1035907" y="2091695"/>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imple orchestration</a:t>
            </a:r>
          </a:p>
        </p:txBody>
      </p:sp>
      <p:sp>
        <p:nvSpPr>
          <p:cNvPr id="160" name="Rectangle 159"/>
          <p:cNvSpPr/>
          <p:nvPr/>
        </p:nvSpPr>
        <p:spPr>
          <a:xfrm>
            <a:off x="458627" y="1557531"/>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1</a:t>
            </a:r>
          </a:p>
        </p:txBody>
      </p:sp>
      <p:sp>
        <p:nvSpPr>
          <p:cNvPr id="161" name="Rectangle 160"/>
          <p:cNvSpPr/>
          <p:nvPr/>
        </p:nvSpPr>
        <p:spPr>
          <a:xfrm>
            <a:off x="1035907" y="1557531"/>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pecify resources &amp; dependencies</a:t>
            </a:r>
          </a:p>
        </p:txBody>
      </p:sp>
      <p:sp>
        <p:nvSpPr>
          <p:cNvPr id="162" name="Rectangle 161"/>
          <p:cNvSpPr/>
          <p:nvPr/>
        </p:nvSpPr>
        <p:spPr>
          <a:xfrm>
            <a:off x="458627" y="3162890"/>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4</a:t>
            </a:r>
          </a:p>
        </p:txBody>
      </p:sp>
      <p:sp>
        <p:nvSpPr>
          <p:cNvPr id="163" name="Rectangle 162"/>
          <p:cNvSpPr/>
          <p:nvPr/>
        </p:nvSpPr>
        <p:spPr>
          <a:xfrm>
            <a:off x="1035907" y="3162890"/>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Incremental deployments</a:t>
            </a:r>
          </a:p>
        </p:txBody>
      </p:sp>
      <p:sp>
        <p:nvSpPr>
          <p:cNvPr id="164" name="Isosceles Triangle 163"/>
          <p:cNvSpPr/>
          <p:nvPr/>
        </p:nvSpPr>
        <p:spPr>
          <a:xfrm rot="10800000">
            <a:off x="8938173" y="1045368"/>
            <a:ext cx="467948" cy="403403"/>
          </a:xfrm>
          <a:prstGeom prst="triangl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64"/>
          <p:cNvSpPr/>
          <p:nvPr/>
        </p:nvSpPr>
        <p:spPr>
          <a:xfrm>
            <a:off x="457064" y="3717658"/>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5</a:t>
            </a:r>
          </a:p>
        </p:txBody>
      </p:sp>
      <p:sp>
        <p:nvSpPr>
          <p:cNvPr id="166" name="Rectangle 165"/>
          <p:cNvSpPr/>
          <p:nvPr/>
        </p:nvSpPr>
        <p:spPr>
          <a:xfrm>
            <a:off x="1034344" y="3717658"/>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JSON based templates</a:t>
            </a:r>
          </a:p>
        </p:txBody>
      </p:sp>
      <p:grpSp>
        <p:nvGrpSpPr>
          <p:cNvPr id="167" name="Group 166">
            <a:extLst>
              <a:ext uri="{FF2B5EF4-FFF2-40B4-BE49-F238E27FC236}">
                <a16:creationId xmlns:a16="http://schemas.microsoft.com/office/drawing/2014/main" id="{29ED679D-AF24-432F-A27B-1AF3869DA376}"/>
              </a:ext>
            </a:extLst>
          </p:cNvPr>
          <p:cNvGrpSpPr/>
          <p:nvPr/>
        </p:nvGrpSpPr>
        <p:grpSpPr>
          <a:xfrm>
            <a:off x="7023561" y="1481038"/>
            <a:ext cx="4667284" cy="5334000"/>
            <a:chOff x="7082333" y="1481038"/>
            <a:chExt cx="4667284" cy="5334000"/>
          </a:xfrm>
        </p:grpSpPr>
        <p:grpSp>
          <p:nvGrpSpPr>
            <p:cNvPr id="168" name="Group 167">
              <a:extLst>
                <a:ext uri="{FF2B5EF4-FFF2-40B4-BE49-F238E27FC236}">
                  <a16:creationId xmlns:a16="http://schemas.microsoft.com/office/drawing/2014/main" id="{7BE60089-17E2-4BE6-81CF-28745CCE6A23}"/>
                </a:ext>
              </a:extLst>
            </p:cNvPr>
            <p:cNvGrpSpPr/>
            <p:nvPr/>
          </p:nvGrpSpPr>
          <p:grpSpPr>
            <a:xfrm>
              <a:off x="7082333" y="1481038"/>
              <a:ext cx="4419600" cy="2286000"/>
              <a:chOff x="6599237" y="4183062"/>
              <a:chExt cx="4419600" cy="2286000"/>
            </a:xfrm>
            <a:solidFill>
              <a:schemeClr val="tx1">
                <a:lumMod val="40000"/>
                <a:lumOff val="60000"/>
              </a:schemeClr>
            </a:solidFill>
          </p:grpSpPr>
          <p:sp>
            <p:nvSpPr>
              <p:cNvPr id="172" name="Scroll: Vertical 171">
                <a:extLst>
                  <a:ext uri="{FF2B5EF4-FFF2-40B4-BE49-F238E27FC236}">
                    <a16:creationId xmlns:a16="http://schemas.microsoft.com/office/drawing/2014/main" id="{93052A3B-4CC1-4BC2-937A-B436C572AD3C}"/>
                  </a:ext>
                </a:extLst>
              </p:cNvPr>
              <p:cNvSpPr/>
              <p:nvPr/>
            </p:nvSpPr>
            <p:spPr bwMode="auto">
              <a:xfrm>
                <a:off x="6599237" y="4183062"/>
                <a:ext cx="4419600" cy="2286000"/>
              </a:xfrm>
              <a:prstGeom prst="verticalScroll">
                <a:avLst/>
              </a:prstGeom>
              <a:grpFill/>
              <a:ln w="12700">
                <a:solidFill>
                  <a:schemeClr val="bg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GB" sz="2000">
                    <a:solidFill>
                      <a:schemeClr val="tx1">
                        <a:lumMod val="75000"/>
                      </a:schemeClr>
                    </a:solidFill>
                  </a:rPr>
                  <a:t>ARM Template</a:t>
                </a:r>
              </a:p>
              <a:p>
                <a:pPr algn="ctr" defTabSz="932472" fontAlgn="base">
                  <a:spcBef>
                    <a:spcPct val="0"/>
                  </a:spcBef>
                  <a:spcAft>
                    <a:spcPct val="0"/>
                  </a:spcAft>
                </a:pPr>
                <a:endParaRPr lang="en-GB" sz="2000">
                  <a:solidFill>
                    <a:schemeClr val="tx1">
                      <a:lumMod val="75000"/>
                    </a:schemeClr>
                  </a:solidFill>
                </a:endParaRPr>
              </a:p>
              <a:p>
                <a:pPr algn="ctr" defTabSz="932472" fontAlgn="base">
                  <a:spcBef>
                    <a:spcPct val="0"/>
                  </a:spcBef>
                  <a:spcAft>
                    <a:spcPct val="0"/>
                  </a:spcAft>
                </a:pPr>
                <a:endParaRPr lang="en-GB" sz="2000">
                  <a:solidFill>
                    <a:schemeClr val="tx1">
                      <a:lumMod val="75000"/>
                    </a:schemeClr>
                  </a:solidFill>
                </a:endParaRPr>
              </a:p>
            </p:txBody>
          </p:sp>
          <p:sp>
            <p:nvSpPr>
              <p:cNvPr id="173" name="TextBox 172">
                <a:extLst>
                  <a:ext uri="{FF2B5EF4-FFF2-40B4-BE49-F238E27FC236}">
                    <a16:creationId xmlns:a16="http://schemas.microsoft.com/office/drawing/2014/main" id="{F19AC39F-2F7B-4C11-A26A-2AA64EC39E3D}"/>
                  </a:ext>
                </a:extLst>
              </p:cNvPr>
              <p:cNvSpPr txBox="1"/>
              <p:nvPr/>
            </p:nvSpPr>
            <p:spPr>
              <a:xfrm>
                <a:off x="6903445" y="4792662"/>
                <a:ext cx="1981200" cy="1600200"/>
              </a:xfrm>
              <a:prstGeom prst="rect">
                <a:avLst/>
              </a:prstGeom>
              <a:grpFill/>
            </p:spPr>
            <p:txBody>
              <a:bodyPr wrap="none" lIns="182880" tIns="146304" rIns="182880" bIns="146304" rtlCol="0">
                <a:noAutofit/>
              </a:bodyPr>
              <a:lstStyle/>
              <a:p>
                <a:pPr>
                  <a:lnSpc>
                    <a:spcPct val="90000"/>
                  </a:lnSpc>
                  <a:spcBef>
                    <a:spcPts val="1200"/>
                  </a:spcBef>
                  <a:spcAft>
                    <a:spcPts val="600"/>
                  </a:spcAft>
                </a:pP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parameter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variabl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resourc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type: "</a:t>
                </a:r>
                <a:r>
                  <a:rPr lang="en-GB" sz="1000" err="1">
                    <a:solidFill>
                      <a:schemeClr val="tx1">
                        <a:lumMod val="75000"/>
                      </a:schemeClr>
                    </a:solidFill>
                    <a:latin typeface="Courier New" panose="02070309020205020404" pitchFamily="49" charset="0"/>
                    <a:cs typeface="Courier New" panose="02070309020205020404" pitchFamily="49" charset="0"/>
                  </a:rPr>
                  <a:t>Microsoft.Compute</a:t>
                </a:r>
                <a:r>
                  <a:rPr lang="en-GB" sz="1000">
                    <a:solidFill>
                      <a:schemeClr val="tx1">
                        <a:lumMod val="75000"/>
                      </a:schemeClr>
                    </a:solidFill>
                    <a:latin typeface="Courier New" panose="02070309020205020404" pitchFamily="49" charset="0"/>
                    <a:cs typeface="Courier New" panose="02070309020205020404" pitchFamily="49" charset="0"/>
                  </a:rPr>
                  <a:t>/</a:t>
                </a:r>
                <a:r>
                  <a:rPr lang="en-GB" sz="1000" err="1">
                    <a:solidFill>
                      <a:schemeClr val="tx1">
                        <a:lumMod val="75000"/>
                      </a:schemeClr>
                    </a:solidFill>
                    <a:latin typeface="Courier New" panose="02070309020205020404" pitchFamily="49" charset="0"/>
                    <a:cs typeface="Courier New" panose="02070309020205020404" pitchFamily="49" charset="0"/>
                  </a:rPr>
                  <a:t>virtualMachines</a:t>
                </a: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output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a:t>
                </a:r>
              </a:p>
            </p:txBody>
          </p:sp>
        </p:grpSp>
        <p:grpSp>
          <p:nvGrpSpPr>
            <p:cNvPr id="169" name="Group 168">
              <a:extLst>
                <a:ext uri="{FF2B5EF4-FFF2-40B4-BE49-F238E27FC236}">
                  <a16:creationId xmlns:a16="http://schemas.microsoft.com/office/drawing/2014/main" id="{EDC6C2C9-4DF4-4A24-AADA-1023B683607F}"/>
                </a:ext>
              </a:extLst>
            </p:cNvPr>
            <p:cNvGrpSpPr/>
            <p:nvPr/>
          </p:nvGrpSpPr>
          <p:grpSpPr>
            <a:xfrm>
              <a:off x="7586389" y="3599363"/>
              <a:ext cx="4163228" cy="3215675"/>
              <a:chOff x="7586389" y="3599363"/>
              <a:chExt cx="4163228" cy="3215675"/>
            </a:xfrm>
          </p:grpSpPr>
          <p:pic>
            <p:nvPicPr>
              <p:cNvPr id="170" name="Picture 169">
                <a:extLst>
                  <a:ext uri="{FF2B5EF4-FFF2-40B4-BE49-F238E27FC236}">
                    <a16:creationId xmlns:a16="http://schemas.microsoft.com/office/drawing/2014/main" id="{810AF3D8-1391-49AC-A189-9B55CA8B779A}"/>
                  </a:ext>
                </a:extLst>
              </p:cNvPr>
              <p:cNvPicPr>
                <a:picLocks noChangeAspect="1"/>
              </p:cNvPicPr>
              <p:nvPr/>
            </p:nvPicPr>
            <p:blipFill>
              <a:blip r:embed="rId3"/>
              <a:stretch>
                <a:fillRect/>
              </a:stretch>
            </p:blipFill>
            <p:spPr>
              <a:xfrm>
                <a:off x="7586389" y="4300438"/>
                <a:ext cx="4163228" cy="2514600"/>
              </a:xfrm>
              <a:prstGeom prst="rect">
                <a:avLst/>
              </a:prstGeom>
            </p:spPr>
          </p:pic>
          <p:sp>
            <p:nvSpPr>
              <p:cNvPr id="171" name="Isosceles Triangle 170">
                <a:extLst>
                  <a:ext uri="{FF2B5EF4-FFF2-40B4-BE49-F238E27FC236}">
                    <a16:creationId xmlns:a16="http://schemas.microsoft.com/office/drawing/2014/main" id="{EF9E40F5-E445-4ED6-B719-DF87192276DA}"/>
                  </a:ext>
                </a:extLst>
              </p:cNvPr>
              <p:cNvSpPr/>
              <p:nvPr/>
            </p:nvSpPr>
            <p:spPr bwMode="auto">
              <a:xfrm>
                <a:off x="8203107" y="3599363"/>
                <a:ext cx="479426" cy="701076"/>
              </a:xfrm>
              <a:prstGeom prst="triangle">
                <a:avLst>
                  <a:gd name="adj" fmla="val 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sz="2000">
                  <a:gradFill>
                    <a:gsLst>
                      <a:gs pos="0">
                        <a:srgbClr val="FFFFFF"/>
                      </a:gs>
                      <a:gs pos="100000">
                        <a:srgbClr val="FFFFFF"/>
                      </a:gs>
                    </a:gsLst>
                    <a:lin ang="5400000" scaled="0"/>
                  </a:gradFill>
                </a:endParaRPr>
              </a:p>
            </p:txBody>
          </p:sp>
        </p:grpSp>
      </p:grpSp>
      <p:sp>
        <p:nvSpPr>
          <p:cNvPr id="2" name="TextBox 1">
            <a:extLst>
              <a:ext uri="{FF2B5EF4-FFF2-40B4-BE49-F238E27FC236}">
                <a16:creationId xmlns:a16="http://schemas.microsoft.com/office/drawing/2014/main" id="{20264F3E-6384-466B-A817-4D691C062A57}"/>
              </a:ext>
            </a:extLst>
          </p:cNvPr>
          <p:cNvSpPr txBox="1"/>
          <p:nvPr/>
        </p:nvSpPr>
        <p:spPr>
          <a:xfrm>
            <a:off x="2653048" y="6494525"/>
            <a:ext cx="981679"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SDKs</a:t>
            </a:r>
          </a:p>
        </p:txBody>
      </p:sp>
      <p:pic>
        <p:nvPicPr>
          <p:cNvPr id="175" name="Picture 174" descr="A close up of a sign&#10;&#10;Description generated with high confidence">
            <a:extLst>
              <a:ext uri="{FF2B5EF4-FFF2-40B4-BE49-F238E27FC236}">
                <a16:creationId xmlns:a16="http://schemas.microsoft.com/office/drawing/2014/main" id="{822D0D51-34AA-41E9-97A7-07C167B688D4}"/>
              </a:ext>
            </a:extLst>
          </p:cNvPr>
          <p:cNvPicPr>
            <a:picLocks noChangeAspect="1"/>
          </p:cNvPicPr>
          <p:nvPr/>
        </p:nvPicPr>
        <p:blipFill>
          <a:blip r:embed="rId4"/>
          <a:stretch>
            <a:fillRect/>
          </a:stretch>
        </p:blipFill>
        <p:spPr>
          <a:xfrm>
            <a:off x="2219787" y="6030739"/>
            <a:ext cx="542066" cy="542066"/>
          </a:xfrm>
          <a:prstGeom prst="rect">
            <a:avLst/>
          </a:prstGeom>
        </p:spPr>
      </p:pic>
      <p:pic>
        <p:nvPicPr>
          <p:cNvPr id="176" name="Graphic 175">
            <a:extLst>
              <a:ext uri="{FF2B5EF4-FFF2-40B4-BE49-F238E27FC236}">
                <a16:creationId xmlns:a16="http://schemas.microsoft.com/office/drawing/2014/main" id="{C5265C41-3012-4B65-988E-1B00273FA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1638" y="6058442"/>
            <a:ext cx="497694" cy="497694"/>
          </a:xfrm>
          <a:prstGeom prst="rect">
            <a:avLst/>
          </a:prstGeom>
        </p:spPr>
      </p:pic>
      <p:grpSp>
        <p:nvGrpSpPr>
          <p:cNvPr id="4" name="Group 3">
            <a:extLst>
              <a:ext uri="{FF2B5EF4-FFF2-40B4-BE49-F238E27FC236}">
                <a16:creationId xmlns:a16="http://schemas.microsoft.com/office/drawing/2014/main" id="{5D84005D-71A8-4150-95D2-DD7C90CA53F5}"/>
              </a:ext>
            </a:extLst>
          </p:cNvPr>
          <p:cNvGrpSpPr/>
          <p:nvPr/>
        </p:nvGrpSpPr>
        <p:grpSpPr>
          <a:xfrm>
            <a:off x="927605" y="5673111"/>
            <a:ext cx="894086" cy="894086"/>
            <a:chOff x="2867416" y="4366233"/>
            <a:chExt cx="1052311" cy="1052311"/>
          </a:xfrm>
        </p:grpSpPr>
        <p:pic>
          <p:nvPicPr>
            <p:cNvPr id="177" name="Graphic 176">
              <a:extLst>
                <a:ext uri="{FF2B5EF4-FFF2-40B4-BE49-F238E27FC236}">
                  <a16:creationId xmlns:a16="http://schemas.microsoft.com/office/drawing/2014/main" id="{7FBC87DF-AABD-4CC7-9965-8F8968B32F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7416" y="4366233"/>
              <a:ext cx="1052311" cy="1052311"/>
            </a:xfrm>
            <a:prstGeom prst="rect">
              <a:avLst/>
            </a:prstGeom>
          </p:spPr>
        </p:pic>
        <p:sp>
          <p:nvSpPr>
            <p:cNvPr id="3" name="TextBox 2">
              <a:extLst>
                <a:ext uri="{FF2B5EF4-FFF2-40B4-BE49-F238E27FC236}">
                  <a16:creationId xmlns:a16="http://schemas.microsoft.com/office/drawing/2014/main" id="{CE41C420-7A87-4557-B3BB-95B57388F416}"/>
                </a:ext>
              </a:extLst>
            </p:cNvPr>
            <p:cNvSpPr txBox="1"/>
            <p:nvPr/>
          </p:nvSpPr>
          <p:spPr>
            <a:xfrm>
              <a:off x="3031359" y="4449950"/>
              <a:ext cx="742062" cy="489363"/>
            </a:xfrm>
            <a:prstGeom prst="rect">
              <a:avLst/>
            </a:prstGeom>
            <a:noFill/>
          </p:spPr>
          <p:txBody>
            <a:bodyPr wrap="none" lIns="182880" tIns="146304" rIns="182880" bIns="146304" rtlCol="0">
              <a:spAutoFit/>
            </a:bodyPr>
            <a:lstStyle/>
            <a:p>
              <a:pPr>
                <a:lnSpc>
                  <a:spcPct val="90000"/>
                </a:lnSpc>
                <a:spcAft>
                  <a:spcPts val="600"/>
                </a:spcAft>
              </a:pPr>
              <a:r>
                <a:rPr lang="en-GB" sz="1400">
                  <a:solidFill>
                    <a:schemeClr val="bg1">
                      <a:lumMod val="95000"/>
                    </a:schemeClr>
                  </a:solidFill>
                </a:rPr>
                <a:t>bash</a:t>
              </a:r>
            </a:p>
          </p:txBody>
        </p:sp>
      </p:grpSp>
      <p:pic>
        <p:nvPicPr>
          <p:cNvPr id="178" name="Picture 177" descr="A picture containing monitor, thing, sitting, object&#10;&#10;Description generated with very high confidence">
            <a:extLst>
              <a:ext uri="{FF2B5EF4-FFF2-40B4-BE49-F238E27FC236}">
                <a16:creationId xmlns:a16="http://schemas.microsoft.com/office/drawing/2014/main" id="{51AF7DC5-09EB-4250-81A3-279E5A31E924}"/>
              </a:ext>
            </a:extLst>
          </p:cNvPr>
          <p:cNvPicPr>
            <a:picLocks noChangeAspect="1"/>
          </p:cNvPicPr>
          <p:nvPr/>
        </p:nvPicPr>
        <p:blipFill>
          <a:blip r:embed="rId9"/>
          <a:stretch>
            <a:fillRect/>
          </a:stretch>
        </p:blipFill>
        <p:spPr>
          <a:xfrm>
            <a:off x="1341363" y="4440143"/>
            <a:ext cx="792088" cy="792088"/>
          </a:xfrm>
          <a:prstGeom prst="rect">
            <a:avLst/>
          </a:prstGeom>
        </p:spPr>
      </p:pic>
      <p:pic>
        <p:nvPicPr>
          <p:cNvPr id="179" name="Picture 178">
            <a:extLst>
              <a:ext uri="{FF2B5EF4-FFF2-40B4-BE49-F238E27FC236}">
                <a16:creationId xmlns:a16="http://schemas.microsoft.com/office/drawing/2014/main" id="{773A6544-154E-4490-9368-49FCB76182C5}"/>
              </a:ext>
            </a:extLst>
          </p:cNvPr>
          <p:cNvPicPr>
            <a:picLocks noChangeAspect="1"/>
          </p:cNvPicPr>
          <p:nvPr/>
        </p:nvPicPr>
        <p:blipFill>
          <a:blip r:embed="rId10"/>
          <a:stretch>
            <a:fillRect/>
          </a:stretch>
        </p:blipFill>
        <p:spPr>
          <a:xfrm>
            <a:off x="467529" y="4778851"/>
            <a:ext cx="646482" cy="646482"/>
          </a:xfrm>
          <a:prstGeom prst="rect">
            <a:avLst/>
          </a:prstGeom>
        </p:spPr>
      </p:pic>
      <p:pic>
        <p:nvPicPr>
          <p:cNvPr id="180" name="Picture 179">
            <a:extLst>
              <a:ext uri="{FF2B5EF4-FFF2-40B4-BE49-F238E27FC236}">
                <a16:creationId xmlns:a16="http://schemas.microsoft.com/office/drawing/2014/main" id="{F13AFB3C-3255-49D3-95A3-BD9E707FBAAF}"/>
              </a:ext>
            </a:extLst>
          </p:cNvPr>
          <p:cNvPicPr>
            <a:picLocks noChangeAspect="1"/>
          </p:cNvPicPr>
          <p:nvPr/>
        </p:nvPicPr>
        <p:blipFill>
          <a:blip r:embed="rId11"/>
          <a:stretch>
            <a:fillRect/>
          </a:stretch>
        </p:blipFill>
        <p:spPr>
          <a:xfrm>
            <a:off x="4238188" y="5274737"/>
            <a:ext cx="607645" cy="607645"/>
          </a:xfrm>
          <a:prstGeom prst="rect">
            <a:avLst/>
          </a:prstGeom>
        </p:spPr>
      </p:pic>
      <p:pic>
        <p:nvPicPr>
          <p:cNvPr id="9" name="Graphic 8">
            <a:extLst>
              <a:ext uri="{FF2B5EF4-FFF2-40B4-BE49-F238E27FC236}">
                <a16:creationId xmlns:a16="http://schemas.microsoft.com/office/drawing/2014/main" id="{732E5DBD-5DC0-47B4-BB1A-61053A0828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04623" y="5731441"/>
            <a:ext cx="583166" cy="583166"/>
          </a:xfrm>
          <a:prstGeom prst="rect">
            <a:avLst/>
          </a:prstGeom>
        </p:spPr>
      </p:pic>
      <p:pic>
        <p:nvPicPr>
          <p:cNvPr id="11" name="Graphic 10">
            <a:extLst>
              <a:ext uri="{FF2B5EF4-FFF2-40B4-BE49-F238E27FC236}">
                <a16:creationId xmlns:a16="http://schemas.microsoft.com/office/drawing/2014/main" id="{6711997E-4B03-4878-ADD9-D0B2E10CCB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53941" y="6014565"/>
            <a:ext cx="574795" cy="574795"/>
          </a:xfrm>
          <a:prstGeom prst="rect">
            <a:avLst/>
          </a:prstGeom>
        </p:spPr>
      </p:pic>
      <p:sp>
        <p:nvSpPr>
          <p:cNvPr id="12" name="TextBox 11">
            <a:extLst>
              <a:ext uri="{FF2B5EF4-FFF2-40B4-BE49-F238E27FC236}">
                <a16:creationId xmlns:a16="http://schemas.microsoft.com/office/drawing/2014/main" id="{88FD2771-D219-478F-93B5-1F97FA217F2E}"/>
              </a:ext>
            </a:extLst>
          </p:cNvPr>
          <p:cNvSpPr txBox="1"/>
          <p:nvPr/>
        </p:nvSpPr>
        <p:spPr>
          <a:xfrm>
            <a:off x="1061497" y="5113318"/>
            <a:ext cx="2000997" cy="760208"/>
          </a:xfrm>
          <a:prstGeom prst="rect">
            <a:avLst/>
          </a:prstGeom>
          <a:noFill/>
        </p:spPr>
        <p:txBody>
          <a:bodyPr wrap="none" lIns="182880" tIns="146304" rIns="182880" bIns="146304" rtlCol="0">
            <a:spAutoFit/>
          </a:bodyPr>
          <a:lstStyle/>
          <a:p>
            <a:pPr>
              <a:lnSpc>
                <a:spcPct val="90000"/>
              </a:lnSpc>
              <a:spcAft>
                <a:spcPts val="600"/>
              </a:spcAft>
            </a:pPr>
            <a:r>
              <a:rPr lang="en-GB" sz="1400" b="1">
                <a:gradFill>
                  <a:gsLst>
                    <a:gs pos="2917">
                      <a:schemeClr val="tx1"/>
                    </a:gs>
                    <a:gs pos="30000">
                      <a:schemeClr val="tx1"/>
                    </a:gs>
                  </a:gsLst>
                  <a:lin ang="5400000" scaled="0"/>
                </a:gradFill>
              </a:rPr>
              <a:t>Cross platform CLIs</a:t>
            </a:r>
          </a:p>
          <a:p>
            <a:pPr>
              <a:lnSpc>
                <a:spcPct val="90000"/>
              </a:lnSpc>
              <a:spcAft>
                <a:spcPts val="600"/>
              </a:spcAft>
            </a:pPr>
            <a:r>
              <a:rPr lang="en-GB" sz="1400" b="1" err="1">
                <a:gradFill>
                  <a:gsLst>
                    <a:gs pos="2917">
                      <a:schemeClr val="tx1"/>
                    </a:gs>
                    <a:gs pos="30000">
                      <a:schemeClr val="tx1"/>
                    </a:gs>
                  </a:gsLst>
                  <a:lin ang="5400000" scaled="0"/>
                </a:gradFill>
              </a:rPr>
              <a:t>Powershell</a:t>
            </a:r>
            <a:endParaRPr lang="en-GB" sz="1400" b="1">
              <a:gradFill>
                <a:gsLst>
                  <a:gs pos="2917">
                    <a:schemeClr val="tx1"/>
                  </a:gs>
                  <a:gs pos="30000">
                    <a:schemeClr val="tx1"/>
                  </a:gs>
                </a:gsLst>
                <a:lin ang="5400000" scaled="0"/>
              </a:gradFill>
            </a:endParaRPr>
          </a:p>
        </p:txBody>
      </p:sp>
      <p:sp>
        <p:nvSpPr>
          <p:cNvPr id="181" name="TextBox 180">
            <a:extLst>
              <a:ext uri="{FF2B5EF4-FFF2-40B4-BE49-F238E27FC236}">
                <a16:creationId xmlns:a16="http://schemas.microsoft.com/office/drawing/2014/main" id="{20B593E0-2E12-4940-B63A-CAC4A61693A5}"/>
              </a:ext>
            </a:extLst>
          </p:cNvPr>
          <p:cNvSpPr txBox="1"/>
          <p:nvPr/>
        </p:nvSpPr>
        <p:spPr>
          <a:xfrm>
            <a:off x="4750266" y="5203265"/>
            <a:ext cx="1504836"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Dev tools</a:t>
            </a:r>
          </a:p>
        </p:txBody>
      </p:sp>
      <p:sp>
        <p:nvSpPr>
          <p:cNvPr id="15" name="TextBox 14">
            <a:extLst>
              <a:ext uri="{FF2B5EF4-FFF2-40B4-BE49-F238E27FC236}">
                <a16:creationId xmlns:a16="http://schemas.microsoft.com/office/drawing/2014/main" id="{6AB7F496-4190-4C62-BC10-C95D76ACF87E}"/>
              </a:ext>
            </a:extLst>
          </p:cNvPr>
          <p:cNvSpPr txBox="1"/>
          <p:nvPr/>
        </p:nvSpPr>
        <p:spPr>
          <a:xfrm>
            <a:off x="8693076" y="6366235"/>
            <a:ext cx="3557219" cy="572464"/>
          </a:xfrm>
          <a:prstGeom prst="rect">
            <a:avLst/>
          </a:prstGeom>
          <a:solidFill>
            <a:srgbClr val="1E1E1E"/>
          </a:solidFill>
        </p:spPr>
        <p:txBody>
          <a:bodyPr wrap="square" lIns="182880" tIns="146304" rIns="182880" bIns="146304" rtlCol="0">
            <a:spAutoFit/>
          </a:bodyPr>
          <a:lstStyle/>
          <a:p>
            <a:pPr>
              <a:lnSpc>
                <a:spcPct val="90000"/>
              </a:lnSpc>
              <a:spcAft>
                <a:spcPts val="600"/>
              </a:spcAft>
            </a:pPr>
            <a:r>
              <a:rPr lang="en-GB" sz="2000">
                <a:solidFill>
                  <a:schemeClr val="bg1"/>
                </a:solidFill>
              </a:rPr>
              <a:t>INFRASTRUCTURE AS CODE</a:t>
            </a:r>
          </a:p>
        </p:txBody>
      </p:sp>
    </p:spTree>
    <p:extLst>
      <p:ext uri="{BB962C8B-B14F-4D97-AF65-F5344CB8AC3E}">
        <p14:creationId xmlns:p14="http://schemas.microsoft.com/office/powerpoint/2010/main" val="4189124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up)">
                                      <p:cBhvr>
                                        <p:cTn id="7" dur="500"/>
                                        <p:tgtEl>
                                          <p:spTgt spid="7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60"/>
                                        </p:tgtEl>
                                        <p:attrNameLst>
                                          <p:attrName>style.visibility</p:attrName>
                                        </p:attrNameLst>
                                      </p:cBhvr>
                                      <p:to>
                                        <p:strVal val="visible"/>
                                      </p:to>
                                    </p:set>
                                    <p:animEffect transition="in" filter="wipe(up)">
                                      <p:cBhvr>
                                        <p:cTn id="14" dur="500"/>
                                        <p:tgtEl>
                                          <p:spTgt spid="160"/>
                                        </p:tgtEl>
                                      </p:cBhvr>
                                    </p:animEffect>
                                  </p:childTnLst>
                                </p:cTn>
                              </p:par>
                              <p:par>
                                <p:cTn id="15" presetID="22" presetClass="entr" presetSubtype="1"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wipe(up)">
                                      <p:cBhvr>
                                        <p:cTn id="17" dur="500"/>
                                        <p:tgtEl>
                                          <p:spTgt spid="16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158"/>
                                        </p:tgtEl>
                                        <p:attrNameLst>
                                          <p:attrName>style.visibility</p:attrName>
                                        </p:attrNameLst>
                                      </p:cBhvr>
                                      <p:to>
                                        <p:strVal val="visible"/>
                                      </p:to>
                                    </p:set>
                                    <p:animEffect transition="in" filter="wipe(up)">
                                      <p:cBhvr>
                                        <p:cTn id="22" dur="500"/>
                                        <p:tgtEl>
                                          <p:spTgt spid="158"/>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59"/>
                                        </p:tgtEl>
                                        <p:attrNameLst>
                                          <p:attrName>style.visibility</p:attrName>
                                        </p:attrNameLst>
                                      </p:cBhvr>
                                      <p:to>
                                        <p:strVal val="visible"/>
                                      </p:to>
                                    </p:set>
                                    <p:animEffect transition="in" filter="wipe(up)">
                                      <p:cBhvr>
                                        <p:cTn id="25" dur="500"/>
                                        <p:tgtEl>
                                          <p:spTgt spid="1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up)">
                                      <p:cBhvr>
                                        <p:cTn id="30" dur="500"/>
                                        <p:tgtEl>
                                          <p:spTgt spid="15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7"/>
                                        </p:tgtEl>
                                        <p:attrNameLst>
                                          <p:attrName>style.visibility</p:attrName>
                                        </p:attrNameLst>
                                      </p:cBhvr>
                                      <p:to>
                                        <p:strVal val="visible"/>
                                      </p:to>
                                    </p:set>
                                    <p:animEffect transition="in" filter="wipe(up)">
                                      <p:cBhvr>
                                        <p:cTn id="33" dur="500"/>
                                        <p:tgtEl>
                                          <p:spTgt spid="15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62"/>
                                        </p:tgtEl>
                                        <p:attrNameLst>
                                          <p:attrName>style.visibility</p:attrName>
                                        </p:attrNameLst>
                                      </p:cBhvr>
                                      <p:to>
                                        <p:strVal val="visible"/>
                                      </p:to>
                                    </p:set>
                                    <p:animEffect transition="in" filter="wipe(up)">
                                      <p:cBhvr>
                                        <p:cTn id="38" dur="500"/>
                                        <p:tgtEl>
                                          <p:spTgt spid="16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3"/>
                                        </p:tgtEl>
                                        <p:attrNameLst>
                                          <p:attrName>style.visibility</p:attrName>
                                        </p:attrNameLst>
                                      </p:cBhvr>
                                      <p:to>
                                        <p:strVal val="visible"/>
                                      </p:to>
                                    </p:set>
                                    <p:animEffect transition="in" filter="wipe(up)">
                                      <p:cBhvr>
                                        <p:cTn id="41" dur="500"/>
                                        <p:tgtEl>
                                          <p:spTgt spid="16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64"/>
                                        </p:tgtEl>
                                        <p:attrNameLst>
                                          <p:attrName>style.visibility</p:attrName>
                                        </p:attrNameLst>
                                      </p:cBhvr>
                                      <p:to>
                                        <p:strVal val="visible"/>
                                      </p:to>
                                    </p:set>
                                    <p:animEffect transition="in" filter="wipe(up)">
                                      <p:cBhvr>
                                        <p:cTn id="44" dur="500"/>
                                        <p:tgtEl>
                                          <p:spTgt spid="16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grpId="0" nodeType="clickEffect">
                                  <p:stCondLst>
                                    <p:cond delay="0"/>
                                  </p:stCondLst>
                                  <p:childTnLst>
                                    <p:set>
                                      <p:cBhvr>
                                        <p:cTn id="48" dur="1" fill="hold">
                                          <p:stCondLst>
                                            <p:cond delay="0"/>
                                          </p:stCondLst>
                                        </p:cTn>
                                        <p:tgtEl>
                                          <p:spTgt spid="165"/>
                                        </p:tgtEl>
                                        <p:attrNameLst>
                                          <p:attrName>style.visibility</p:attrName>
                                        </p:attrNameLst>
                                      </p:cBhvr>
                                      <p:to>
                                        <p:strVal val="visible"/>
                                      </p:to>
                                    </p:set>
                                    <p:animEffect transition="in" filter="wipe(up)">
                                      <p:cBhvr>
                                        <p:cTn id="49" dur="500"/>
                                        <p:tgtEl>
                                          <p:spTgt spid="16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wipe(up)">
                                      <p:cBhvr>
                                        <p:cTn id="52" dur="500"/>
                                        <p:tgtEl>
                                          <p:spTgt spid="16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81"/>
                                        </p:tgtEl>
                                      </p:cBhvr>
                                    </p:animEffect>
                                    <p:set>
                                      <p:cBhvr>
                                        <p:cTn id="57" dur="1" fill="hold">
                                          <p:stCondLst>
                                            <p:cond delay="499"/>
                                          </p:stCondLst>
                                        </p:cTn>
                                        <p:tgtEl>
                                          <p:spTgt spid="81"/>
                                        </p:tgtEl>
                                        <p:attrNameLst>
                                          <p:attrName>style.visibility</p:attrName>
                                        </p:attrNameLst>
                                      </p:cBhvr>
                                      <p:to>
                                        <p:strVal val="hidden"/>
                                      </p:to>
                                    </p:set>
                                  </p:childTnLst>
                                </p:cTn>
                              </p:par>
                              <p:par>
                                <p:cTn id="58" presetID="10" presetClass="entr" presetSubtype="0" fill="hold" nodeType="withEffect">
                                  <p:stCondLst>
                                    <p:cond delay="0"/>
                                  </p:stCondLst>
                                  <p:childTnLst>
                                    <p:set>
                                      <p:cBhvr>
                                        <p:cTn id="59" dur="1" fill="hold">
                                          <p:stCondLst>
                                            <p:cond delay="0"/>
                                          </p:stCondLst>
                                        </p:cTn>
                                        <p:tgtEl>
                                          <p:spTgt spid="167"/>
                                        </p:tgtEl>
                                        <p:attrNameLst>
                                          <p:attrName>style.visibility</p:attrName>
                                        </p:attrNameLst>
                                      </p:cBhvr>
                                      <p:to>
                                        <p:strVal val="visible"/>
                                      </p:to>
                                    </p:set>
                                    <p:animEffect transition="in" filter="fade">
                                      <p:cBhvr>
                                        <p:cTn id="60" dur="500"/>
                                        <p:tgtEl>
                                          <p:spTgt spid="167"/>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2"/>
                                        </p:tgtEl>
                                        <p:attrNameLst>
                                          <p:attrName>style.visibility</p:attrName>
                                        </p:attrNameLst>
                                      </p:cBhvr>
                                      <p:to>
                                        <p:strVal val="visible"/>
                                      </p:to>
                                    </p:set>
                                    <p:anim calcmode="lin" valueType="num">
                                      <p:cBhvr additive="base">
                                        <p:cTn id="65" dur="500" fill="hold"/>
                                        <p:tgtEl>
                                          <p:spTgt spid="2"/>
                                        </p:tgtEl>
                                        <p:attrNameLst>
                                          <p:attrName>ppt_x</p:attrName>
                                        </p:attrNameLst>
                                      </p:cBhvr>
                                      <p:tavLst>
                                        <p:tav tm="0">
                                          <p:val>
                                            <p:strVal val="#ppt_x"/>
                                          </p:val>
                                        </p:tav>
                                        <p:tav tm="100000">
                                          <p:val>
                                            <p:strVal val="#ppt_x"/>
                                          </p:val>
                                        </p:tav>
                                      </p:tavLst>
                                    </p:anim>
                                    <p:anim calcmode="lin" valueType="num">
                                      <p:cBhvr additive="base">
                                        <p:cTn id="66" dur="500" fill="hold"/>
                                        <p:tgtEl>
                                          <p:spTgt spid="2"/>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75"/>
                                        </p:tgtEl>
                                        <p:attrNameLst>
                                          <p:attrName>style.visibility</p:attrName>
                                        </p:attrNameLst>
                                      </p:cBhvr>
                                      <p:to>
                                        <p:strVal val="visible"/>
                                      </p:to>
                                    </p:set>
                                    <p:anim calcmode="lin" valueType="num">
                                      <p:cBhvr additive="base">
                                        <p:cTn id="69" dur="500" fill="hold"/>
                                        <p:tgtEl>
                                          <p:spTgt spid="175"/>
                                        </p:tgtEl>
                                        <p:attrNameLst>
                                          <p:attrName>ppt_x</p:attrName>
                                        </p:attrNameLst>
                                      </p:cBhvr>
                                      <p:tavLst>
                                        <p:tav tm="0">
                                          <p:val>
                                            <p:strVal val="#ppt_x"/>
                                          </p:val>
                                        </p:tav>
                                        <p:tav tm="100000">
                                          <p:val>
                                            <p:strVal val="#ppt_x"/>
                                          </p:val>
                                        </p:tav>
                                      </p:tavLst>
                                    </p:anim>
                                    <p:anim calcmode="lin" valueType="num">
                                      <p:cBhvr additive="base">
                                        <p:cTn id="70" dur="500" fill="hold"/>
                                        <p:tgtEl>
                                          <p:spTgt spid="175"/>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176"/>
                                        </p:tgtEl>
                                        <p:attrNameLst>
                                          <p:attrName>style.visibility</p:attrName>
                                        </p:attrNameLst>
                                      </p:cBhvr>
                                      <p:to>
                                        <p:strVal val="visible"/>
                                      </p:to>
                                    </p:set>
                                    <p:anim calcmode="lin" valueType="num">
                                      <p:cBhvr additive="base">
                                        <p:cTn id="73" dur="500" fill="hold"/>
                                        <p:tgtEl>
                                          <p:spTgt spid="176"/>
                                        </p:tgtEl>
                                        <p:attrNameLst>
                                          <p:attrName>ppt_x</p:attrName>
                                        </p:attrNameLst>
                                      </p:cBhvr>
                                      <p:tavLst>
                                        <p:tav tm="0">
                                          <p:val>
                                            <p:strVal val="#ppt_x"/>
                                          </p:val>
                                        </p:tav>
                                        <p:tav tm="100000">
                                          <p:val>
                                            <p:strVal val="#ppt_x"/>
                                          </p:val>
                                        </p:tav>
                                      </p:tavLst>
                                    </p:anim>
                                    <p:anim calcmode="lin" valueType="num">
                                      <p:cBhvr additive="base">
                                        <p:cTn id="74" dur="500" fill="hold"/>
                                        <p:tgtEl>
                                          <p:spTgt spid="176"/>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
                                        </p:tgtEl>
                                        <p:attrNameLst>
                                          <p:attrName>style.visibility</p:attrName>
                                        </p:attrNameLst>
                                      </p:cBhvr>
                                      <p:to>
                                        <p:strVal val="visible"/>
                                      </p:to>
                                    </p:set>
                                    <p:anim calcmode="lin" valueType="num">
                                      <p:cBhvr additive="base">
                                        <p:cTn id="77" dur="500" fill="hold"/>
                                        <p:tgtEl>
                                          <p:spTgt spid="4"/>
                                        </p:tgtEl>
                                        <p:attrNameLst>
                                          <p:attrName>ppt_x</p:attrName>
                                        </p:attrNameLst>
                                      </p:cBhvr>
                                      <p:tavLst>
                                        <p:tav tm="0">
                                          <p:val>
                                            <p:strVal val="#ppt_x"/>
                                          </p:val>
                                        </p:tav>
                                        <p:tav tm="100000">
                                          <p:val>
                                            <p:strVal val="#ppt_x"/>
                                          </p:val>
                                        </p:tav>
                                      </p:tavLst>
                                    </p:anim>
                                    <p:anim calcmode="lin" valueType="num">
                                      <p:cBhvr additive="base">
                                        <p:cTn id="78" dur="500" fill="hold"/>
                                        <p:tgtEl>
                                          <p:spTgt spid="4"/>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178"/>
                                        </p:tgtEl>
                                        <p:attrNameLst>
                                          <p:attrName>style.visibility</p:attrName>
                                        </p:attrNameLst>
                                      </p:cBhvr>
                                      <p:to>
                                        <p:strVal val="visible"/>
                                      </p:to>
                                    </p:set>
                                    <p:anim calcmode="lin" valueType="num">
                                      <p:cBhvr additive="base">
                                        <p:cTn id="81" dur="500" fill="hold"/>
                                        <p:tgtEl>
                                          <p:spTgt spid="178"/>
                                        </p:tgtEl>
                                        <p:attrNameLst>
                                          <p:attrName>ppt_x</p:attrName>
                                        </p:attrNameLst>
                                      </p:cBhvr>
                                      <p:tavLst>
                                        <p:tav tm="0">
                                          <p:val>
                                            <p:strVal val="#ppt_x"/>
                                          </p:val>
                                        </p:tav>
                                        <p:tav tm="100000">
                                          <p:val>
                                            <p:strVal val="#ppt_x"/>
                                          </p:val>
                                        </p:tav>
                                      </p:tavLst>
                                    </p:anim>
                                    <p:anim calcmode="lin" valueType="num">
                                      <p:cBhvr additive="base">
                                        <p:cTn id="82" dur="500" fill="hold"/>
                                        <p:tgtEl>
                                          <p:spTgt spid="178"/>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179"/>
                                        </p:tgtEl>
                                        <p:attrNameLst>
                                          <p:attrName>style.visibility</p:attrName>
                                        </p:attrNameLst>
                                      </p:cBhvr>
                                      <p:to>
                                        <p:strVal val="visible"/>
                                      </p:to>
                                    </p:set>
                                    <p:anim calcmode="lin" valueType="num">
                                      <p:cBhvr additive="base">
                                        <p:cTn id="85" dur="500" fill="hold"/>
                                        <p:tgtEl>
                                          <p:spTgt spid="179"/>
                                        </p:tgtEl>
                                        <p:attrNameLst>
                                          <p:attrName>ppt_x</p:attrName>
                                        </p:attrNameLst>
                                      </p:cBhvr>
                                      <p:tavLst>
                                        <p:tav tm="0">
                                          <p:val>
                                            <p:strVal val="#ppt_x"/>
                                          </p:val>
                                        </p:tav>
                                        <p:tav tm="100000">
                                          <p:val>
                                            <p:strVal val="#ppt_x"/>
                                          </p:val>
                                        </p:tav>
                                      </p:tavLst>
                                    </p:anim>
                                    <p:anim calcmode="lin" valueType="num">
                                      <p:cBhvr additive="base">
                                        <p:cTn id="86" dur="500" fill="hold"/>
                                        <p:tgtEl>
                                          <p:spTgt spid="179"/>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180"/>
                                        </p:tgtEl>
                                        <p:attrNameLst>
                                          <p:attrName>style.visibility</p:attrName>
                                        </p:attrNameLst>
                                      </p:cBhvr>
                                      <p:to>
                                        <p:strVal val="visible"/>
                                      </p:to>
                                    </p:set>
                                    <p:anim calcmode="lin" valueType="num">
                                      <p:cBhvr additive="base">
                                        <p:cTn id="89" dur="500" fill="hold"/>
                                        <p:tgtEl>
                                          <p:spTgt spid="180"/>
                                        </p:tgtEl>
                                        <p:attrNameLst>
                                          <p:attrName>ppt_x</p:attrName>
                                        </p:attrNameLst>
                                      </p:cBhvr>
                                      <p:tavLst>
                                        <p:tav tm="0">
                                          <p:val>
                                            <p:strVal val="#ppt_x"/>
                                          </p:val>
                                        </p:tav>
                                        <p:tav tm="100000">
                                          <p:val>
                                            <p:strVal val="#ppt_x"/>
                                          </p:val>
                                        </p:tav>
                                      </p:tavLst>
                                    </p:anim>
                                    <p:anim calcmode="lin" valueType="num">
                                      <p:cBhvr additive="base">
                                        <p:cTn id="90" dur="500" fill="hold"/>
                                        <p:tgtEl>
                                          <p:spTgt spid="180"/>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9"/>
                                        </p:tgtEl>
                                        <p:attrNameLst>
                                          <p:attrName>style.visibility</p:attrName>
                                        </p:attrNameLst>
                                      </p:cBhvr>
                                      <p:to>
                                        <p:strVal val="visible"/>
                                      </p:to>
                                    </p:set>
                                    <p:anim calcmode="lin" valueType="num">
                                      <p:cBhvr additive="base">
                                        <p:cTn id="93" dur="500" fill="hold"/>
                                        <p:tgtEl>
                                          <p:spTgt spid="9"/>
                                        </p:tgtEl>
                                        <p:attrNameLst>
                                          <p:attrName>ppt_x</p:attrName>
                                        </p:attrNameLst>
                                      </p:cBhvr>
                                      <p:tavLst>
                                        <p:tav tm="0">
                                          <p:val>
                                            <p:strVal val="#ppt_x"/>
                                          </p:val>
                                        </p:tav>
                                        <p:tav tm="100000">
                                          <p:val>
                                            <p:strVal val="#ppt_x"/>
                                          </p:val>
                                        </p:tav>
                                      </p:tavLst>
                                    </p:anim>
                                    <p:anim calcmode="lin" valueType="num">
                                      <p:cBhvr additive="base">
                                        <p:cTn id="94" dur="500" fill="hold"/>
                                        <p:tgtEl>
                                          <p:spTgt spid="9"/>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additive="base">
                                        <p:cTn id="97" dur="500" fill="hold"/>
                                        <p:tgtEl>
                                          <p:spTgt spid="11"/>
                                        </p:tgtEl>
                                        <p:attrNameLst>
                                          <p:attrName>ppt_x</p:attrName>
                                        </p:attrNameLst>
                                      </p:cBhvr>
                                      <p:tavLst>
                                        <p:tav tm="0">
                                          <p:val>
                                            <p:strVal val="#ppt_x"/>
                                          </p:val>
                                        </p:tav>
                                        <p:tav tm="100000">
                                          <p:val>
                                            <p:strVal val="#ppt_x"/>
                                          </p:val>
                                        </p:tav>
                                      </p:tavLst>
                                    </p:anim>
                                    <p:anim calcmode="lin" valueType="num">
                                      <p:cBhvr additive="base">
                                        <p:cTn id="98" dur="500" fill="hold"/>
                                        <p:tgtEl>
                                          <p:spTgt spid="11"/>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ppt_x"/>
                                          </p:val>
                                        </p:tav>
                                        <p:tav tm="100000">
                                          <p:val>
                                            <p:strVal val="#ppt_x"/>
                                          </p:val>
                                        </p:tav>
                                      </p:tavLst>
                                    </p:anim>
                                    <p:anim calcmode="lin" valueType="num">
                                      <p:cBhvr additive="base">
                                        <p:cTn id="102" dur="500" fill="hold"/>
                                        <p:tgtEl>
                                          <p:spTgt spid="1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81"/>
                                        </p:tgtEl>
                                        <p:attrNameLst>
                                          <p:attrName>style.visibility</p:attrName>
                                        </p:attrNameLst>
                                      </p:cBhvr>
                                      <p:to>
                                        <p:strVal val="visible"/>
                                      </p:to>
                                    </p:set>
                                    <p:anim calcmode="lin" valueType="num">
                                      <p:cBhvr additive="base">
                                        <p:cTn id="105" dur="500" fill="hold"/>
                                        <p:tgtEl>
                                          <p:spTgt spid="181"/>
                                        </p:tgtEl>
                                        <p:attrNameLst>
                                          <p:attrName>ppt_x</p:attrName>
                                        </p:attrNameLst>
                                      </p:cBhvr>
                                      <p:tavLst>
                                        <p:tav tm="0">
                                          <p:val>
                                            <p:strVal val="#ppt_x"/>
                                          </p:val>
                                        </p:tav>
                                        <p:tav tm="100000">
                                          <p:val>
                                            <p:strVal val="#ppt_x"/>
                                          </p:val>
                                        </p:tav>
                                      </p:tavLst>
                                    </p:anim>
                                    <p:anim calcmode="lin" valueType="num">
                                      <p:cBhvr additive="base">
                                        <p:cTn id="106" dur="500" fill="hold"/>
                                        <p:tgtEl>
                                          <p:spTgt spid="1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2" grpId="0"/>
      <p:bldP spid="12" grpId="0"/>
      <p:bldP spid="181" grpId="0"/>
    </p:bld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05A39C26-DD93-4B64-8CD1-DB124DC40F20}"/>
              </a:ext>
            </a:extLst>
          </p:cNvPr>
          <p:cNvGrpSpPr/>
          <p:nvPr/>
        </p:nvGrpSpPr>
        <p:grpSpPr>
          <a:xfrm>
            <a:off x="8136880" y="1207943"/>
            <a:ext cx="648073" cy="651302"/>
            <a:chOff x="4706069" y="3575987"/>
            <a:chExt cx="648073" cy="651302"/>
          </a:xfrm>
        </p:grpSpPr>
        <p:sp>
          <p:nvSpPr>
            <p:cNvPr id="20" name="Rectangle 19">
              <a:extLst>
                <a:ext uri="{FF2B5EF4-FFF2-40B4-BE49-F238E27FC236}">
                  <a16:creationId xmlns:a16="http://schemas.microsoft.com/office/drawing/2014/main" id="{AC4DD3DF-2DEE-4E7F-80D0-ACAD15C3BB3E}"/>
                </a:ext>
              </a:extLst>
            </p:cNvPr>
            <p:cNvSpPr/>
            <p:nvPr/>
          </p:nvSpPr>
          <p:spPr bwMode="auto">
            <a:xfrm rot="20986602">
              <a:off x="4911192" y="3806345"/>
              <a:ext cx="263191" cy="2901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1797653B-8FB9-42CC-9ACE-773D9442E96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7572" t="33839" r="38275" b="34797"/>
            <a:stretch/>
          </p:blipFill>
          <p:spPr>
            <a:xfrm>
              <a:off x="4706069" y="3575987"/>
              <a:ext cx="648073" cy="651302"/>
            </a:xfrm>
            <a:prstGeom prst="rect">
              <a:avLst/>
            </a:prstGeom>
          </p:spPr>
        </p:pic>
      </p:grpSp>
      <p:sp>
        <p:nvSpPr>
          <p:cNvPr id="16" name="Rectangle 15">
            <a:extLst>
              <a:ext uri="{FF2B5EF4-FFF2-40B4-BE49-F238E27FC236}">
                <a16:creationId xmlns:a16="http://schemas.microsoft.com/office/drawing/2014/main" id="{3AC99CB4-84EB-486B-B5FF-2F306EEE12C7}"/>
              </a:ext>
            </a:extLst>
          </p:cNvPr>
          <p:cNvSpPr/>
          <p:nvPr/>
        </p:nvSpPr>
        <p:spPr bwMode="auto">
          <a:xfrm>
            <a:off x="8233204" y="540172"/>
            <a:ext cx="479740" cy="5619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Role Based Access Control</a:t>
            </a:r>
          </a:p>
        </p:txBody>
      </p:sp>
      <p:pic>
        <p:nvPicPr>
          <p:cNvPr id="11" name="Graphic 10">
            <a:extLst>
              <a:ext uri="{FF2B5EF4-FFF2-40B4-BE49-F238E27FC236}">
                <a16:creationId xmlns:a16="http://schemas.microsoft.com/office/drawing/2014/main" id="{5479FA77-34F9-4299-A163-16506A7A1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937" y="1617806"/>
            <a:ext cx="2020044" cy="1568192"/>
          </a:xfrm>
          <a:prstGeom prst="rect">
            <a:avLst/>
          </a:prstGeom>
        </p:spPr>
      </p:pic>
      <p:sp>
        <p:nvSpPr>
          <p:cNvPr id="12" name="TextBox 11">
            <a:extLst>
              <a:ext uri="{FF2B5EF4-FFF2-40B4-BE49-F238E27FC236}">
                <a16:creationId xmlns:a16="http://schemas.microsoft.com/office/drawing/2014/main" id="{A617BFBD-B169-4001-B630-8224CAAB236E}"/>
              </a:ext>
            </a:extLst>
          </p:cNvPr>
          <p:cNvSpPr txBox="1"/>
          <p:nvPr/>
        </p:nvSpPr>
        <p:spPr>
          <a:xfrm>
            <a:off x="1251370"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Subscription</a:t>
            </a:r>
          </a:p>
        </p:txBody>
      </p:sp>
      <p:sp>
        <p:nvSpPr>
          <p:cNvPr id="13" name="TextBox 12">
            <a:extLst>
              <a:ext uri="{FF2B5EF4-FFF2-40B4-BE49-F238E27FC236}">
                <a16:creationId xmlns:a16="http://schemas.microsoft.com/office/drawing/2014/main" id="{7F697DE1-F2C6-4339-9680-ADE7D3991C29}"/>
              </a:ext>
            </a:extLst>
          </p:cNvPr>
          <p:cNvSpPr txBox="1"/>
          <p:nvPr/>
        </p:nvSpPr>
        <p:spPr>
          <a:xfrm>
            <a:off x="1969765" y="1409030"/>
            <a:ext cx="3283528"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Global Administrator</a:t>
            </a:r>
          </a:p>
        </p:txBody>
      </p:sp>
      <p:pic>
        <p:nvPicPr>
          <p:cNvPr id="15" name="Graphic 14">
            <a:extLst>
              <a:ext uri="{FF2B5EF4-FFF2-40B4-BE49-F238E27FC236}">
                <a16:creationId xmlns:a16="http://schemas.microsoft.com/office/drawing/2014/main" id="{DE0FAD10-CEBF-4723-9710-CB363D24EA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02796" y="223180"/>
            <a:ext cx="1540556" cy="1195958"/>
          </a:xfrm>
          <a:prstGeom prst="rect">
            <a:avLst/>
          </a:prstGeom>
        </p:spPr>
      </p:pic>
      <p:sp>
        <p:nvSpPr>
          <p:cNvPr id="17" name="TextBox 16">
            <a:extLst>
              <a:ext uri="{FF2B5EF4-FFF2-40B4-BE49-F238E27FC236}">
                <a16:creationId xmlns:a16="http://schemas.microsoft.com/office/drawing/2014/main" id="{2CCDB27E-FD45-4C77-8BD5-21A33561AEFB}"/>
              </a:ext>
            </a:extLst>
          </p:cNvPr>
          <p:cNvSpPr txBox="1"/>
          <p:nvPr/>
        </p:nvSpPr>
        <p:spPr>
          <a:xfrm>
            <a:off x="8738517" y="544934"/>
            <a:ext cx="2862771"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Microsoft Account</a:t>
            </a:r>
          </a:p>
        </p:txBody>
      </p:sp>
      <p:sp>
        <p:nvSpPr>
          <p:cNvPr id="22" name="TextBox 21">
            <a:extLst>
              <a:ext uri="{FF2B5EF4-FFF2-40B4-BE49-F238E27FC236}">
                <a16:creationId xmlns:a16="http://schemas.microsoft.com/office/drawing/2014/main" id="{2CE792B5-CDBA-42A9-BA12-844559C477C8}"/>
              </a:ext>
            </a:extLst>
          </p:cNvPr>
          <p:cNvSpPr txBox="1"/>
          <p:nvPr/>
        </p:nvSpPr>
        <p:spPr>
          <a:xfrm>
            <a:off x="8738516" y="1180620"/>
            <a:ext cx="2293577"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Work Account</a:t>
            </a:r>
          </a:p>
        </p:txBody>
      </p:sp>
      <p:pic>
        <p:nvPicPr>
          <p:cNvPr id="25" name="Graphic 24">
            <a:extLst>
              <a:ext uri="{FF2B5EF4-FFF2-40B4-BE49-F238E27FC236}">
                <a16:creationId xmlns:a16="http://schemas.microsoft.com/office/drawing/2014/main" id="{AFDF1521-0A13-4C2F-B1A2-AE99841182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5261" y="1617806"/>
            <a:ext cx="2020044" cy="1568192"/>
          </a:xfrm>
          <a:prstGeom prst="rect">
            <a:avLst/>
          </a:prstGeom>
        </p:spPr>
      </p:pic>
      <p:sp>
        <p:nvSpPr>
          <p:cNvPr id="26" name="TextBox 25">
            <a:extLst>
              <a:ext uri="{FF2B5EF4-FFF2-40B4-BE49-F238E27FC236}">
                <a16:creationId xmlns:a16="http://schemas.microsoft.com/office/drawing/2014/main" id="{FFDA2DC0-9D2E-49E5-A566-43DAF8D83E51}"/>
              </a:ext>
            </a:extLst>
          </p:cNvPr>
          <p:cNvSpPr txBox="1"/>
          <p:nvPr/>
        </p:nvSpPr>
        <p:spPr>
          <a:xfrm>
            <a:off x="2689845"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pic>
        <p:nvPicPr>
          <p:cNvPr id="27" name="Graphic 26">
            <a:extLst>
              <a:ext uri="{FF2B5EF4-FFF2-40B4-BE49-F238E27FC236}">
                <a16:creationId xmlns:a16="http://schemas.microsoft.com/office/drawing/2014/main" id="{2C094395-F41D-4D55-926E-8737F3D3D3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91585" y="1617806"/>
            <a:ext cx="2020044" cy="1568192"/>
          </a:xfrm>
          <a:prstGeom prst="rect">
            <a:avLst/>
          </a:prstGeom>
        </p:spPr>
      </p:pic>
      <p:sp>
        <p:nvSpPr>
          <p:cNvPr id="28" name="TextBox 27">
            <a:extLst>
              <a:ext uri="{FF2B5EF4-FFF2-40B4-BE49-F238E27FC236}">
                <a16:creationId xmlns:a16="http://schemas.microsoft.com/office/drawing/2014/main" id="{C3EAFE1F-EC8A-4B64-85B4-FB7DFDC4D546}"/>
              </a:ext>
            </a:extLst>
          </p:cNvPr>
          <p:cNvSpPr txBox="1"/>
          <p:nvPr/>
        </p:nvSpPr>
        <p:spPr>
          <a:xfrm>
            <a:off x="4182751"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sp>
        <p:nvSpPr>
          <p:cNvPr id="29" name="Rectangle 28">
            <a:extLst>
              <a:ext uri="{FF2B5EF4-FFF2-40B4-BE49-F238E27FC236}">
                <a16:creationId xmlns:a16="http://schemas.microsoft.com/office/drawing/2014/main" id="{98D1E2D5-11B4-4641-A4EA-136EEDD5A8EB}"/>
              </a:ext>
            </a:extLst>
          </p:cNvPr>
          <p:cNvSpPr/>
          <p:nvPr/>
        </p:nvSpPr>
        <p:spPr>
          <a:xfrm>
            <a:off x="7010325" y="2125518"/>
            <a:ext cx="5256584" cy="578619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Global Admin by default</a:t>
            </a:r>
          </a:p>
          <a:p>
            <a:pPr marL="285750" indent="-285750">
              <a:spcAft>
                <a:spcPts val="600"/>
              </a:spcAft>
              <a:buFont typeface="Arial" panose="020B0604020202020204" pitchFamily="34" charset="0"/>
              <a:buChar char="•"/>
            </a:pPr>
            <a:r>
              <a:rPr lang="en-GB" sz="2000"/>
              <a:t>Can add and change Global Admins</a:t>
            </a:r>
          </a:p>
          <a:p>
            <a:pPr marL="285750" indent="-285750">
              <a:spcAft>
                <a:spcPts val="600"/>
              </a:spcAft>
              <a:buFont typeface="Arial" panose="020B0604020202020204" pitchFamily="34" charset="0"/>
              <a:buChar char="•"/>
            </a:pPr>
            <a:endParaRPr lang="en-GB" sz="2000"/>
          </a:p>
          <a:p>
            <a:pPr marL="285750" indent="-285750">
              <a:spcAft>
                <a:spcPts val="600"/>
              </a:spcAft>
              <a:buFont typeface="Arial" panose="020B0604020202020204" pitchFamily="34" charset="0"/>
              <a:buChar char="•"/>
            </a:pPr>
            <a:r>
              <a:rPr lang="en-GB" sz="2000"/>
              <a:t>Role Based Access Control on</a:t>
            </a:r>
          </a:p>
          <a:p>
            <a:pPr marL="752121" lvl="1" indent="-285750">
              <a:spcAft>
                <a:spcPts val="600"/>
              </a:spcAft>
              <a:buFont typeface="Arial" panose="020B0604020202020204" pitchFamily="34" charset="0"/>
              <a:buChar char="•"/>
            </a:pPr>
            <a:r>
              <a:rPr lang="en-GB" sz="2000"/>
              <a:t>Scope</a:t>
            </a:r>
          </a:p>
          <a:p>
            <a:pPr marL="1218492" lvl="2" indent="-285750">
              <a:spcAft>
                <a:spcPts val="600"/>
              </a:spcAft>
              <a:buFont typeface="Arial" panose="020B0604020202020204" pitchFamily="34" charset="0"/>
              <a:buChar char="•"/>
            </a:pPr>
            <a:r>
              <a:rPr lang="en-GB" sz="2000"/>
              <a:t>Subscription</a:t>
            </a:r>
          </a:p>
          <a:p>
            <a:pPr marL="1218492" lvl="2" indent="-285750">
              <a:spcAft>
                <a:spcPts val="600"/>
              </a:spcAft>
              <a:buFont typeface="Arial" panose="020B0604020202020204" pitchFamily="34" charset="0"/>
              <a:buChar char="•"/>
            </a:pPr>
            <a:r>
              <a:rPr lang="en-GB" sz="2000"/>
              <a:t>Resource Group</a:t>
            </a:r>
          </a:p>
          <a:p>
            <a:pPr marL="1218492" lvl="2" indent="-285750">
              <a:spcAft>
                <a:spcPts val="600"/>
              </a:spcAft>
              <a:buFont typeface="Arial" panose="020B0604020202020204" pitchFamily="34" charset="0"/>
              <a:buChar char="•"/>
            </a:pPr>
            <a:r>
              <a:rPr lang="en-GB" sz="2000"/>
              <a:t>Resource</a:t>
            </a:r>
          </a:p>
          <a:p>
            <a:pPr marL="752121" lvl="1" indent="-285750">
              <a:spcAft>
                <a:spcPts val="600"/>
              </a:spcAft>
              <a:buFont typeface="Arial" panose="020B0604020202020204" pitchFamily="34" charset="0"/>
              <a:buChar char="•"/>
            </a:pPr>
            <a:r>
              <a:rPr lang="en-GB" sz="2000"/>
              <a:t>Role</a:t>
            </a:r>
          </a:p>
          <a:p>
            <a:pPr marL="1218492" lvl="2" indent="-285750">
              <a:spcAft>
                <a:spcPts val="600"/>
              </a:spcAft>
              <a:buFont typeface="Arial" panose="020B0604020202020204" pitchFamily="34" charset="0"/>
              <a:buChar char="•"/>
            </a:pPr>
            <a:r>
              <a:rPr lang="en-GB" sz="2000">
                <a:hlinkClick r:id="rId11"/>
              </a:rPr>
              <a:t>Built In Roles</a:t>
            </a:r>
            <a:endParaRPr lang="en-GB" sz="2000"/>
          </a:p>
          <a:p>
            <a:pPr marL="1218492" lvl="2" indent="-285750">
              <a:spcAft>
                <a:spcPts val="600"/>
              </a:spcAft>
              <a:buFont typeface="Arial" panose="020B0604020202020204" pitchFamily="34" charset="0"/>
              <a:buChar char="•"/>
            </a:pPr>
            <a:r>
              <a:rPr lang="en-GB" sz="2000">
                <a:hlinkClick r:id="rId12"/>
              </a:rPr>
              <a:t>Custom Roles</a:t>
            </a:r>
            <a:endParaRPr lang="en-GB" sz="2000"/>
          </a:p>
          <a:p>
            <a:pPr marL="285750" indent="-285750">
              <a:spcAft>
                <a:spcPts val="600"/>
              </a:spcAft>
              <a:buFont typeface="Arial" panose="020B0604020202020204" pitchFamily="34" charset="0"/>
              <a:buChar char="•"/>
            </a:pPr>
            <a:r>
              <a:rPr lang="en-GB" sz="2000"/>
              <a:t>AAD Users &amp; Administrative Units</a:t>
            </a:r>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p:txBody>
      </p:sp>
      <p:cxnSp>
        <p:nvCxnSpPr>
          <p:cNvPr id="31" name="Straight Connector 30">
            <a:extLst>
              <a:ext uri="{FF2B5EF4-FFF2-40B4-BE49-F238E27FC236}">
                <a16:creationId xmlns:a16="http://schemas.microsoft.com/office/drawing/2014/main" id="{49D4D9F8-1C3A-4145-B9DB-D085ACA1B41A}"/>
              </a:ext>
            </a:extLst>
          </p:cNvPr>
          <p:cNvCxnSpPr>
            <a:cxnSpLocks/>
          </p:cNvCxnSpPr>
          <p:nvPr/>
        </p:nvCxnSpPr>
        <p:spPr>
          <a:xfrm flipH="1">
            <a:off x="1921159" y="2921198"/>
            <a:ext cx="7800" cy="194421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FA20E1-8FC3-4D33-B23A-69B7556D08BC}"/>
              </a:ext>
            </a:extLst>
          </p:cNvPr>
          <p:cNvCxnSpPr>
            <a:cxnSpLocks/>
          </p:cNvCxnSpPr>
          <p:nvPr/>
        </p:nvCxnSpPr>
        <p:spPr>
          <a:xfrm flipH="1">
            <a:off x="1914326" y="3425254"/>
            <a:ext cx="106355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36B15-62F0-4758-B7A8-801225E603AB}"/>
              </a:ext>
            </a:extLst>
          </p:cNvPr>
          <p:cNvCxnSpPr>
            <a:cxnSpLocks/>
          </p:cNvCxnSpPr>
          <p:nvPr/>
        </p:nvCxnSpPr>
        <p:spPr>
          <a:xfrm flipH="1" flipV="1">
            <a:off x="1914326" y="4858358"/>
            <a:ext cx="1063551" cy="70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C8B61995-FF2A-4B98-8FFB-3F8D1079156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3187129"/>
            <a:ext cx="476250" cy="476250"/>
          </a:xfrm>
          <a:prstGeom prst="rect">
            <a:avLst/>
          </a:prstGeom>
        </p:spPr>
      </p:pic>
      <p:pic>
        <p:nvPicPr>
          <p:cNvPr id="47" name="Graphic 46">
            <a:extLst>
              <a:ext uri="{FF2B5EF4-FFF2-40B4-BE49-F238E27FC236}">
                <a16:creationId xmlns:a16="http://schemas.microsoft.com/office/drawing/2014/main" id="{9EEC19CE-B0CF-448E-9A8B-CBFEFDB19E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4620233"/>
            <a:ext cx="476250" cy="476250"/>
          </a:xfrm>
          <a:prstGeom prst="rect">
            <a:avLst/>
          </a:prstGeom>
        </p:spPr>
      </p:pic>
      <p:sp>
        <p:nvSpPr>
          <p:cNvPr id="48" name="TextBox 47">
            <a:extLst>
              <a:ext uri="{FF2B5EF4-FFF2-40B4-BE49-F238E27FC236}">
                <a16:creationId xmlns:a16="http://schemas.microsoft.com/office/drawing/2014/main" id="{F49B7A38-AFC9-4405-87EC-050E90FDDDEE}"/>
              </a:ext>
            </a:extLst>
          </p:cNvPr>
          <p:cNvSpPr txBox="1"/>
          <p:nvPr/>
        </p:nvSpPr>
        <p:spPr>
          <a:xfrm>
            <a:off x="3501751" y="3185998"/>
            <a:ext cx="1799082"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A</a:t>
            </a:r>
          </a:p>
        </p:txBody>
      </p:sp>
      <p:sp>
        <p:nvSpPr>
          <p:cNvPr id="49" name="TextBox 48">
            <a:extLst>
              <a:ext uri="{FF2B5EF4-FFF2-40B4-BE49-F238E27FC236}">
                <a16:creationId xmlns:a16="http://schemas.microsoft.com/office/drawing/2014/main" id="{31A37694-C623-4429-BC91-F0772020BE8B}"/>
              </a:ext>
            </a:extLst>
          </p:cNvPr>
          <p:cNvSpPr txBox="1"/>
          <p:nvPr/>
        </p:nvSpPr>
        <p:spPr>
          <a:xfrm>
            <a:off x="3501751" y="4625660"/>
            <a:ext cx="1786258"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B</a:t>
            </a:r>
          </a:p>
        </p:txBody>
      </p:sp>
      <p:cxnSp>
        <p:nvCxnSpPr>
          <p:cNvPr id="50" name="Straight Connector 49">
            <a:extLst>
              <a:ext uri="{FF2B5EF4-FFF2-40B4-BE49-F238E27FC236}">
                <a16:creationId xmlns:a16="http://schemas.microsoft.com/office/drawing/2014/main" id="{0230D330-E581-4BE0-9D26-DCF0C59BBC4F}"/>
              </a:ext>
            </a:extLst>
          </p:cNvPr>
          <p:cNvCxnSpPr>
            <a:cxnSpLocks/>
          </p:cNvCxnSpPr>
          <p:nvPr/>
        </p:nvCxnSpPr>
        <p:spPr>
          <a:xfrm>
            <a:off x="3294866" y="3648125"/>
            <a:ext cx="0" cy="7852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16FFE1-FA54-4072-AA4B-313D25BB00FA}"/>
              </a:ext>
            </a:extLst>
          </p:cNvPr>
          <p:cNvCxnSpPr>
            <a:cxnSpLocks/>
          </p:cNvCxnSpPr>
          <p:nvPr/>
        </p:nvCxnSpPr>
        <p:spPr>
          <a:xfrm>
            <a:off x="3294866" y="5081438"/>
            <a:ext cx="0" cy="13681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5" name="Graphic 54">
            <a:extLst>
              <a:ext uri="{FF2B5EF4-FFF2-40B4-BE49-F238E27FC236}">
                <a16:creationId xmlns:a16="http://schemas.microsoft.com/office/drawing/2014/main" id="{ACE8270F-B971-46AC-9FAC-5BF3BFCD3FD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73872" y="3556263"/>
            <a:ext cx="310133" cy="310133"/>
          </a:xfrm>
          <a:prstGeom prst="rect">
            <a:avLst/>
          </a:prstGeom>
        </p:spPr>
      </p:pic>
      <p:pic>
        <p:nvPicPr>
          <p:cNvPr id="57" name="Graphic 56">
            <a:extLst>
              <a:ext uri="{FF2B5EF4-FFF2-40B4-BE49-F238E27FC236}">
                <a16:creationId xmlns:a16="http://schemas.microsoft.com/office/drawing/2014/main" id="{F96FED0C-71C0-43EA-9AFB-571C106639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73872" y="3899087"/>
            <a:ext cx="310133" cy="310133"/>
          </a:xfrm>
          <a:prstGeom prst="rect">
            <a:avLst/>
          </a:prstGeom>
        </p:spPr>
      </p:pic>
      <p:pic>
        <p:nvPicPr>
          <p:cNvPr id="61" name="Graphic 60">
            <a:extLst>
              <a:ext uri="{FF2B5EF4-FFF2-40B4-BE49-F238E27FC236}">
                <a16:creationId xmlns:a16="http://schemas.microsoft.com/office/drawing/2014/main" id="{7C590041-0425-475E-BC60-11C09FA97D1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15283" y="5462903"/>
            <a:ext cx="310133" cy="310133"/>
          </a:xfrm>
          <a:prstGeom prst="rect">
            <a:avLst/>
          </a:prstGeom>
        </p:spPr>
      </p:pic>
      <p:pic>
        <p:nvPicPr>
          <p:cNvPr id="65" name="Graphic 64">
            <a:extLst>
              <a:ext uri="{FF2B5EF4-FFF2-40B4-BE49-F238E27FC236}">
                <a16:creationId xmlns:a16="http://schemas.microsoft.com/office/drawing/2014/main" id="{02A1E9D1-C228-4337-A7C4-918059489B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359269" y="5843164"/>
            <a:ext cx="396970" cy="396970"/>
          </a:xfrm>
          <a:prstGeom prst="rect">
            <a:avLst/>
          </a:prstGeom>
        </p:spPr>
      </p:pic>
      <p:pic>
        <p:nvPicPr>
          <p:cNvPr id="71" name="Graphic 70">
            <a:extLst>
              <a:ext uri="{FF2B5EF4-FFF2-40B4-BE49-F238E27FC236}">
                <a16:creationId xmlns:a16="http://schemas.microsoft.com/office/drawing/2014/main" id="{BCEF4B55-7921-4873-9E27-5DAD7992D0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402687" y="6310262"/>
            <a:ext cx="310133" cy="310133"/>
          </a:xfrm>
          <a:prstGeom prst="rect">
            <a:avLst/>
          </a:prstGeom>
        </p:spPr>
      </p:pic>
      <p:pic>
        <p:nvPicPr>
          <p:cNvPr id="75" name="Graphic 74">
            <a:extLst>
              <a:ext uri="{FF2B5EF4-FFF2-40B4-BE49-F238E27FC236}">
                <a16:creationId xmlns:a16="http://schemas.microsoft.com/office/drawing/2014/main" id="{DE7A42D5-9162-4260-80C3-4BFEA1A743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473872" y="4241911"/>
            <a:ext cx="310133" cy="310133"/>
          </a:xfrm>
          <a:prstGeom prst="rect">
            <a:avLst/>
          </a:prstGeom>
        </p:spPr>
      </p:pic>
      <p:pic>
        <p:nvPicPr>
          <p:cNvPr id="81" name="Graphic 80">
            <a:extLst>
              <a:ext uri="{FF2B5EF4-FFF2-40B4-BE49-F238E27FC236}">
                <a16:creationId xmlns:a16="http://schemas.microsoft.com/office/drawing/2014/main" id="{08BFD8E9-B69C-470A-A735-40B1C0D1DFA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02688" y="5076632"/>
            <a:ext cx="310133" cy="310133"/>
          </a:xfrm>
          <a:prstGeom prst="rect">
            <a:avLst/>
          </a:prstGeom>
        </p:spPr>
      </p:pic>
      <p:pic>
        <p:nvPicPr>
          <p:cNvPr id="83" name="Graphic 82">
            <a:extLst>
              <a:ext uri="{FF2B5EF4-FFF2-40B4-BE49-F238E27FC236}">
                <a16:creationId xmlns:a16="http://schemas.microsoft.com/office/drawing/2014/main" id="{8FFA21AA-17A7-4CE4-9374-FB906EA166C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94269" y="3899928"/>
            <a:ext cx="310133" cy="310133"/>
          </a:xfrm>
          <a:prstGeom prst="rect">
            <a:avLst/>
          </a:prstGeom>
        </p:spPr>
      </p:pic>
      <p:pic>
        <p:nvPicPr>
          <p:cNvPr id="88" name="Graphic 87">
            <a:extLst>
              <a:ext uri="{FF2B5EF4-FFF2-40B4-BE49-F238E27FC236}">
                <a16:creationId xmlns:a16="http://schemas.microsoft.com/office/drawing/2014/main" id="{1B458430-AC91-43F9-B24C-296BE92E84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41973" y="5462903"/>
            <a:ext cx="310133" cy="310133"/>
          </a:xfrm>
          <a:prstGeom prst="rect">
            <a:avLst/>
          </a:prstGeom>
        </p:spPr>
      </p:pic>
      <p:pic>
        <p:nvPicPr>
          <p:cNvPr id="89" name="Graphic 88">
            <a:extLst>
              <a:ext uri="{FF2B5EF4-FFF2-40B4-BE49-F238E27FC236}">
                <a16:creationId xmlns:a16="http://schemas.microsoft.com/office/drawing/2014/main" id="{7460F6ED-7CB8-4FC8-8D87-61FEB289204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266975" y="5462902"/>
            <a:ext cx="310133" cy="310133"/>
          </a:xfrm>
          <a:prstGeom prst="rect">
            <a:avLst/>
          </a:prstGeom>
        </p:spPr>
      </p:pic>
      <p:sp>
        <p:nvSpPr>
          <p:cNvPr id="92" name="TextBox 91">
            <a:extLst>
              <a:ext uri="{FF2B5EF4-FFF2-40B4-BE49-F238E27FC236}">
                <a16:creationId xmlns:a16="http://schemas.microsoft.com/office/drawing/2014/main" id="{FE2EB0CC-ED4A-424F-87CF-39F4E441D0CB}"/>
              </a:ext>
            </a:extLst>
          </p:cNvPr>
          <p:cNvSpPr txBox="1"/>
          <p:nvPr/>
        </p:nvSpPr>
        <p:spPr>
          <a:xfrm rot="16200000">
            <a:off x="2701882" y="3798270"/>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
        <p:nvSpPr>
          <p:cNvPr id="93" name="TextBox 92">
            <a:extLst>
              <a:ext uri="{FF2B5EF4-FFF2-40B4-BE49-F238E27FC236}">
                <a16:creationId xmlns:a16="http://schemas.microsoft.com/office/drawing/2014/main" id="{F379669F-C5D5-4870-82E7-960EFB0A972E}"/>
              </a:ext>
            </a:extLst>
          </p:cNvPr>
          <p:cNvSpPr txBox="1"/>
          <p:nvPr/>
        </p:nvSpPr>
        <p:spPr>
          <a:xfrm rot="16200000">
            <a:off x="2699199" y="5517969"/>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93282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Policy (Limited Preview)</a:t>
            </a:r>
          </a:p>
        </p:txBody>
      </p:sp>
      <p:sp>
        <p:nvSpPr>
          <p:cNvPr id="4" name="Text Placeholder 3">
            <a:extLst>
              <a:ext uri="{FF2B5EF4-FFF2-40B4-BE49-F238E27FC236}">
                <a16:creationId xmlns:a16="http://schemas.microsoft.com/office/drawing/2014/main" id="{592EDC51-FF7B-499D-903B-55D14A5A4D0E}"/>
              </a:ext>
            </a:extLst>
          </p:cNvPr>
          <p:cNvSpPr>
            <a:spLocks noGrp="1"/>
          </p:cNvSpPr>
          <p:nvPr>
            <p:ph type="body" sz="quarter" idx="10"/>
          </p:nvPr>
        </p:nvSpPr>
        <p:spPr>
          <a:xfrm>
            <a:off x="274638" y="1212850"/>
            <a:ext cx="7848599" cy="5706177"/>
          </a:xfrm>
        </p:spPr>
        <p:txBody>
          <a:bodyPr vert="horz" wrap="square" lIns="146304" tIns="91440" rIns="146304" bIns="91440" rtlCol="0" anchor="t">
            <a:spAutoFit/>
          </a:bodyPr>
          <a:lstStyle/>
          <a:p>
            <a:pPr marL="342900" indent="-342900">
              <a:buFont typeface="Arial" panose="020B0604020202020204" pitchFamily="34" charset="0"/>
              <a:buChar char="•"/>
            </a:pPr>
            <a:r>
              <a:rPr lang="en-US" sz="2800" dirty="0">
                <a:latin typeface="+mn-lt"/>
              </a:rPr>
              <a:t>Azure Policy -  a new service, allowing customers to assess and enforce enterprise-wide governing standards across their entire Azure environment </a:t>
            </a:r>
          </a:p>
          <a:p>
            <a:pPr marL="342900" indent="-342900">
              <a:buFont typeface="Arial" panose="020B0604020202020204" pitchFamily="34" charset="0"/>
              <a:buChar char="•"/>
            </a:pPr>
            <a:r>
              <a:rPr lang="en-US" sz="2800" dirty="0">
                <a:latin typeface="+mn-lt"/>
              </a:rPr>
              <a:t>Enforce control and compliance</a:t>
            </a:r>
          </a:p>
          <a:p>
            <a:pPr marL="342900" indent="-342900">
              <a:buFont typeface="Arial" panose="020B0604020202020204" pitchFamily="34" charset="0"/>
              <a:buChar char="•"/>
            </a:pPr>
            <a:r>
              <a:rPr lang="en-US" sz="2800" dirty="0">
                <a:latin typeface="+mn-lt"/>
              </a:rPr>
              <a:t>Evaluate Azure resources for policy violations  and run compliance state review across subscriptions</a:t>
            </a:r>
          </a:p>
          <a:p>
            <a:pPr marL="342900" indent="-342900">
              <a:buFont typeface="Arial" panose="020B0604020202020204" pitchFamily="34" charset="0"/>
              <a:buChar char="•"/>
            </a:pPr>
            <a:r>
              <a:rPr lang="en-US" sz="2800" dirty="0">
                <a:latin typeface="+mn-lt"/>
              </a:rPr>
              <a:t>Policy can be assigned at the Management Group level to have consistent standards across all Azure subscriptions for a division or company</a:t>
            </a:r>
            <a:endParaRPr lang="en-US" sz="2800" dirty="0">
              <a:latin typeface="+mn-lt"/>
              <a:cs typeface="Segoe UI Semilight"/>
            </a:endParaRPr>
          </a:p>
          <a:p>
            <a:endParaRPr lang="en-US" dirty="0"/>
          </a:p>
        </p:txBody>
      </p:sp>
      <p:pic>
        <p:nvPicPr>
          <p:cNvPr id="3" name="Picture 2">
            <a:extLst>
              <a:ext uri="{FF2B5EF4-FFF2-40B4-BE49-F238E27FC236}">
                <a16:creationId xmlns:a16="http://schemas.microsoft.com/office/drawing/2014/main" id="{C76AC8EE-377F-4EE0-BE6D-6E87239AA972}"/>
              </a:ext>
            </a:extLst>
          </p:cNvPr>
          <p:cNvPicPr>
            <a:picLocks noChangeAspect="1"/>
          </p:cNvPicPr>
          <p:nvPr/>
        </p:nvPicPr>
        <p:blipFill>
          <a:blip r:embed="rId3"/>
          <a:stretch>
            <a:fillRect/>
          </a:stretch>
        </p:blipFill>
        <p:spPr>
          <a:xfrm>
            <a:off x="8885237" y="1287462"/>
            <a:ext cx="3105150" cy="3276600"/>
          </a:xfrm>
          <a:prstGeom prst="rect">
            <a:avLst/>
          </a:prstGeom>
        </p:spPr>
      </p:pic>
    </p:spTree>
    <p:extLst>
      <p:ext uri="{BB962C8B-B14F-4D97-AF65-F5344CB8AC3E}">
        <p14:creationId xmlns:p14="http://schemas.microsoft.com/office/powerpoint/2010/main" val="143863659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56902"/>
            <a:ext cx="11889564" cy="917575"/>
          </a:xfrm>
        </p:spPr>
        <p:txBody>
          <a:bodyPr/>
          <a:lstStyle/>
          <a:p>
            <a:r>
              <a:rPr lang="en-GB"/>
              <a:t>Azure Monitor</a:t>
            </a:r>
          </a:p>
        </p:txBody>
      </p:sp>
      <p:sp>
        <p:nvSpPr>
          <p:cNvPr id="3" name="Text Placeholder 2"/>
          <p:cNvSpPr>
            <a:spLocks noGrp="1"/>
          </p:cNvSpPr>
          <p:nvPr>
            <p:ph type="body" sz="quarter" idx="10"/>
          </p:nvPr>
        </p:nvSpPr>
        <p:spPr>
          <a:xfrm>
            <a:off x="1283934" y="1481038"/>
            <a:ext cx="4935487" cy="4801314"/>
          </a:xfrm>
        </p:spPr>
        <p:txBody>
          <a:bodyPr/>
          <a:lstStyle/>
          <a:p>
            <a:pPr marL="571500" indent="-571500">
              <a:buFont typeface="Arial" panose="020B0604020202020204" pitchFamily="34" charset="0"/>
              <a:buChar char="•"/>
            </a:pPr>
            <a:r>
              <a:rPr lang="en-GB"/>
              <a:t>Metric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ctivity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Diagnostic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lerts</a:t>
            </a:r>
          </a:p>
        </p:txBody>
      </p:sp>
      <p:pic>
        <p:nvPicPr>
          <p:cNvPr id="4" name="Picture 3"/>
          <p:cNvPicPr>
            <a:picLocks noChangeAspect="1"/>
          </p:cNvPicPr>
          <p:nvPr/>
        </p:nvPicPr>
        <p:blipFill>
          <a:blip r:embed="rId3"/>
          <a:stretch>
            <a:fillRect/>
          </a:stretch>
        </p:blipFill>
        <p:spPr>
          <a:xfrm>
            <a:off x="961653" y="4073326"/>
            <a:ext cx="864096" cy="864096"/>
          </a:xfrm>
          <a:prstGeom prst="rect">
            <a:avLst/>
          </a:prstGeom>
        </p:spPr>
      </p:pic>
      <p:pic>
        <p:nvPicPr>
          <p:cNvPr id="5" name="Picture 4"/>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961653" y="2749968"/>
            <a:ext cx="902068" cy="902068"/>
          </a:xfrm>
          <a:prstGeom prst="rect">
            <a:avLst/>
          </a:prstGeom>
        </p:spPr>
      </p:pic>
      <p:pic>
        <p:nvPicPr>
          <p:cNvPr id="6" name="Picture 5"/>
          <p:cNvPicPr>
            <a:picLocks noChangeAspect="1"/>
          </p:cNvPicPr>
          <p:nvPr/>
        </p:nvPicPr>
        <p:blipFill>
          <a:blip r:embed="rId6"/>
          <a:stretch>
            <a:fillRect/>
          </a:stretch>
        </p:blipFill>
        <p:spPr>
          <a:xfrm>
            <a:off x="961653" y="5585494"/>
            <a:ext cx="842510" cy="842510"/>
          </a:xfrm>
          <a:prstGeom prst="rect">
            <a:avLst/>
          </a:prstGeom>
        </p:spPr>
      </p:pic>
      <p:pic>
        <p:nvPicPr>
          <p:cNvPr id="7" name="Picture 6"/>
          <p:cNvPicPr>
            <a:picLocks noChangeAspect="1"/>
          </p:cNvPicPr>
          <p:nvPr/>
        </p:nvPicPr>
        <p:blipFill>
          <a:blip r:embed="rId7"/>
          <a:stretch>
            <a:fillRect/>
          </a:stretch>
        </p:blipFill>
        <p:spPr>
          <a:xfrm>
            <a:off x="961653" y="1247809"/>
            <a:ext cx="902068" cy="902068"/>
          </a:xfrm>
          <a:prstGeom prst="rect">
            <a:avLst/>
          </a:prstGeom>
        </p:spPr>
      </p:pic>
      <p:pic>
        <p:nvPicPr>
          <p:cNvPr id="8" name="Picture 7"/>
          <p:cNvPicPr>
            <a:picLocks noChangeAspect="1"/>
          </p:cNvPicPr>
          <p:nvPr/>
        </p:nvPicPr>
        <p:blipFill>
          <a:blip r:embed="rId8"/>
          <a:stretch>
            <a:fillRect/>
          </a:stretch>
        </p:blipFill>
        <p:spPr>
          <a:xfrm>
            <a:off x="7370365" y="3305630"/>
            <a:ext cx="1368152" cy="1368152"/>
          </a:xfrm>
          <a:prstGeom prst="rect">
            <a:avLst/>
          </a:prstGeom>
        </p:spPr>
      </p:pic>
      <p:sp>
        <p:nvSpPr>
          <p:cNvPr id="9" name="Right Brace 8"/>
          <p:cNvSpPr/>
          <p:nvPr/>
        </p:nvSpPr>
        <p:spPr>
          <a:xfrm>
            <a:off x="5643357" y="1697062"/>
            <a:ext cx="1152128" cy="4585289"/>
          </a:xfrm>
          <a:prstGeom prst="rightBrace">
            <a:avLst>
              <a:gd name="adj1" fmla="val 37193"/>
              <a:gd name="adj2" fmla="val 5000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ectangle 9"/>
          <p:cNvSpPr/>
          <p:nvPr/>
        </p:nvSpPr>
        <p:spPr>
          <a:xfrm>
            <a:off x="8815594" y="3652036"/>
            <a:ext cx="3348609" cy="646331"/>
          </a:xfrm>
          <a:prstGeom prst="rect">
            <a:avLst/>
          </a:prstGeom>
        </p:spPr>
        <p:txBody>
          <a:bodyPr wrap="none" anchor="ctr">
            <a:spAutoFit/>
          </a:bodyPr>
          <a:lstStyle/>
          <a:p>
            <a:r>
              <a:rPr lang="en-GB" sz="3600" b="1"/>
              <a:t>Azure Monitor</a:t>
            </a:r>
          </a:p>
        </p:txBody>
      </p:sp>
      <p:sp>
        <p:nvSpPr>
          <p:cNvPr id="13" name="Title 1">
            <a:extLst>
              <a:ext uri="{FF2B5EF4-FFF2-40B4-BE49-F238E27FC236}">
                <a16:creationId xmlns:a16="http://schemas.microsoft.com/office/drawing/2014/main" id="{AE2C1BE8-83F8-4B46-91A1-AC41372AA375}"/>
              </a:ext>
            </a:extLst>
          </p:cNvPr>
          <p:cNvSpPr txBox="1">
            <a:spLocks/>
          </p:cNvSpPr>
          <p:nvPr/>
        </p:nvSpPr>
        <p:spPr>
          <a:xfrm>
            <a:off x="7226349" y="1149275"/>
            <a:ext cx="4824536"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GB" sz="2800"/>
              <a:t>Health, metric &amp; audit view across all Azure resources</a:t>
            </a:r>
          </a:p>
        </p:txBody>
      </p:sp>
    </p:spTree>
    <p:extLst>
      <p:ext uri="{BB962C8B-B14F-4D97-AF65-F5344CB8AC3E}">
        <p14:creationId xmlns:p14="http://schemas.microsoft.com/office/powerpoint/2010/main" val="738685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fontAlgn="base"/>
            <a:r>
              <a:rPr lang="en-US" b="1" dirty="0"/>
              <a:t>Azure Monitor –Compute resources</a:t>
            </a:r>
          </a:p>
        </p:txBody>
      </p:sp>
      <p:pic>
        <p:nvPicPr>
          <p:cNvPr id="1030" name="Picture 6" descr="Model for monitoring and diagnostics for non-compute resources">
            <a:extLst>
              <a:ext uri="{FF2B5EF4-FFF2-40B4-BE49-F238E27FC236}">
                <a16:creationId xmlns:a16="http://schemas.microsoft.com/office/drawing/2014/main" id="{78CDFB33-F439-4C3E-B8D5-5E39C5EC6D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3837" y="1363662"/>
            <a:ext cx="6724650" cy="465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3410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b="1" dirty="0"/>
              <a:t>Azure Monitor-Non compute resources</a:t>
            </a:r>
            <a:endParaRPr lang="en-US" dirty="0">
              <a:solidFill>
                <a:schemeClr val="tx1"/>
              </a:solidFill>
            </a:endParaRPr>
          </a:p>
        </p:txBody>
      </p:sp>
      <p:pic>
        <p:nvPicPr>
          <p:cNvPr id="2050" name="Picture 2" descr="Model for monitoring and diagnostics for compute resources">
            <a:extLst>
              <a:ext uri="{FF2B5EF4-FFF2-40B4-BE49-F238E27FC236}">
                <a16:creationId xmlns:a16="http://schemas.microsoft.com/office/drawing/2014/main" id="{643C08E4-6567-4EA8-BEF1-211852A5C1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637" y="1547350"/>
            <a:ext cx="6724650" cy="465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17749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Network Watcher (Public Preview)</a:t>
            </a:r>
          </a:p>
        </p:txBody>
      </p:sp>
      <p:sp>
        <p:nvSpPr>
          <p:cNvPr id="3" name="Text Placeholder 2">
            <a:extLst>
              <a:ext uri="{FF2B5EF4-FFF2-40B4-BE49-F238E27FC236}">
                <a16:creationId xmlns:a16="http://schemas.microsoft.com/office/drawing/2014/main" id="{B2F55360-92CC-4ABD-95C4-A66F08174DD1}"/>
              </a:ext>
            </a:extLst>
          </p:cNvPr>
          <p:cNvSpPr>
            <a:spLocks noGrp="1"/>
          </p:cNvSpPr>
          <p:nvPr>
            <p:ph type="body" sz="quarter" idx="10"/>
          </p:nvPr>
        </p:nvSpPr>
        <p:spPr>
          <a:xfrm>
            <a:off x="274638" y="1212850"/>
            <a:ext cx="11888787" cy="3508653"/>
          </a:xfrm>
        </p:spPr>
        <p:txBody>
          <a:bodyPr/>
          <a:lstStyle/>
          <a:p>
            <a:pPr marL="342900" indent="-342900">
              <a:buFont typeface="Arial" panose="020B0604020202020204" pitchFamily="34" charset="0"/>
              <a:buChar char="•"/>
            </a:pPr>
            <a:r>
              <a:rPr lang="en-US" sz="2000" dirty="0">
                <a:latin typeface="+mn-lt"/>
              </a:rPr>
              <a:t>Provides Connectivity Check for Express Route circuits</a:t>
            </a:r>
          </a:p>
          <a:p>
            <a:pPr marL="342900" indent="-342900">
              <a:buFont typeface="Arial" panose="020B0604020202020204" pitchFamily="34" charset="0"/>
              <a:buChar char="•"/>
            </a:pPr>
            <a:r>
              <a:rPr lang="en-US" sz="2000" dirty="0">
                <a:latin typeface="+mn-lt"/>
              </a:rPr>
              <a:t>Identify hybrid connectivity issues</a:t>
            </a:r>
          </a:p>
          <a:p>
            <a:pPr marL="571500" lvl="1" indent="-342900">
              <a:buFont typeface="Arial" panose="020B0604020202020204" pitchFamily="34" charset="0"/>
              <a:buChar char="•"/>
            </a:pPr>
            <a:r>
              <a:rPr lang="en-US" sz="2000" dirty="0">
                <a:latin typeface="+mn-lt"/>
              </a:rPr>
              <a:t> From Azure VM to an on-premise machine connected over ER circuit</a:t>
            </a:r>
          </a:p>
          <a:p>
            <a:pPr marL="809271" lvl="1" indent="-342900">
              <a:buFont typeface="Arial" panose="020B0604020202020204" pitchFamily="34" charset="0"/>
              <a:buChar char="•"/>
            </a:pPr>
            <a:r>
              <a:rPr lang="en-US" sz="2000" b="1" dirty="0">
                <a:solidFill>
                  <a:schemeClr val="tx1"/>
                </a:solidFill>
              </a:rPr>
              <a:t>Hop by hop information </a:t>
            </a:r>
            <a:r>
              <a:rPr lang="en-US" sz="2000" dirty="0">
                <a:solidFill>
                  <a:schemeClr val="tx1"/>
                </a:solidFill>
              </a:rPr>
              <a:t>with latency from source VM to destination on-premise machine</a:t>
            </a:r>
          </a:p>
          <a:p>
            <a:pPr marL="809271" lvl="1" indent="-342900">
              <a:buFont typeface="Arial" panose="020B0604020202020204" pitchFamily="34" charset="0"/>
              <a:buChar char="•"/>
            </a:pPr>
            <a:r>
              <a:rPr lang="en-US" sz="2000" b="1" dirty="0">
                <a:solidFill>
                  <a:schemeClr val="tx1"/>
                </a:solidFill>
              </a:rPr>
              <a:t>Insights </a:t>
            </a:r>
            <a:r>
              <a:rPr lang="en-US" sz="2000" dirty="0">
                <a:solidFill>
                  <a:schemeClr val="tx1"/>
                </a:solidFill>
              </a:rPr>
              <a:t>into possible paths the packet can take between source and destination</a:t>
            </a:r>
          </a:p>
          <a:p>
            <a:pPr marL="809271" lvl="1" indent="-342900">
              <a:buFont typeface="Arial" panose="020B0604020202020204" pitchFamily="34" charset="0"/>
              <a:buChar char="•"/>
            </a:pPr>
            <a:r>
              <a:rPr lang="en-US" sz="2000" b="1" dirty="0"/>
              <a:t>Identify </a:t>
            </a:r>
            <a:r>
              <a:rPr lang="en-US" sz="2000" dirty="0"/>
              <a:t>potential configuration issues like:</a:t>
            </a:r>
          </a:p>
          <a:p>
            <a:pPr marL="1275642" lvl="2" indent="-342900">
              <a:buFont typeface="Arial" panose="020B0604020202020204" pitchFamily="34" charset="0"/>
              <a:buChar char="•"/>
            </a:pPr>
            <a:r>
              <a:rPr lang="en-US" sz="2000" dirty="0"/>
              <a:t>Traffic blocked by NSG or guest firewall</a:t>
            </a:r>
          </a:p>
          <a:p>
            <a:pPr marL="1275642" lvl="2" indent="-342900">
              <a:buFont typeface="Arial" panose="020B0604020202020204" pitchFamily="34" charset="0"/>
              <a:buChar char="•"/>
            </a:pPr>
            <a:r>
              <a:rPr lang="en-US" sz="2000" dirty="0"/>
              <a:t>Route issues due to user defined or system routes</a:t>
            </a:r>
          </a:p>
          <a:p>
            <a:pPr marL="1275642" lvl="2" indent="-342900">
              <a:buFont typeface="Arial" panose="020B0604020202020204" pitchFamily="34" charset="0"/>
              <a:buChar char="•"/>
            </a:pPr>
            <a:r>
              <a:rPr lang="en-US" sz="2000" dirty="0"/>
              <a:t>Incomplete or missing ARP (ARP) table entry</a:t>
            </a:r>
          </a:p>
          <a:p>
            <a:pPr marL="1275642" lvl="2" indent="-342900">
              <a:buFont typeface="Arial" panose="020B0604020202020204" pitchFamily="34" charset="0"/>
              <a:buChar char="•"/>
            </a:pPr>
            <a:r>
              <a:rPr lang="en-US" sz="2000" dirty="0"/>
              <a:t>missing routes in the ER gateway for destination</a:t>
            </a:r>
          </a:p>
        </p:txBody>
      </p:sp>
      <p:pic>
        <p:nvPicPr>
          <p:cNvPr id="4" name="Picture 3">
            <a:extLst>
              <a:ext uri="{FF2B5EF4-FFF2-40B4-BE49-F238E27FC236}">
                <a16:creationId xmlns:a16="http://schemas.microsoft.com/office/drawing/2014/main" id="{51BDA3E0-84FB-4553-BB74-119BFFE2EDEB}"/>
              </a:ext>
            </a:extLst>
          </p:cNvPr>
          <p:cNvPicPr>
            <a:picLocks noChangeAspect="1"/>
          </p:cNvPicPr>
          <p:nvPr/>
        </p:nvPicPr>
        <p:blipFill>
          <a:blip r:embed="rId3"/>
          <a:stretch>
            <a:fillRect/>
          </a:stretch>
        </p:blipFill>
        <p:spPr>
          <a:xfrm>
            <a:off x="7513637" y="4030662"/>
            <a:ext cx="4362450" cy="2559019"/>
          </a:xfrm>
          <a:prstGeom prst="rect">
            <a:avLst/>
          </a:prstGeom>
        </p:spPr>
      </p:pic>
    </p:spTree>
    <p:extLst>
      <p:ext uri="{BB962C8B-B14F-4D97-AF65-F5344CB8AC3E}">
        <p14:creationId xmlns:p14="http://schemas.microsoft.com/office/powerpoint/2010/main" val="2921280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678975" y="5758357"/>
            <a:ext cx="907965" cy="126741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387404" y="1885519"/>
            <a:ext cx="1005916"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589118" y="5911485"/>
            <a:ext cx="112461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Monitor</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904348" y="1885519"/>
            <a:ext cx="105856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Govern</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393341" y="2166051"/>
            <a:ext cx="2038528" cy="709253"/>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Threat Protection</a:t>
            </a:r>
          </a:p>
        </p:txBody>
      </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F5B1C3BE-F9AF-433F-81E8-DE3EE67B829F}"/>
              </a:ext>
            </a:extLst>
          </p:cNvPr>
          <p:cNvSpPr txBox="1"/>
          <p:nvPr/>
        </p:nvSpPr>
        <p:spPr>
          <a:xfrm>
            <a:off x="3054409" y="2166051"/>
            <a:ext cx="1873533" cy="709253"/>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Cost Management</a:t>
            </a:r>
          </a:p>
        </p:txBody>
      </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gradFill>
                <a:latin typeface="Segoe UI"/>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lin ang="5400000" scaled="1"/>
                </a:gradFill>
                <a:latin typeface="Segoe UI"/>
              </a:endParaRPr>
            </a:p>
          </p:txBody>
        </p:sp>
      </p:gr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5436792" y="3764707"/>
            <a:ext cx="764213" cy="764213"/>
            <a:chOff x="4270669" y="3638704"/>
            <a:chExt cx="551693" cy="551693"/>
          </a:xfrm>
          <a:effectLst/>
        </p:grpSpPr>
        <p:sp>
          <p:nvSpPr>
            <p:cNvPr id="45" name="Oval 44">
              <a:extLst>
                <a:ext uri="{FF2B5EF4-FFF2-40B4-BE49-F238E27FC236}">
                  <a16:creationId xmlns:a16="http://schemas.microsoft.com/office/drawing/2014/main" id="{3CFDDF8B-5104-4988-8546-B50E8A7FEB25}"/>
                </a:ext>
              </a:extLst>
            </p:cNvPr>
            <p:cNvSpPr/>
            <p:nvPr/>
          </p:nvSpPr>
          <p:spPr bwMode="auto">
            <a:xfrm>
              <a:off x="4270669" y="3638704"/>
              <a:ext cx="551693" cy="551693"/>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dirty="0">
                <a:solidFill>
                  <a:srgbClr val="505050"/>
                </a:solidFill>
                <a:latin typeface="Segoe UI"/>
              </a:endParaRPr>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gradFill>
                  <a:gsLst>
                    <a:gs pos="0">
                      <a:srgbClr val="505050"/>
                    </a:gs>
                    <a:gs pos="100000">
                      <a:srgbClr val="505050"/>
                    </a:gs>
                  </a:gsLst>
                </a:gradFill>
                <a:latin typeface="Segoe UI"/>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4" name="Rectangle 63">
            <a:extLst>
              <a:ext uri="{FF2B5EF4-FFF2-40B4-BE49-F238E27FC236}">
                <a16:creationId xmlns:a16="http://schemas.microsoft.com/office/drawing/2014/main" id="{4F665637-05CF-423C-AF80-6FCFD5196801}"/>
              </a:ext>
            </a:extLst>
          </p:cNvPr>
          <p:cNvSpPr/>
          <p:nvPr/>
        </p:nvSpPr>
        <p:spPr>
          <a:xfrm>
            <a:off x="5603821" y="6232342"/>
            <a:ext cx="3094355" cy="966785"/>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465594" y="4292194"/>
            <a:ext cx="1046788"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477243" y="4592117"/>
            <a:ext cx="2504151" cy="48271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Backup &amp; Disaster Recovery</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657647" y="4292194"/>
            <a:ext cx="1305105"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13563" y="4592117"/>
            <a:ext cx="2741761" cy="709253"/>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Automation, Configuration</a:t>
            </a:r>
          </a:p>
        </p:txBody>
      </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726" t="8941" r="-1178" b="8941"/>
          <a:stretch/>
        </p:blipFill>
        <p:spPr>
          <a:xfrm>
            <a:off x="6044836" y="2515202"/>
            <a:ext cx="2234982" cy="2220895"/>
          </a:xfrm>
          <a:prstGeom prst="ellipse">
            <a:avLst/>
          </a:prstGeom>
          <a:ln>
            <a:noFill/>
          </a:ln>
          <a:effectLst>
            <a:softEdge rad="0"/>
          </a:effectLst>
        </p:spPr>
      </p:pic>
      <p:sp>
        <p:nvSpPr>
          <p:cNvPr id="3" name="Oval 2"/>
          <p:cNvSpPr/>
          <p:nvPr/>
        </p:nvSpPr>
        <p:spPr bwMode="auto">
          <a:xfrm>
            <a:off x="6042614" y="2513505"/>
            <a:ext cx="2231838" cy="2220895"/>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6042614" y="3202302"/>
            <a:ext cx="2231838" cy="593531"/>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2448" kern="0" spc="0" dirty="0">
                <a:solidFill>
                  <a:srgbClr val="FFFFFF"/>
                </a:solidFill>
                <a:latin typeface="Segoe UI Semilight"/>
                <a:cs typeface="Segoe UI Semilight" panose="020B0402040204020203" pitchFamily="34" charset="0"/>
              </a:rPr>
              <a:t>Azure</a:t>
            </a:r>
          </a:p>
          <a:p>
            <a:pPr defTabSz="914224">
              <a:defRPr/>
            </a:pPr>
            <a:r>
              <a:rPr lang="en-US" sz="2448" kern="0" spc="0" dirty="0">
                <a:solidFill>
                  <a:srgbClr val="FFFFFF"/>
                </a:solidFill>
                <a:latin typeface="Segoe UI Semilight"/>
                <a:cs typeface="Segoe UI Semilight" panose="020B0402040204020203" pitchFamily="34" charset="0"/>
              </a:rPr>
              <a:t>portal</a:t>
            </a:r>
            <a:endParaRPr lang="en-US" sz="2448" kern="0" spc="0" dirty="0">
              <a:solidFill>
                <a:srgbClr val="FFFFF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b="1" dirty="0"/>
              <a:t>Azure Security Center</a:t>
            </a:r>
            <a:endParaRPr lang="en-US" dirty="0">
              <a:solidFill>
                <a:schemeClr val="tx1"/>
              </a:solidFill>
            </a:endParaRPr>
          </a:p>
        </p:txBody>
      </p:sp>
      <p:pic>
        <p:nvPicPr>
          <p:cNvPr id="1026" name="Picture 2" descr="https://azurecomcdn.azureedge.net/mediahandler/acomblog/media/Default/blog/77a7a7ce-93e7-47ff-991a-349730a9fdaf.png">
            <a:extLst>
              <a:ext uri="{FF2B5EF4-FFF2-40B4-BE49-F238E27FC236}">
                <a16:creationId xmlns:a16="http://schemas.microsoft.com/office/drawing/2014/main" id="{AA60735D-0B63-493B-8DE7-CC69E4975D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237" y="982663"/>
            <a:ext cx="11049000" cy="586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02241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7402D-12F8-4EA2-82BB-B8FA0DE0E698}"/>
              </a:ext>
            </a:extLst>
          </p:cNvPr>
          <p:cNvSpPr>
            <a:spLocks noGrp="1"/>
          </p:cNvSpPr>
          <p:nvPr>
            <p:ph type="title"/>
          </p:nvPr>
        </p:nvSpPr>
        <p:spPr/>
        <p:txBody>
          <a:bodyPr/>
          <a:lstStyle/>
          <a:p>
            <a:r>
              <a:rPr lang="en-US" dirty="0"/>
              <a:t>Azure Security Center</a:t>
            </a:r>
          </a:p>
        </p:txBody>
      </p:sp>
      <p:sp>
        <p:nvSpPr>
          <p:cNvPr id="3" name="Text Placeholder 2">
            <a:extLst>
              <a:ext uri="{FF2B5EF4-FFF2-40B4-BE49-F238E27FC236}">
                <a16:creationId xmlns:a16="http://schemas.microsoft.com/office/drawing/2014/main" id="{BBE72556-E4B9-489E-BC2B-48BD13716D0A}"/>
              </a:ext>
            </a:extLst>
          </p:cNvPr>
          <p:cNvSpPr>
            <a:spLocks noGrp="1"/>
          </p:cNvSpPr>
          <p:nvPr>
            <p:ph type="body" sz="quarter" idx="10"/>
          </p:nvPr>
        </p:nvSpPr>
        <p:spPr>
          <a:xfrm>
            <a:off x="274638" y="1212850"/>
            <a:ext cx="11888787" cy="5133713"/>
          </a:xfrm>
        </p:spPr>
        <p:txBody>
          <a:bodyPr/>
          <a:lstStyle/>
          <a:p>
            <a:pPr marL="571500" indent="-571500">
              <a:buFont typeface="Arial" panose="020B0604020202020204" pitchFamily="34" charset="0"/>
              <a:buChar char="•"/>
            </a:pPr>
            <a:r>
              <a:rPr lang="en-US" sz="2800" dirty="0">
                <a:latin typeface="+mn-lt"/>
              </a:rPr>
              <a:t>Azure Security Center is now </a:t>
            </a:r>
            <a:r>
              <a:rPr lang="en-US" sz="2800" dirty="0">
                <a:solidFill>
                  <a:schemeClr val="tx1"/>
                </a:solidFill>
                <a:latin typeface="+mn-lt"/>
              </a:rPr>
              <a:t>hybrid</a:t>
            </a:r>
            <a:r>
              <a:rPr lang="en-US" sz="2800" dirty="0">
                <a:latin typeface="+mn-lt"/>
              </a:rPr>
              <a:t>, can now be used to secure workloads running on-premises and in other clouds</a:t>
            </a:r>
          </a:p>
          <a:p>
            <a:pPr marL="571500" indent="-571500">
              <a:buFont typeface="Arial" panose="020B0604020202020204" pitchFamily="34" charset="0"/>
              <a:buChar char="•"/>
            </a:pPr>
            <a:r>
              <a:rPr lang="en-US" sz="2800" dirty="0">
                <a:latin typeface="+mn-lt"/>
              </a:rPr>
              <a:t>Block and detect threats on cloud and on-premise-unifying security management across environments </a:t>
            </a:r>
          </a:p>
          <a:p>
            <a:pPr marL="571500" indent="-571500">
              <a:buFont typeface="Arial" panose="020B0604020202020204" pitchFamily="34" charset="0"/>
              <a:buChar char="•"/>
            </a:pPr>
            <a:r>
              <a:rPr lang="en-US" sz="2800" dirty="0">
                <a:latin typeface="+mn-lt"/>
              </a:rPr>
              <a:t>Operations Management Suite (OMS) Security &amp; Compliance customers:</a:t>
            </a:r>
          </a:p>
          <a:p>
            <a:pPr marL="800100" lvl="1" indent="-571500">
              <a:buFont typeface="Arial" panose="020B0604020202020204" pitchFamily="34" charset="0"/>
              <a:buChar char="•"/>
            </a:pPr>
            <a:r>
              <a:rPr lang="en-US" sz="2000" dirty="0">
                <a:latin typeface="+mn-lt"/>
              </a:rPr>
              <a:t>connected computers will be automatically discovered and monitored by Security Center</a:t>
            </a:r>
          </a:p>
          <a:p>
            <a:pPr marL="571500" indent="-571500">
              <a:buFont typeface="Arial" panose="020B0604020202020204" pitchFamily="34" charset="0"/>
              <a:buChar char="•"/>
            </a:pPr>
            <a:r>
              <a:rPr lang="en-US" sz="2800" dirty="0">
                <a:latin typeface="+mn-lt"/>
              </a:rPr>
              <a:t>New updates</a:t>
            </a:r>
          </a:p>
          <a:p>
            <a:pPr marL="800100" lvl="1" indent="-571500">
              <a:buFont typeface="Arial" panose="020B0604020202020204" pitchFamily="34" charset="0"/>
              <a:buChar char="•"/>
            </a:pPr>
            <a:r>
              <a:rPr lang="en-US" dirty="0"/>
              <a:t>Defend against threats and respond quickly, including Just in Time (JIT) access, dynamic app whitelisting, :drill down into an attack end to end with interactive investigation paths and mapping.</a:t>
            </a:r>
          </a:p>
          <a:p>
            <a:pPr marL="800100" lvl="1" indent="-571500">
              <a:buFont typeface="Arial" panose="020B0604020202020204" pitchFamily="34" charset="0"/>
              <a:buChar char="•"/>
            </a:pPr>
            <a:r>
              <a:rPr lang="en-US" dirty="0"/>
              <a:t>Provides intelligent threat protection using analytics and the Microsoft Intelligent Security Graph</a:t>
            </a:r>
          </a:p>
          <a:p>
            <a:pPr marL="571500"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407861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Application &amp; Platform Services</a:t>
            </a:r>
          </a:p>
        </p:txBody>
      </p:sp>
      <p:pic>
        <p:nvPicPr>
          <p:cNvPr id="9" name="Picture Placeholder 8">
            <a:extLst>
              <a:ext uri="{FF2B5EF4-FFF2-40B4-BE49-F238E27FC236}">
                <a16:creationId xmlns:a16="http://schemas.microsoft.com/office/drawing/2014/main" id="{32CFCDFB-473D-411B-9141-D7D13036608F}"/>
              </a:ext>
            </a:extLst>
          </p:cNvPr>
          <p:cNvPicPr>
            <a:picLocks noGrp="1" noChangeAspect="1"/>
          </p:cNvPicPr>
          <p:nvPr>
            <p:ph type="pic" sz="quarter" idx="10"/>
          </p:nvPr>
        </p:nvPicPr>
        <p:blipFill>
          <a:blip r:embed="rId3"/>
          <a:srcRect l="25043" r="25043"/>
          <a:stretch>
            <a:fillRect/>
          </a:stretch>
        </p:blipFill>
        <p:spPr/>
      </p:pic>
      <p:pic>
        <p:nvPicPr>
          <p:cNvPr id="10" name="Picture Placeholder 5">
            <a:extLst>
              <a:ext uri="{FF2B5EF4-FFF2-40B4-BE49-F238E27FC236}">
                <a16:creationId xmlns:a16="http://schemas.microsoft.com/office/drawing/2014/main" id="{D0F767A8-C1E6-4C2C-8C84-5EECF85BF7EA}"/>
              </a:ext>
            </a:extLst>
          </p:cNvPr>
          <p:cNvPicPr>
            <a:picLocks noChangeAspect="1"/>
          </p:cNvPicPr>
          <p:nvPr/>
        </p:nvPicPr>
        <p:blipFill>
          <a:blip r:embed="rId4"/>
          <a:srcRect l="20358" r="20358"/>
          <a:stretch>
            <a:fillRect/>
          </a:stretch>
        </p:blipFill>
        <p:spPr bwMode="ltGray">
          <a:xfrm>
            <a:off x="6225343" y="-1"/>
            <a:ext cx="6216650" cy="6992587"/>
          </a:xfrm>
          <a:prstGeom prst="rect">
            <a:avLst/>
          </a:prstGeom>
          <a:blipFill>
            <a:blip r:embed="rId5"/>
            <a:stretch>
              <a:fillRect/>
            </a:stretch>
          </a:blipFill>
        </p:spPr>
      </p:pic>
    </p:spTree>
    <p:extLst>
      <p:ext uri="{BB962C8B-B14F-4D97-AF65-F5344CB8AC3E}">
        <p14:creationId xmlns:p14="http://schemas.microsoft.com/office/powerpoint/2010/main" val="54160495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749517" y="497"/>
            <a:ext cx="5686077" cy="699353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75482" y="295730"/>
            <a:ext cx="5907483" cy="1033507"/>
          </a:xfrm>
        </p:spPr>
        <p:txBody>
          <a:bodyPr/>
          <a:lstStyle/>
          <a:p>
            <a:pPr lvl="0"/>
            <a:r>
              <a:rPr lang="en-US" kern="0" spc="0">
                <a:ln>
                  <a:noFill/>
                </a:ln>
                <a:solidFill>
                  <a:schemeClr val="tx1"/>
                </a:solidFill>
                <a:ea typeface="Segoe UI" pitchFamily="34" charset="0"/>
              </a:rPr>
              <a:t>Balance of responsibility </a:t>
            </a:r>
            <a:endParaRPr lang="en-US" sz="4399"/>
          </a:p>
        </p:txBody>
      </p:sp>
      <p:sp>
        <p:nvSpPr>
          <p:cNvPr id="4" name="TextBox 3"/>
          <p:cNvSpPr txBox="1"/>
          <p:nvPr/>
        </p:nvSpPr>
        <p:spPr>
          <a:xfrm>
            <a:off x="275482" y="1987030"/>
            <a:ext cx="5907483" cy="4122036"/>
          </a:xfrm>
          <a:prstGeom prst="rect">
            <a:avLst/>
          </a:prstGeom>
          <a:noFill/>
        </p:spPr>
        <p:txBody>
          <a:bodyPr wrap="square" lIns="186494" tIns="149196" rIns="186494" bIns="149196" rtlCol="0">
            <a:spAutoFit/>
          </a:bodyPr>
          <a:lstStyle/>
          <a:p>
            <a:pPr defTabSz="914224">
              <a:lnSpc>
                <a:spcPct val="90000"/>
              </a:lnSpc>
              <a:spcAft>
                <a:spcPts val="612"/>
              </a:spcAft>
            </a:pPr>
            <a:r>
              <a:rPr lang="en-US" sz="2448" kern="0">
                <a:solidFill>
                  <a:schemeClr val="bg2">
                    <a:lumMod val="20000"/>
                    <a:lumOff val="80000"/>
                  </a:schemeClr>
                </a:solidFill>
              </a:rPr>
              <a:t>Balance of control and responsibility depends on the category of the service</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MOVE-IN READY</a:t>
            </a:r>
          </a:p>
          <a:p>
            <a:pPr defTabSz="914224">
              <a:lnSpc>
                <a:spcPct val="90000"/>
              </a:lnSpc>
              <a:spcAft>
                <a:spcPts val="612"/>
              </a:spcAft>
            </a:pPr>
            <a:r>
              <a:rPr lang="en-US" sz="1873" kern="0">
                <a:solidFill>
                  <a:schemeClr val="bg2">
                    <a:lumMod val="20000"/>
                    <a:lumOff val="80000"/>
                  </a:schemeClr>
                </a:solidFill>
              </a:rPr>
              <a:t>Use immediately with minimal configuration</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SOME ASSEMBLY REQUIRED</a:t>
            </a:r>
          </a:p>
          <a:p>
            <a:pPr defTabSz="914224">
              <a:lnSpc>
                <a:spcPct val="90000"/>
              </a:lnSpc>
              <a:spcAft>
                <a:spcPts val="612"/>
              </a:spcAft>
            </a:pPr>
            <a:r>
              <a:rPr lang="en-US" sz="1873" kern="0">
                <a:solidFill>
                  <a:schemeClr val="bg2">
                    <a:lumMod val="20000"/>
                    <a:lumOff val="80000"/>
                  </a:schemeClr>
                </a:solidFill>
              </a:rPr>
              <a:t>Existing services are a starting point, with additional configuration for a custom fit</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BUILD FROM THE GROUND UP</a:t>
            </a:r>
          </a:p>
          <a:p>
            <a:pPr defTabSz="914224">
              <a:lnSpc>
                <a:spcPct val="90000"/>
              </a:lnSpc>
              <a:spcAft>
                <a:spcPts val="612"/>
              </a:spcAft>
            </a:pPr>
            <a:r>
              <a:rPr lang="en-US" sz="1873" kern="0">
                <a:solidFill>
                  <a:schemeClr val="bg2">
                    <a:lumMod val="20000"/>
                    <a:lumOff val="80000"/>
                  </a:schemeClr>
                </a:solidFill>
              </a:rPr>
              <a:t>Building blocks, create your own solution or apps from scratch</a:t>
            </a:r>
          </a:p>
        </p:txBody>
      </p:sp>
      <p:graphicFrame>
        <p:nvGraphicFramePr>
          <p:cNvPr id="6" name="Table 5"/>
          <p:cNvGraphicFramePr>
            <a:graphicFrameLocks noGrp="1"/>
          </p:cNvGraphicFramePr>
          <p:nvPr>
            <p:extLst/>
          </p:nvPr>
        </p:nvGraphicFramePr>
        <p:xfrm>
          <a:off x="7066294" y="544643"/>
          <a:ext cx="5043354" cy="5238231"/>
        </p:xfrm>
        <a:graphic>
          <a:graphicData uri="http://schemas.openxmlformats.org/drawingml/2006/table">
            <a:tbl>
              <a:tblPr firstRow="1" bandRow="1">
                <a:tableStyleId>{5940675A-B579-460E-94D1-54222C63F5DA}</a:tableStyleId>
              </a:tblPr>
              <a:tblGrid>
                <a:gridCol w="1864885">
                  <a:extLst>
                    <a:ext uri="{9D8B030D-6E8A-4147-A177-3AD203B41FA5}">
                      <a16:colId xmlns:a16="http://schemas.microsoft.com/office/drawing/2014/main" val="2544153837"/>
                    </a:ext>
                  </a:extLst>
                </a:gridCol>
                <a:gridCol w="923505">
                  <a:extLst>
                    <a:ext uri="{9D8B030D-6E8A-4147-A177-3AD203B41FA5}">
                      <a16:colId xmlns:a16="http://schemas.microsoft.com/office/drawing/2014/main" val="3937659814"/>
                    </a:ext>
                  </a:extLst>
                </a:gridCol>
                <a:gridCol w="655689">
                  <a:extLst>
                    <a:ext uri="{9D8B030D-6E8A-4147-A177-3AD203B41FA5}">
                      <a16:colId xmlns:a16="http://schemas.microsoft.com/office/drawing/2014/main" val="2750310453"/>
                    </a:ext>
                  </a:extLst>
                </a:gridCol>
                <a:gridCol w="729569">
                  <a:extLst>
                    <a:ext uri="{9D8B030D-6E8A-4147-A177-3AD203B41FA5}">
                      <a16:colId xmlns:a16="http://schemas.microsoft.com/office/drawing/2014/main" val="1063817949"/>
                    </a:ext>
                  </a:extLst>
                </a:gridCol>
                <a:gridCol w="869706">
                  <a:extLst>
                    <a:ext uri="{9D8B030D-6E8A-4147-A177-3AD203B41FA5}">
                      <a16:colId xmlns:a16="http://schemas.microsoft.com/office/drawing/2014/main" val="449148099"/>
                    </a:ext>
                  </a:extLst>
                </a:gridCol>
              </a:tblGrid>
              <a:tr h="366576">
                <a:tc>
                  <a:txBody>
                    <a:bodyPr/>
                    <a:lstStyle/>
                    <a:p>
                      <a:r>
                        <a:rPr lang="en-US" sz="1600" b="0">
                          <a:solidFill>
                            <a:schemeClr val="bg1"/>
                          </a:solidFill>
                          <a:latin typeface="Segoe UI Semibold" panose="020B0702040204020203" pitchFamily="34" charset="0"/>
                          <a:cs typeface="Segoe UI Semibold" panose="020B0702040204020203" pitchFamily="34" charset="0"/>
                        </a:rPr>
                        <a:t>Responsibility</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 </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I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P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S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41295">
                <a:tc>
                  <a:txBody>
                    <a:bodyPr/>
                    <a:lstStyle/>
                    <a:p>
                      <a:r>
                        <a:rPr lang="en-US" sz="1600">
                          <a:solidFill>
                            <a:schemeClr val="bg1"/>
                          </a:solidFill>
                        </a:rPr>
                        <a:t>Applications</a:t>
                      </a:r>
                    </a:p>
                  </a:txBody>
                  <a:tcPr marL="91427" marR="91427" marT="45713" marB="45713"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41295">
                <a:tc>
                  <a:txBody>
                    <a:bodyPr/>
                    <a:lstStyle/>
                    <a:p>
                      <a:r>
                        <a:rPr lang="en-US" sz="1600">
                          <a:solidFill>
                            <a:schemeClr val="bg1"/>
                          </a:solidFill>
                        </a:rPr>
                        <a:t>Data</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958753268"/>
                  </a:ext>
                </a:extLst>
              </a:tr>
              <a:tr h="541295">
                <a:tc>
                  <a:txBody>
                    <a:bodyPr/>
                    <a:lstStyle/>
                    <a:p>
                      <a:r>
                        <a:rPr lang="en-US" sz="1600">
                          <a:solidFill>
                            <a:schemeClr val="bg1"/>
                          </a:solidFill>
                        </a:rPr>
                        <a:t>Runtim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1033960191"/>
                  </a:ext>
                </a:extLst>
              </a:tr>
              <a:tr h="541295">
                <a:tc>
                  <a:txBody>
                    <a:bodyPr/>
                    <a:lstStyle/>
                    <a:p>
                      <a:r>
                        <a:rPr lang="en-US" sz="1600">
                          <a:solidFill>
                            <a:schemeClr val="bg1"/>
                          </a:solidFill>
                        </a:rPr>
                        <a:t>Middlewar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76098919"/>
                  </a:ext>
                </a:extLst>
              </a:tr>
              <a:tr h="541295">
                <a:tc>
                  <a:txBody>
                    <a:bodyPr/>
                    <a:lstStyle/>
                    <a:p>
                      <a:r>
                        <a:rPr lang="en-US" sz="1600">
                          <a:solidFill>
                            <a:schemeClr val="bg1"/>
                          </a:solidFill>
                        </a:rPr>
                        <a:t>O/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899666371"/>
                  </a:ext>
                </a:extLst>
              </a:tr>
              <a:tr h="541295">
                <a:tc>
                  <a:txBody>
                    <a:bodyPr/>
                    <a:lstStyle/>
                    <a:p>
                      <a:r>
                        <a:rPr lang="en-US" sz="1600">
                          <a:solidFill>
                            <a:schemeClr val="bg1"/>
                          </a:solidFill>
                        </a:rPr>
                        <a:t>Virtualization</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37277180"/>
                  </a:ext>
                </a:extLst>
              </a:tr>
              <a:tr h="541295">
                <a:tc>
                  <a:txBody>
                    <a:bodyPr/>
                    <a:lstStyle/>
                    <a:p>
                      <a:r>
                        <a:rPr lang="en-US" sz="1600">
                          <a:solidFill>
                            <a:schemeClr val="bg1"/>
                          </a:solidFill>
                        </a:rPr>
                        <a:t>Server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943673154"/>
                  </a:ext>
                </a:extLst>
              </a:tr>
              <a:tr h="541295">
                <a:tc>
                  <a:txBody>
                    <a:bodyPr/>
                    <a:lstStyle/>
                    <a:p>
                      <a:r>
                        <a:rPr lang="en-US" sz="1600">
                          <a:solidFill>
                            <a:schemeClr val="bg1"/>
                          </a:solidFill>
                        </a:rPr>
                        <a:t>Storag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02216785"/>
                  </a:ext>
                </a:extLst>
              </a:tr>
              <a:tr h="541295">
                <a:tc>
                  <a:txBody>
                    <a:bodyPr/>
                    <a:lstStyle/>
                    <a:p>
                      <a:r>
                        <a:rPr lang="en-US" sz="1600">
                          <a:solidFill>
                            <a:schemeClr val="bg1"/>
                          </a:solidFill>
                        </a:rPr>
                        <a:t>Networking</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281497" y="1099059"/>
            <a:ext cx="457136" cy="4733336"/>
            <a:chOff x="9027714" y="1049587"/>
            <a:chExt cx="457201" cy="4734008"/>
          </a:xfrm>
          <a:solidFill>
            <a:srgbClr val="0078D7"/>
          </a:solidFill>
        </p:grpSpPr>
        <p:sp>
          <p:nvSpPr>
            <p:cNvPr id="7" name="Rectangle 6"/>
            <p:cNvSpPr/>
            <p:nvPr/>
          </p:nvSpPr>
          <p:spPr bwMode="auto">
            <a:xfrm>
              <a:off x="9027715"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0" name="Group 49"/>
          <p:cNvGrpSpPr/>
          <p:nvPr/>
        </p:nvGrpSpPr>
        <p:grpSpPr>
          <a:xfrm>
            <a:off x="10594741" y="1099059"/>
            <a:ext cx="457135" cy="4733336"/>
            <a:chOff x="9691654" y="1049587"/>
            <a:chExt cx="457200" cy="4734008"/>
          </a:xfrm>
        </p:grpSpPr>
        <p:sp>
          <p:nvSpPr>
            <p:cNvPr id="8" name="Rectangle 7"/>
            <p:cNvSpPr/>
            <p:nvPr/>
          </p:nvSpPr>
          <p:spPr bwMode="auto">
            <a:xfrm>
              <a:off x="9691654"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61" name="Group 60"/>
          <p:cNvGrpSpPr/>
          <p:nvPr/>
        </p:nvGrpSpPr>
        <p:grpSpPr>
          <a:xfrm>
            <a:off x="9899412" y="1099060"/>
            <a:ext cx="457136" cy="4732942"/>
            <a:chOff x="10608689" y="1049587"/>
            <a:chExt cx="457200" cy="4733613"/>
          </a:xfrm>
        </p:grpSpPr>
        <p:sp>
          <p:nvSpPr>
            <p:cNvPr id="9" name="Rectangle 8"/>
            <p:cNvSpPr/>
            <p:nvPr/>
          </p:nvSpPr>
          <p:spPr bwMode="auto">
            <a:xfrm>
              <a:off x="10608689"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2" name="Rectangle 41"/>
            <p:cNvSpPr/>
            <p:nvPr/>
          </p:nvSpPr>
          <p:spPr bwMode="auto">
            <a:xfrm>
              <a:off x="1060868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9" name="Group 58"/>
          <p:cNvGrpSpPr/>
          <p:nvPr/>
        </p:nvGrpSpPr>
        <p:grpSpPr>
          <a:xfrm>
            <a:off x="10652119" y="6083101"/>
            <a:ext cx="1420855" cy="521303"/>
            <a:chOff x="9205950" y="5966176"/>
            <a:chExt cx="1421057" cy="521377"/>
          </a:xfrm>
        </p:grpSpPr>
        <p:sp>
          <p:nvSpPr>
            <p:cNvPr id="54" name="Rectangle 53"/>
            <p:cNvSpPr/>
            <p:nvPr/>
          </p:nvSpPr>
          <p:spPr bwMode="auto">
            <a:xfrm>
              <a:off x="9205950" y="6071863"/>
              <a:ext cx="274320" cy="27432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5" name="TextBox 54"/>
            <p:cNvSpPr txBox="1"/>
            <p:nvPr/>
          </p:nvSpPr>
          <p:spPr>
            <a:xfrm>
              <a:off x="9381237" y="5966176"/>
              <a:ext cx="1245770"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Microsoft</a:t>
              </a:r>
            </a:p>
          </p:txBody>
        </p:sp>
      </p:grpSp>
      <p:grpSp>
        <p:nvGrpSpPr>
          <p:cNvPr id="58" name="Group 57"/>
          <p:cNvGrpSpPr/>
          <p:nvPr/>
        </p:nvGrpSpPr>
        <p:grpSpPr>
          <a:xfrm>
            <a:off x="8908187" y="6083101"/>
            <a:ext cx="1406468" cy="521303"/>
            <a:chOff x="10595131" y="5966176"/>
            <a:chExt cx="1406667" cy="521377"/>
          </a:xfrm>
        </p:grpSpPr>
        <p:sp>
          <p:nvSpPr>
            <p:cNvPr id="56" name="Rectangle 55"/>
            <p:cNvSpPr/>
            <p:nvPr/>
          </p:nvSpPr>
          <p:spPr bwMode="auto">
            <a:xfrm>
              <a:off x="10595131" y="6071862"/>
              <a:ext cx="274320" cy="27432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7" name="TextBox 56"/>
            <p:cNvSpPr txBox="1"/>
            <p:nvPr/>
          </p:nvSpPr>
          <p:spPr>
            <a:xfrm>
              <a:off x="10742947" y="5966176"/>
              <a:ext cx="1258851"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Customer</a:t>
              </a:r>
            </a:p>
          </p:txBody>
        </p:sp>
      </p:grpSp>
      <p:grpSp>
        <p:nvGrpSpPr>
          <p:cNvPr id="44" name="Group 43"/>
          <p:cNvGrpSpPr/>
          <p:nvPr/>
        </p:nvGrpSpPr>
        <p:grpSpPr>
          <a:xfrm>
            <a:off x="12802656" y="6242766"/>
            <a:ext cx="457135" cy="458431"/>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11" name="Group 10">
            <a:extLst>
              <a:ext uri="{FF2B5EF4-FFF2-40B4-BE49-F238E27FC236}">
                <a16:creationId xmlns:a16="http://schemas.microsoft.com/office/drawing/2014/main" id="{FFE37EC7-A9E2-4CA2-9F31-9E1A476BD6DC}"/>
              </a:ext>
            </a:extLst>
          </p:cNvPr>
          <p:cNvGrpSpPr/>
          <p:nvPr/>
        </p:nvGrpSpPr>
        <p:grpSpPr>
          <a:xfrm>
            <a:off x="9006482" y="251037"/>
            <a:ext cx="818113" cy="5580964"/>
            <a:chOff x="8829822" y="361748"/>
            <a:chExt cx="802144" cy="5472030"/>
          </a:xfrm>
        </p:grpSpPr>
        <p:grpSp>
          <p:nvGrpSpPr>
            <p:cNvPr id="60" name="Group 59"/>
            <p:cNvGrpSpPr/>
            <p:nvPr/>
          </p:nvGrpSpPr>
          <p:grpSpPr>
            <a:xfrm>
              <a:off x="9009434" y="1193218"/>
              <a:ext cx="448212" cy="4640560"/>
              <a:chOff x="11310059" y="1049587"/>
              <a:chExt cx="457200" cy="4733613"/>
            </a:xfrm>
            <a:solidFill>
              <a:srgbClr val="BAD80A"/>
            </a:solidFill>
          </p:grpSpPr>
          <p:sp>
            <p:nvSpPr>
              <p:cNvPr id="10" name="Rectangle 9"/>
              <p:cNvSpPr/>
              <p:nvPr/>
            </p:nvSpPr>
            <p:spPr bwMode="auto">
              <a:xfrm>
                <a:off x="11310059"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sp>
          <p:nvSpPr>
            <p:cNvPr id="3" name="TextBox 2">
              <a:extLst>
                <a:ext uri="{FF2B5EF4-FFF2-40B4-BE49-F238E27FC236}">
                  <a16:creationId xmlns:a16="http://schemas.microsoft.com/office/drawing/2014/main" id="{ADEDDBB4-3AF9-4612-9164-E43A2C9987C2}"/>
                </a:ext>
              </a:extLst>
            </p:cNvPr>
            <p:cNvSpPr txBox="1"/>
            <p:nvPr/>
          </p:nvSpPr>
          <p:spPr>
            <a:xfrm>
              <a:off x="8829822" y="361748"/>
              <a:ext cx="802144" cy="690958"/>
            </a:xfrm>
            <a:prstGeom prst="rect">
              <a:avLst/>
            </a:prstGeom>
            <a:noFill/>
          </p:spPr>
          <p:txBody>
            <a:bodyPr wrap="none" lIns="186521" tIns="149217" rIns="186521" bIns="149217" rtlCol="0">
              <a:spAutoFit/>
            </a:bodyPr>
            <a:lstStyle/>
            <a:p>
              <a:pPr algn="ctr">
                <a:lnSpc>
                  <a:spcPct val="90000"/>
                </a:lnSpc>
                <a:spcAft>
                  <a:spcPts val="612"/>
                </a:spcAft>
              </a:pPr>
              <a:r>
                <a:rPr lang="en-US" sz="1428">
                  <a:solidFill>
                    <a:schemeClr val="bg1"/>
                  </a:solidFill>
                  <a:latin typeface="Segoe UI Semibold" panose="020B0702040204020203" pitchFamily="34" charset="0"/>
                  <a:cs typeface="Segoe UI Semibold" panose="020B0702040204020203" pitchFamily="34" charset="0"/>
                </a:rPr>
                <a:t>On</a:t>
              </a:r>
              <a:br>
                <a:rPr lang="en-US" sz="1428">
                  <a:solidFill>
                    <a:schemeClr val="bg1"/>
                  </a:solidFill>
                  <a:latin typeface="Segoe UI Semibold" panose="020B0702040204020203" pitchFamily="34" charset="0"/>
                  <a:cs typeface="Segoe UI Semibold" panose="020B0702040204020203" pitchFamily="34" charset="0"/>
                </a:rPr>
              </a:br>
              <a:r>
                <a:rPr lang="en-US" sz="1428" err="1">
                  <a:solidFill>
                    <a:schemeClr val="bg1"/>
                  </a:solidFill>
                  <a:latin typeface="Segoe UI Semibold" panose="020B0702040204020203" pitchFamily="34" charset="0"/>
                  <a:cs typeface="Segoe UI Semibold" panose="020B0702040204020203" pitchFamily="34" charset="0"/>
                </a:rPr>
                <a:t>Prem</a:t>
              </a:r>
              <a:endParaRPr lang="en-GB" sz="1428"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 name="Rectangle 59"/>
          <p:cNvSpPr/>
          <p:nvPr/>
        </p:nvSpPr>
        <p:spPr>
          <a:xfrm>
            <a:off x="889645" y="2674807"/>
            <a:ext cx="3489671" cy="302624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429">
              <a:defRPr/>
            </a:pPr>
            <a:r>
              <a:rPr lang="en-US" sz="1836" b="1" kern="0">
                <a:solidFill>
                  <a:schemeClr val="bg1">
                    <a:lumMod val="75000"/>
                  </a:schemeClr>
                </a:solidFill>
              </a:rPr>
              <a:t>Build on Infrastructure (IaaS)</a:t>
            </a:r>
          </a:p>
        </p:txBody>
      </p:sp>
      <p:sp>
        <p:nvSpPr>
          <p:cNvPr id="16" name="Rectangle 15"/>
          <p:cNvSpPr/>
          <p:nvPr/>
        </p:nvSpPr>
        <p:spPr>
          <a:xfrm>
            <a:off x="4490615" y="2660145"/>
            <a:ext cx="7037913" cy="302624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429">
              <a:defRPr/>
            </a:pPr>
            <a:r>
              <a:rPr lang="en-US" sz="1836" b="1" kern="0">
                <a:solidFill>
                  <a:schemeClr val="bg1">
                    <a:lumMod val="75000"/>
                  </a:schemeClr>
                </a:solidFill>
              </a:rPr>
              <a:t>Build on Dev framework (PaaS)</a:t>
            </a:r>
          </a:p>
        </p:txBody>
      </p:sp>
      <p:cxnSp>
        <p:nvCxnSpPr>
          <p:cNvPr id="30" name="Straight Connector 29"/>
          <p:cNvCxnSpPr/>
          <p:nvPr/>
        </p:nvCxnSpPr>
        <p:spPr>
          <a:xfrm>
            <a:off x="8433849" y="1774818"/>
            <a:ext cx="491966" cy="0"/>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89646" y="1125585"/>
            <a:ext cx="10638883" cy="100027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836" kern="0">
                <a:solidFill>
                  <a:schemeClr val="tx1"/>
                </a:solidFill>
              </a:rPr>
              <a:t>“App Creators”</a:t>
            </a:r>
          </a:p>
        </p:txBody>
      </p:sp>
      <p:sp>
        <p:nvSpPr>
          <p:cNvPr id="5" name="Rectangle 4"/>
          <p:cNvSpPr/>
          <p:nvPr/>
        </p:nvSpPr>
        <p:spPr>
          <a:xfrm>
            <a:off x="1059180" y="1548804"/>
            <a:ext cx="7687935" cy="440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836" kern="0">
                <a:solidFill>
                  <a:schemeClr val="bg1"/>
                </a:solidFill>
              </a:rPr>
              <a:t>Developers</a:t>
            </a:r>
          </a:p>
        </p:txBody>
      </p:sp>
      <p:sp>
        <p:nvSpPr>
          <p:cNvPr id="6" name="Rectangle 5"/>
          <p:cNvSpPr/>
          <p:nvPr/>
        </p:nvSpPr>
        <p:spPr>
          <a:xfrm>
            <a:off x="9189141" y="1548804"/>
            <a:ext cx="2181640" cy="440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r>
              <a:rPr lang="en-US" sz="1836" kern="0">
                <a:solidFill>
                  <a:schemeClr val="bg1"/>
                </a:solidFill>
              </a:rPr>
              <a:t>Non-</a:t>
            </a:r>
            <a:r>
              <a:rPr lang="en-US" sz="1836" kern="0" err="1">
                <a:solidFill>
                  <a:schemeClr val="bg1"/>
                </a:solidFill>
              </a:rPr>
              <a:t>Devs</a:t>
            </a:r>
            <a:endParaRPr lang="en-US" sz="1836" kern="0">
              <a:solidFill>
                <a:schemeClr val="bg1"/>
              </a:solidFill>
            </a:endParaRPr>
          </a:p>
        </p:txBody>
      </p:sp>
      <p:sp>
        <p:nvSpPr>
          <p:cNvPr id="7" name="Rectangle 6"/>
          <p:cNvSpPr/>
          <p:nvPr/>
        </p:nvSpPr>
        <p:spPr>
          <a:xfrm>
            <a:off x="889646" y="6241087"/>
            <a:ext cx="10638884" cy="684689"/>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2400" kern="0">
                <a:solidFill>
                  <a:schemeClr val="tx1"/>
                </a:solidFill>
              </a:rPr>
              <a:t>Microsoft Azure</a:t>
            </a:r>
          </a:p>
        </p:txBody>
      </p:sp>
      <p:sp>
        <p:nvSpPr>
          <p:cNvPr id="45" name="Rectangle 44"/>
          <p:cNvSpPr/>
          <p:nvPr/>
        </p:nvSpPr>
        <p:spPr>
          <a:xfrm>
            <a:off x="9189140" y="5772093"/>
            <a:ext cx="2339389"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LOB</a:t>
            </a:r>
          </a:p>
        </p:txBody>
      </p:sp>
      <p:sp>
        <p:nvSpPr>
          <p:cNvPr id="46" name="Rectangle 45"/>
          <p:cNvSpPr/>
          <p:nvPr/>
        </p:nvSpPr>
        <p:spPr>
          <a:xfrm>
            <a:off x="4490617" y="5769806"/>
            <a:ext cx="4546398" cy="40253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SaaS</a:t>
            </a:r>
          </a:p>
        </p:txBody>
      </p:sp>
      <p:sp>
        <p:nvSpPr>
          <p:cNvPr id="47" name="Rectangle 46"/>
          <p:cNvSpPr/>
          <p:nvPr/>
        </p:nvSpPr>
        <p:spPr>
          <a:xfrm>
            <a:off x="889646" y="5772093"/>
            <a:ext cx="2228962"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Lift &amp; Shift</a:t>
            </a:r>
          </a:p>
        </p:txBody>
      </p:sp>
      <p:sp>
        <p:nvSpPr>
          <p:cNvPr id="48" name="Rectangle 47"/>
          <p:cNvSpPr/>
          <p:nvPr/>
        </p:nvSpPr>
        <p:spPr>
          <a:xfrm>
            <a:off x="3211462" y="5772093"/>
            <a:ext cx="1167856"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Containers</a:t>
            </a:r>
          </a:p>
        </p:txBody>
      </p:sp>
      <p:sp>
        <p:nvSpPr>
          <p:cNvPr id="13" name="Down Arrow 12"/>
          <p:cNvSpPr/>
          <p:nvPr/>
        </p:nvSpPr>
        <p:spPr>
          <a:xfrm>
            <a:off x="1913253" y="2048818"/>
            <a:ext cx="1445261" cy="699672"/>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grpSp>
        <p:nvGrpSpPr>
          <p:cNvPr id="50" name="Group 49"/>
          <p:cNvGrpSpPr/>
          <p:nvPr/>
        </p:nvGrpSpPr>
        <p:grpSpPr>
          <a:xfrm>
            <a:off x="982890" y="3588099"/>
            <a:ext cx="1085042" cy="1682924"/>
            <a:chOff x="1205346" y="4039982"/>
            <a:chExt cx="1064029" cy="1679170"/>
          </a:xfrm>
          <a:solidFill>
            <a:srgbClr val="002050"/>
          </a:solidFill>
        </p:grpSpPr>
        <p:sp>
          <p:nvSpPr>
            <p:cNvPr id="9" name="Rectangle 8"/>
            <p:cNvSpPr/>
            <p:nvPr/>
          </p:nvSpPr>
          <p:spPr>
            <a:xfrm>
              <a:off x="1205346" y="4039982"/>
              <a:ext cx="1064029" cy="1679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Virtual Machines</a:t>
              </a:r>
            </a:p>
          </p:txBody>
        </p:sp>
        <p:sp>
          <p:nvSpPr>
            <p:cNvPr id="21" name="Rectangle 20"/>
            <p:cNvSpPr/>
            <p:nvPr/>
          </p:nvSpPr>
          <p:spPr>
            <a:xfrm>
              <a:off x="1280160" y="4650167"/>
              <a:ext cx="914400" cy="985862"/>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122" kern="0" err="1">
                  <a:solidFill>
                    <a:schemeClr val="tx1"/>
                  </a:solidFill>
                  <a:latin typeface="+mj-lt"/>
                </a:rPr>
                <a:t>Stateful</a:t>
              </a:r>
              <a:r>
                <a:rPr lang="en-US" sz="1122" kern="0">
                  <a:solidFill>
                    <a:schemeClr val="tx1"/>
                  </a:solidFill>
                  <a:latin typeface="+mj-lt"/>
                </a:rPr>
                <a:t> and stateless one-off solutions</a:t>
              </a:r>
            </a:p>
          </p:txBody>
        </p:sp>
      </p:grpSp>
      <p:grpSp>
        <p:nvGrpSpPr>
          <p:cNvPr id="51" name="Group 50"/>
          <p:cNvGrpSpPr/>
          <p:nvPr/>
        </p:nvGrpSpPr>
        <p:grpSpPr>
          <a:xfrm>
            <a:off x="2133926" y="3588098"/>
            <a:ext cx="1017226" cy="1682923"/>
            <a:chOff x="2334092" y="4039982"/>
            <a:chExt cx="997526" cy="1679169"/>
          </a:xfrm>
          <a:solidFill>
            <a:srgbClr val="002050"/>
          </a:solidFill>
        </p:grpSpPr>
        <p:sp>
          <p:nvSpPr>
            <p:cNvPr id="10" name="Rectangle 9"/>
            <p:cNvSpPr/>
            <p:nvPr/>
          </p:nvSpPr>
          <p:spPr>
            <a:xfrm>
              <a:off x="2334092" y="4039982"/>
              <a:ext cx="997526" cy="16791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VM </a:t>
              </a:r>
              <a:r>
                <a:rPr lang="en-US" sz="1632" b="1" kern="0" err="1">
                  <a:solidFill>
                    <a:schemeClr val="tx1"/>
                  </a:solidFill>
                </a:rPr>
                <a:t>ScaleSets</a:t>
              </a:r>
              <a:endParaRPr lang="en-US" sz="1632" b="1" kern="0">
                <a:solidFill>
                  <a:schemeClr val="tx1"/>
                </a:solidFill>
              </a:endParaRPr>
            </a:p>
          </p:txBody>
        </p:sp>
        <p:sp>
          <p:nvSpPr>
            <p:cNvPr id="22" name="Rectangle 21"/>
            <p:cNvSpPr/>
            <p:nvPr/>
          </p:nvSpPr>
          <p:spPr>
            <a:xfrm>
              <a:off x="2371494" y="4650167"/>
              <a:ext cx="91440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defRPr/>
              </a:pPr>
              <a:r>
                <a:rPr lang="en-US" sz="1224" kern="0">
                  <a:solidFill>
                    <a:schemeClr val="tx1"/>
                  </a:solidFill>
                  <a:latin typeface="+mj-lt"/>
                </a:rPr>
                <a:t>Scalable stateless solutions</a:t>
              </a:r>
            </a:p>
          </p:txBody>
        </p:sp>
      </p:grpSp>
      <p:grpSp>
        <p:nvGrpSpPr>
          <p:cNvPr id="52" name="Group 51"/>
          <p:cNvGrpSpPr/>
          <p:nvPr/>
        </p:nvGrpSpPr>
        <p:grpSpPr>
          <a:xfrm>
            <a:off x="3211460" y="3588099"/>
            <a:ext cx="1083068" cy="1682922"/>
            <a:chOff x="3390759" y="4039982"/>
            <a:chExt cx="1062094" cy="1679168"/>
          </a:xfrm>
          <a:solidFill>
            <a:srgbClr val="002050"/>
          </a:solidFill>
        </p:grpSpPr>
        <p:sp>
          <p:nvSpPr>
            <p:cNvPr id="11" name="Rectangle 10"/>
            <p:cNvSpPr/>
            <p:nvPr/>
          </p:nvSpPr>
          <p:spPr>
            <a:xfrm>
              <a:off x="3390759" y="4039982"/>
              <a:ext cx="1062094"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Container Service</a:t>
              </a:r>
            </a:p>
          </p:txBody>
        </p:sp>
        <p:sp>
          <p:nvSpPr>
            <p:cNvPr id="23" name="Rectangle 22"/>
            <p:cNvSpPr/>
            <p:nvPr/>
          </p:nvSpPr>
          <p:spPr>
            <a:xfrm>
              <a:off x="3427529" y="4650167"/>
              <a:ext cx="983761"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122" kern="0">
                  <a:solidFill>
                    <a:schemeClr val="tx1"/>
                  </a:solidFill>
                  <a:latin typeface="+mj-lt"/>
                </a:rPr>
                <a:t>Scalable &amp; orchestrated Docker containers</a:t>
              </a:r>
            </a:p>
          </p:txBody>
        </p:sp>
      </p:grpSp>
      <p:sp>
        <p:nvSpPr>
          <p:cNvPr id="44" name="Left-Right Arrow 43"/>
          <p:cNvSpPr/>
          <p:nvPr/>
        </p:nvSpPr>
        <p:spPr>
          <a:xfrm>
            <a:off x="4663304" y="2740643"/>
            <a:ext cx="6659386" cy="830193"/>
          </a:xfrm>
          <a:prstGeom prst="leftRightArrow">
            <a:avLst>
              <a:gd name="adj1" fmla="val 58317"/>
              <a:gd name="adj2" fmla="val 52793"/>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2448" kern="0">
                <a:solidFill>
                  <a:schemeClr val="tx1"/>
                </a:solidFill>
              </a:rPr>
              <a:t>Differentiation               	Time to value</a:t>
            </a:r>
          </a:p>
        </p:txBody>
      </p:sp>
      <p:sp>
        <p:nvSpPr>
          <p:cNvPr id="64" name="Rectangle 63"/>
          <p:cNvSpPr/>
          <p:nvPr/>
        </p:nvSpPr>
        <p:spPr>
          <a:xfrm>
            <a:off x="1022325" y="2897935"/>
            <a:ext cx="3266789" cy="54003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tx1"/>
                </a:solidFill>
              </a:rPr>
              <a:t>Existing App Investments</a:t>
            </a:r>
          </a:p>
        </p:txBody>
      </p:sp>
      <p:grpSp>
        <p:nvGrpSpPr>
          <p:cNvPr id="53" name="Group 52"/>
          <p:cNvGrpSpPr/>
          <p:nvPr/>
        </p:nvGrpSpPr>
        <p:grpSpPr>
          <a:xfrm>
            <a:off x="4677376" y="3588099"/>
            <a:ext cx="1101500" cy="1661511"/>
            <a:chOff x="4645143" y="4039980"/>
            <a:chExt cx="1142288" cy="1679168"/>
          </a:xfrm>
          <a:solidFill>
            <a:srgbClr val="002050"/>
          </a:solidFill>
        </p:grpSpPr>
        <p:sp>
          <p:nvSpPr>
            <p:cNvPr id="20" name="Rectangle 19"/>
            <p:cNvSpPr/>
            <p:nvPr/>
          </p:nvSpPr>
          <p:spPr>
            <a:xfrm>
              <a:off x="4645143" y="4039980"/>
              <a:ext cx="1142288"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Batch</a:t>
              </a:r>
            </a:p>
          </p:txBody>
        </p:sp>
        <p:sp>
          <p:nvSpPr>
            <p:cNvPr id="24" name="Rectangle 23"/>
            <p:cNvSpPr/>
            <p:nvPr/>
          </p:nvSpPr>
          <p:spPr>
            <a:xfrm>
              <a:off x="4709565" y="4650166"/>
              <a:ext cx="103102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224" kern="0">
                  <a:solidFill>
                    <a:schemeClr val="tx1"/>
                  </a:solidFill>
                  <a:latin typeface="+mj-lt"/>
                </a:rPr>
                <a:t>Large scale HPC and grid solutions</a:t>
              </a:r>
            </a:p>
          </p:txBody>
        </p:sp>
      </p:grpSp>
      <p:grpSp>
        <p:nvGrpSpPr>
          <p:cNvPr id="59" name="Group 58"/>
          <p:cNvGrpSpPr/>
          <p:nvPr/>
        </p:nvGrpSpPr>
        <p:grpSpPr>
          <a:xfrm>
            <a:off x="5864342" y="3588099"/>
            <a:ext cx="1101500" cy="1661511"/>
            <a:chOff x="5931804" y="4039980"/>
            <a:chExt cx="1253926" cy="1679168"/>
          </a:xfrm>
          <a:solidFill>
            <a:srgbClr val="002050"/>
          </a:solidFill>
        </p:grpSpPr>
        <p:sp>
          <p:nvSpPr>
            <p:cNvPr id="18" name="Rectangle 17"/>
            <p:cNvSpPr/>
            <p:nvPr/>
          </p:nvSpPr>
          <p:spPr>
            <a:xfrm>
              <a:off x="5931804" y="4039980"/>
              <a:ext cx="1253926"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Service Fabric</a:t>
              </a:r>
            </a:p>
          </p:txBody>
        </p:sp>
        <p:sp>
          <p:nvSpPr>
            <p:cNvPr id="26" name="Rectangle 25"/>
            <p:cNvSpPr/>
            <p:nvPr/>
          </p:nvSpPr>
          <p:spPr>
            <a:xfrm>
              <a:off x="6017775" y="4650166"/>
              <a:ext cx="1114754"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071" kern="0">
                  <a:solidFill>
                    <a:schemeClr val="tx1"/>
                  </a:solidFill>
                  <a:latin typeface="+mj-lt"/>
                </a:rPr>
                <a:t>Custom Microservice-based stateless and </a:t>
              </a:r>
              <a:r>
                <a:rPr lang="en-US" sz="1071" kern="0" err="1">
                  <a:solidFill>
                    <a:schemeClr val="tx1"/>
                  </a:solidFill>
                  <a:latin typeface="+mj-lt"/>
                </a:rPr>
                <a:t>stateful</a:t>
              </a:r>
              <a:r>
                <a:rPr lang="en-US" sz="1071" kern="0">
                  <a:solidFill>
                    <a:schemeClr val="tx1"/>
                  </a:solidFill>
                  <a:latin typeface="+mj-lt"/>
                </a:rPr>
                <a:t> solutions</a:t>
              </a:r>
            </a:p>
          </p:txBody>
        </p:sp>
      </p:grpSp>
      <p:grpSp>
        <p:nvGrpSpPr>
          <p:cNvPr id="62" name="Group 61"/>
          <p:cNvGrpSpPr/>
          <p:nvPr/>
        </p:nvGrpSpPr>
        <p:grpSpPr>
          <a:xfrm>
            <a:off x="10377638" y="3579875"/>
            <a:ext cx="945053" cy="1669739"/>
            <a:chOff x="10235015" y="4031668"/>
            <a:chExt cx="926751" cy="1687484"/>
          </a:xfrm>
          <a:solidFill>
            <a:srgbClr val="002050"/>
          </a:solidFill>
        </p:grpSpPr>
        <p:sp>
          <p:nvSpPr>
            <p:cNvPr id="14" name="Rectangle 13"/>
            <p:cNvSpPr/>
            <p:nvPr/>
          </p:nvSpPr>
          <p:spPr>
            <a:xfrm>
              <a:off x="10235015" y="4031668"/>
              <a:ext cx="926751" cy="16874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Power Apps</a:t>
              </a:r>
            </a:p>
          </p:txBody>
        </p:sp>
        <p:sp>
          <p:nvSpPr>
            <p:cNvPr id="29" name="Rectangle 28"/>
            <p:cNvSpPr/>
            <p:nvPr/>
          </p:nvSpPr>
          <p:spPr>
            <a:xfrm>
              <a:off x="10291157" y="4634344"/>
              <a:ext cx="82845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122" kern="0">
                  <a:solidFill>
                    <a:schemeClr val="tx1"/>
                  </a:solidFill>
                  <a:latin typeface="+mj-lt"/>
                </a:rPr>
                <a:t>Graphically design mobile solutions</a:t>
              </a:r>
            </a:p>
          </p:txBody>
        </p:sp>
      </p:grpSp>
      <p:grpSp>
        <p:nvGrpSpPr>
          <p:cNvPr id="75" name="Group 74"/>
          <p:cNvGrpSpPr/>
          <p:nvPr/>
        </p:nvGrpSpPr>
        <p:grpSpPr>
          <a:xfrm>
            <a:off x="7077141" y="3579877"/>
            <a:ext cx="3156066" cy="1669736"/>
            <a:chOff x="7343049" y="3629790"/>
            <a:chExt cx="2742017" cy="1687481"/>
          </a:xfrm>
          <a:solidFill>
            <a:srgbClr val="002050"/>
          </a:solidFill>
        </p:grpSpPr>
        <p:sp>
          <p:nvSpPr>
            <p:cNvPr id="17" name="Rectangle 16"/>
            <p:cNvSpPr/>
            <p:nvPr/>
          </p:nvSpPr>
          <p:spPr>
            <a:xfrm>
              <a:off x="7343049" y="3629790"/>
              <a:ext cx="2742017" cy="16874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endParaRPr lang="en-US" sz="918" kern="0">
                <a:solidFill>
                  <a:schemeClr val="tx1"/>
                </a:solidFill>
              </a:endParaRPr>
            </a:p>
          </p:txBody>
        </p:sp>
        <p:sp>
          <p:nvSpPr>
            <p:cNvPr id="27" name="Rectangle 26"/>
            <p:cNvSpPr/>
            <p:nvPr/>
          </p:nvSpPr>
          <p:spPr>
            <a:xfrm>
              <a:off x="7393827" y="4325000"/>
              <a:ext cx="946806"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020" kern="0">
                  <a:solidFill>
                    <a:schemeClr val="tx1"/>
                  </a:solidFill>
                  <a:latin typeface="+mj-lt"/>
                </a:rPr>
                <a:t>Rapid development of web, mobile &amp; </a:t>
              </a:r>
              <a:br>
                <a:rPr lang="en-US" sz="1020" kern="0">
                  <a:solidFill>
                    <a:schemeClr val="tx1"/>
                  </a:solidFill>
                  <a:latin typeface="+mj-lt"/>
                </a:rPr>
              </a:br>
              <a:r>
                <a:rPr lang="en-US" sz="1020" kern="0">
                  <a:solidFill>
                    <a:schemeClr val="tx1"/>
                  </a:solidFill>
                  <a:latin typeface="+mj-lt"/>
                </a:rPr>
                <a:t>API solutions</a:t>
              </a:r>
            </a:p>
          </p:txBody>
        </p:sp>
        <p:sp>
          <p:nvSpPr>
            <p:cNvPr id="28" name="Rectangle 27"/>
            <p:cNvSpPr/>
            <p:nvPr/>
          </p:nvSpPr>
          <p:spPr>
            <a:xfrm>
              <a:off x="9292247" y="4338948"/>
              <a:ext cx="740499"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r>
                <a:rPr lang="en-US" sz="1020" kern="0">
                  <a:solidFill>
                    <a:schemeClr val="tx1"/>
                  </a:solidFill>
                  <a:latin typeface="+mj-lt"/>
                </a:rPr>
                <a:t>Orchestrated workflow based integration solutions</a:t>
              </a:r>
            </a:p>
          </p:txBody>
        </p:sp>
        <p:sp>
          <p:nvSpPr>
            <p:cNvPr id="12" name="Rectangle 11"/>
            <p:cNvSpPr/>
            <p:nvPr/>
          </p:nvSpPr>
          <p:spPr>
            <a:xfrm>
              <a:off x="9401813" y="3727290"/>
              <a:ext cx="569877" cy="548163"/>
            </a:xfrm>
            <a:prstGeom prst="rect">
              <a:avLst/>
            </a:prstGeom>
            <a:grpFill/>
          </p:spPr>
          <p:txBody>
            <a:bodyPr wrap="none">
              <a:spAutoFit/>
            </a:bodyPr>
            <a:lstStyle/>
            <a:p>
              <a:pPr algn="ctr" defTabSz="932429">
                <a:defRPr/>
              </a:pPr>
              <a:r>
                <a:rPr lang="en-US" sz="1428" b="1" kern="0"/>
                <a:t>Logic</a:t>
              </a:r>
            </a:p>
            <a:p>
              <a:pPr algn="ctr" defTabSz="932429">
                <a:defRPr/>
              </a:pPr>
              <a:r>
                <a:rPr lang="en-US" sz="1428" b="1" kern="0"/>
                <a:t>Apps</a:t>
              </a:r>
              <a:endParaRPr lang="en-US" sz="2040" b="1" kern="0"/>
            </a:p>
          </p:txBody>
        </p:sp>
        <p:sp>
          <p:nvSpPr>
            <p:cNvPr id="68" name="Rectangle 67"/>
            <p:cNvSpPr/>
            <p:nvPr/>
          </p:nvSpPr>
          <p:spPr>
            <a:xfrm>
              <a:off x="7350055" y="3727290"/>
              <a:ext cx="1113702" cy="537464"/>
            </a:xfrm>
            <a:prstGeom prst="rect">
              <a:avLst/>
            </a:prstGeom>
            <a:grpFill/>
          </p:spPr>
          <p:txBody>
            <a:bodyPr wrap="square">
              <a:spAutoFit/>
            </a:bodyPr>
            <a:lstStyle/>
            <a:p>
              <a:pPr algn="ctr" defTabSz="932429">
                <a:defRPr/>
              </a:pPr>
              <a:r>
                <a:rPr lang="en-US" sz="1428" b="1" kern="0"/>
                <a:t>Web, Mobile &amp; API Apps</a:t>
              </a:r>
              <a:endParaRPr lang="en-US" sz="2040" b="1" kern="0"/>
            </a:p>
          </p:txBody>
        </p:sp>
        <p:sp>
          <p:nvSpPr>
            <p:cNvPr id="61" name="Rectangle 60"/>
            <p:cNvSpPr/>
            <p:nvPr/>
          </p:nvSpPr>
          <p:spPr>
            <a:xfrm>
              <a:off x="8423749" y="4336953"/>
              <a:ext cx="809980"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r>
                <a:rPr lang="en-US" sz="1020" kern="0" err="1">
                  <a:solidFill>
                    <a:schemeClr val="tx1"/>
                  </a:solidFill>
                  <a:latin typeface="+mj-lt"/>
                </a:rPr>
                <a:t>Serverless</a:t>
              </a:r>
              <a:r>
                <a:rPr lang="en-US" sz="1020" kern="0">
                  <a:solidFill>
                    <a:schemeClr val="tx1"/>
                  </a:solidFill>
                  <a:latin typeface="+mj-lt"/>
                </a:rPr>
                <a:t> event driven code. Nano scale services</a:t>
              </a:r>
            </a:p>
          </p:txBody>
        </p:sp>
        <p:sp>
          <p:nvSpPr>
            <p:cNvPr id="63" name="Rectangle 62"/>
            <p:cNvSpPr/>
            <p:nvPr/>
          </p:nvSpPr>
          <p:spPr>
            <a:xfrm>
              <a:off x="8408923" y="3727290"/>
              <a:ext cx="897995" cy="321668"/>
            </a:xfrm>
            <a:prstGeom prst="rect">
              <a:avLst/>
            </a:prstGeom>
            <a:grpFill/>
          </p:spPr>
          <p:txBody>
            <a:bodyPr wrap="none">
              <a:spAutoFit/>
            </a:bodyPr>
            <a:lstStyle/>
            <a:p>
              <a:pPr algn="ctr" defTabSz="932429">
                <a:defRPr/>
              </a:pPr>
              <a:r>
                <a:rPr lang="en-US" sz="1428" b="1" kern="0"/>
                <a:t>Functions</a:t>
              </a:r>
              <a:endParaRPr lang="en-US" sz="1299" b="1" kern="0"/>
            </a:p>
          </p:txBody>
        </p:sp>
      </p:grpSp>
      <p:sp>
        <p:nvSpPr>
          <p:cNvPr id="71" name="Down Arrow 70"/>
          <p:cNvSpPr/>
          <p:nvPr/>
        </p:nvSpPr>
        <p:spPr>
          <a:xfrm>
            <a:off x="6203591" y="2048818"/>
            <a:ext cx="1445261" cy="674562"/>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sp>
        <p:nvSpPr>
          <p:cNvPr id="72" name="Down Arrow 71"/>
          <p:cNvSpPr/>
          <p:nvPr/>
        </p:nvSpPr>
        <p:spPr>
          <a:xfrm>
            <a:off x="9657300" y="2048819"/>
            <a:ext cx="1445261" cy="674208"/>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sp>
        <p:nvSpPr>
          <p:cNvPr id="15" name="Title 14"/>
          <p:cNvSpPr>
            <a:spLocks noGrp="1"/>
          </p:cNvSpPr>
          <p:nvPr>
            <p:ph type="title"/>
          </p:nvPr>
        </p:nvSpPr>
        <p:spPr>
          <a:xfrm>
            <a:off x="275481" y="225677"/>
            <a:ext cx="11887878" cy="917575"/>
          </a:xfrm>
        </p:spPr>
        <p:txBody>
          <a:bodyPr/>
          <a:lstStyle/>
          <a:p>
            <a:r>
              <a:rPr lang="en-GB"/>
              <a:t>Azure IaaS &amp; PaaS Spectrum</a:t>
            </a:r>
          </a:p>
        </p:txBody>
      </p:sp>
      <p:cxnSp>
        <p:nvCxnSpPr>
          <p:cNvPr id="3" name="Straight Connector 2"/>
          <p:cNvCxnSpPr/>
          <p:nvPr/>
        </p:nvCxnSpPr>
        <p:spPr>
          <a:xfrm flipH="1">
            <a:off x="9286868" y="3588098"/>
            <a:ext cx="9275" cy="1661512"/>
          </a:xfrm>
          <a:prstGeom prst="line">
            <a:avLst/>
          </a:prstGeom>
          <a:ln>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8321028" y="3588098"/>
            <a:ext cx="0" cy="1661512"/>
          </a:xfrm>
          <a:prstGeom prst="line">
            <a:avLst/>
          </a:prstGeom>
          <a:ln>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009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 Service – Azure PaaS </a:t>
            </a:r>
          </a:p>
        </p:txBody>
      </p:sp>
      <p:grpSp>
        <p:nvGrpSpPr>
          <p:cNvPr id="41" name="Group 40"/>
          <p:cNvGrpSpPr/>
          <p:nvPr/>
        </p:nvGrpSpPr>
        <p:grpSpPr>
          <a:xfrm>
            <a:off x="4615317" y="3363680"/>
            <a:ext cx="462642" cy="272457"/>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884238" y="1825992"/>
            <a:ext cx="3343054" cy="3327828"/>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3" name="Group 32"/>
          <p:cNvGrpSpPr/>
          <p:nvPr/>
        </p:nvGrpSpPr>
        <p:grpSpPr>
          <a:xfrm>
            <a:off x="9145690" y="3643020"/>
            <a:ext cx="2635145" cy="1689599"/>
            <a:chOff x="8728103" y="4231511"/>
            <a:chExt cx="2635145" cy="1689599"/>
          </a:xfrm>
        </p:grpSpPr>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9" name="TextBox 48"/>
            <p:cNvSpPr txBox="1"/>
            <p:nvPr/>
          </p:nvSpPr>
          <p:spPr>
            <a:xfrm>
              <a:off x="8728103" y="5010007"/>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API Apps</a:t>
              </a:r>
            </a:p>
          </p:txBody>
        </p:sp>
        <p:sp>
          <p:nvSpPr>
            <p:cNvPr id="54" name="TextBox 53"/>
            <p:cNvSpPr txBox="1"/>
            <p:nvPr/>
          </p:nvSpPr>
          <p:spPr>
            <a:xfrm>
              <a:off x="8728103" y="544405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Easily build and consume APIs in the cloud</a:t>
              </a:r>
            </a:p>
          </p:txBody>
        </p:sp>
      </p:grpSp>
      <p:grpSp>
        <p:nvGrpSpPr>
          <p:cNvPr id="55" name="Group 54"/>
          <p:cNvGrpSpPr/>
          <p:nvPr/>
        </p:nvGrpSpPr>
        <p:grpSpPr>
          <a:xfrm>
            <a:off x="5466918" y="1487693"/>
            <a:ext cx="3380957" cy="1713152"/>
            <a:chOff x="5434663" y="1339128"/>
            <a:chExt cx="3380957" cy="1713152"/>
          </a:xfrm>
        </p:grpSpPr>
        <p:sp>
          <p:nvSpPr>
            <p:cNvPr id="56" name="TextBox 55"/>
            <p:cNvSpPr txBox="1"/>
            <p:nvPr/>
          </p:nvSpPr>
          <p:spPr>
            <a:xfrm>
              <a:off x="5648241" y="2147024"/>
              <a:ext cx="2929173"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Web Apps</a:t>
              </a:r>
            </a:p>
          </p:txBody>
        </p:sp>
        <p:sp>
          <p:nvSpPr>
            <p:cNvPr id="57" name="TextBox 56"/>
            <p:cNvSpPr txBox="1"/>
            <p:nvPr/>
          </p:nvSpPr>
          <p:spPr>
            <a:xfrm>
              <a:off x="5434663" y="2575226"/>
              <a:ext cx="3380957" cy="477054"/>
            </a:xfrm>
            <a:prstGeom prst="rect">
              <a:avLst/>
            </a:prstGeom>
            <a:noFill/>
          </p:spPr>
          <p:txBody>
            <a:bodyPr wrap="square" lIns="186494" rIns="186494" rtlCol="0">
              <a:spAutoFit/>
            </a:bodyPr>
            <a:lstStyle/>
            <a:p>
              <a:pPr algn="ctr">
                <a:lnSpc>
                  <a:spcPts val="1530"/>
                </a:lnSpc>
                <a:defRPr/>
              </a:pPr>
              <a:r>
                <a:rPr lang="en-US" sz="1600" kern="0" dirty="0">
                  <a:latin typeface="Segoe UI Light"/>
                </a:rPr>
                <a:t>Web apps that scale </a:t>
              </a:r>
              <a:br>
                <a:rPr lang="en-US" sz="1600" kern="0" dirty="0">
                  <a:latin typeface="Segoe UI Light"/>
                </a:rPr>
              </a:br>
              <a:r>
                <a:rPr lang="en-US" sz="1600" kern="0" dirty="0">
                  <a:latin typeface="Segoe UI Light"/>
                </a:rPr>
                <a:t>with your business</a:t>
              </a:r>
            </a:p>
          </p:txBody>
        </p:sp>
        <p:pic>
          <p:nvPicPr>
            <p:cNvPr id="58" name="Picture 57"/>
            <p:cNvPicPr>
              <a:picLocks noChangeAspect="1"/>
            </p:cNvPicPr>
            <p:nvPr/>
          </p:nvPicPr>
          <p:blipFill>
            <a:blip r:embed="rId4"/>
            <a:stretch>
              <a:fillRect/>
            </a:stretch>
          </p:blipFill>
          <p:spPr>
            <a:xfrm>
              <a:off x="6781285" y="1339128"/>
              <a:ext cx="724282" cy="707395"/>
            </a:xfrm>
            <a:prstGeom prst="rect">
              <a:avLst/>
            </a:prstGeom>
          </p:spPr>
        </p:pic>
      </p:grpSp>
      <p:grpSp>
        <p:nvGrpSpPr>
          <p:cNvPr id="59" name="Group 58"/>
          <p:cNvGrpSpPr/>
          <p:nvPr/>
        </p:nvGrpSpPr>
        <p:grpSpPr>
          <a:xfrm>
            <a:off x="9145691" y="1439862"/>
            <a:ext cx="2635146" cy="1760983"/>
            <a:chOff x="8642021" y="1291297"/>
            <a:chExt cx="2635146" cy="1760983"/>
          </a:xfrm>
        </p:grpSpPr>
        <p:sp>
          <p:nvSpPr>
            <p:cNvPr id="60" name="TextBox 59"/>
            <p:cNvSpPr txBox="1"/>
            <p:nvPr/>
          </p:nvSpPr>
          <p:spPr>
            <a:xfrm>
              <a:off x="8642022" y="21470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Mobile Apps</a:t>
              </a:r>
            </a:p>
          </p:txBody>
        </p:sp>
        <p:sp>
          <p:nvSpPr>
            <p:cNvPr id="61" name="TextBox 60"/>
            <p:cNvSpPr txBox="1"/>
            <p:nvPr/>
          </p:nvSpPr>
          <p:spPr>
            <a:xfrm>
              <a:off x="8642021" y="257522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Build Mobile apps </a:t>
              </a:r>
              <a:br>
                <a:rPr lang="en-US" sz="1600" dirty="0">
                  <a:solidFill>
                    <a:schemeClr val="tx1"/>
                  </a:solidFill>
                </a:rPr>
              </a:br>
              <a:r>
                <a:rPr lang="en-US" sz="1600" dirty="0">
                  <a:solidFill>
                    <a:schemeClr val="tx1"/>
                  </a:solidFill>
                </a:rPr>
                <a:t>for any device</a:t>
              </a:r>
            </a:p>
          </p:txBody>
        </p:sp>
        <p:pic>
          <p:nvPicPr>
            <p:cNvPr id="62" name="Picture 61"/>
            <p:cNvPicPr>
              <a:picLocks noChangeAspect="1"/>
            </p:cNvPicPr>
            <p:nvPr/>
          </p:nvPicPr>
          <p:blipFill>
            <a:blip r:embed="rId5"/>
            <a:stretch>
              <a:fillRect/>
            </a:stretch>
          </p:blipFill>
          <p:spPr>
            <a:xfrm>
              <a:off x="9633371" y="1291297"/>
              <a:ext cx="556237" cy="798699"/>
            </a:xfrm>
            <a:prstGeom prst="rect">
              <a:avLst/>
            </a:prstGeom>
          </p:spPr>
        </p:pic>
      </p:grpSp>
      <p:cxnSp>
        <p:nvCxnSpPr>
          <p:cNvPr id="63" name="Straight Connector 62"/>
          <p:cNvCxnSpPr/>
          <p:nvPr/>
        </p:nvCxnSpPr>
        <p:spPr>
          <a:xfrm>
            <a:off x="8904293" y="1484912"/>
            <a:ext cx="0" cy="4132056"/>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146229" y="3385899"/>
            <a:ext cx="5516128" cy="0"/>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7652023" y="5810984"/>
            <a:ext cx="2910199" cy="901606"/>
            <a:chOff x="5731151" y="2575724"/>
            <a:chExt cx="2910199" cy="901606"/>
          </a:xfrm>
        </p:grpSpPr>
        <p:sp>
          <p:nvSpPr>
            <p:cNvPr id="67" name="TextBox 66"/>
            <p:cNvSpPr txBox="1"/>
            <p:nvPr/>
          </p:nvSpPr>
          <p:spPr>
            <a:xfrm>
              <a:off x="5827509" y="25757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Logic Apps</a:t>
              </a:r>
            </a:p>
          </p:txBody>
        </p:sp>
        <p:sp>
          <p:nvSpPr>
            <p:cNvPr id="68" name="TextBox 67"/>
            <p:cNvSpPr txBox="1"/>
            <p:nvPr/>
          </p:nvSpPr>
          <p:spPr>
            <a:xfrm>
              <a:off x="5731151" y="3000276"/>
              <a:ext cx="291019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Automate business process across SaaS and on-premises </a:t>
              </a:r>
            </a:p>
          </p:txBody>
        </p:sp>
      </p:grpSp>
      <p:pic>
        <p:nvPicPr>
          <p:cNvPr id="6" name="Picture 5"/>
          <p:cNvPicPr>
            <a:picLocks noChangeAspect="1"/>
          </p:cNvPicPr>
          <p:nvPr/>
        </p:nvPicPr>
        <p:blipFill>
          <a:blip r:embed="rId6"/>
          <a:stretch>
            <a:fillRect/>
          </a:stretch>
        </p:blipFill>
        <p:spPr>
          <a:xfrm>
            <a:off x="6813540" y="3636137"/>
            <a:ext cx="843033" cy="843033"/>
          </a:xfrm>
          <a:prstGeom prst="rect">
            <a:avLst/>
          </a:prstGeom>
        </p:spPr>
      </p:pic>
      <p:sp>
        <p:nvSpPr>
          <p:cNvPr id="52" name="TextBox 51"/>
          <p:cNvSpPr txBox="1"/>
          <p:nvPr/>
        </p:nvSpPr>
        <p:spPr>
          <a:xfrm>
            <a:off x="6474817" y="4396763"/>
            <a:ext cx="1562700"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Functions</a:t>
            </a:r>
          </a:p>
        </p:txBody>
      </p:sp>
      <p:sp>
        <p:nvSpPr>
          <p:cNvPr id="53" name="TextBox 52"/>
          <p:cNvSpPr txBox="1"/>
          <p:nvPr/>
        </p:nvSpPr>
        <p:spPr>
          <a:xfrm>
            <a:off x="5939966" y="4826705"/>
            <a:ext cx="260505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Create </a:t>
            </a:r>
            <a:r>
              <a:rPr lang="en-US" sz="1600" dirty="0" err="1">
                <a:solidFill>
                  <a:schemeClr val="tx1"/>
                </a:solidFill>
              </a:rPr>
              <a:t>serverless</a:t>
            </a:r>
            <a:r>
              <a:rPr lang="en-US" sz="1600" dirty="0">
                <a:solidFill>
                  <a:schemeClr val="tx1"/>
                </a:solidFill>
              </a:rPr>
              <a:t> apps without infrastructure</a:t>
            </a:r>
          </a:p>
        </p:txBody>
      </p:sp>
      <p:pic>
        <p:nvPicPr>
          <p:cNvPr id="36" name="Graphic 35">
            <a:extLst>
              <a:ext uri="{FF2B5EF4-FFF2-40B4-BE49-F238E27FC236}">
                <a16:creationId xmlns:a16="http://schemas.microsoft.com/office/drawing/2014/main" id="{B4506F05-CBC3-45C3-A216-6FB835FEF0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14488" y="5958850"/>
            <a:ext cx="785714" cy="785714"/>
          </a:xfrm>
          <a:prstGeom prst="rect">
            <a:avLst/>
          </a:prstGeom>
        </p:spPr>
      </p:pic>
    </p:spTree>
    <p:extLst>
      <p:ext uri="{BB962C8B-B14F-4D97-AF65-F5344CB8AC3E}">
        <p14:creationId xmlns:p14="http://schemas.microsoft.com/office/powerpoint/2010/main" val="5015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8576" y="295730"/>
            <a:ext cx="10962419" cy="917444"/>
          </a:xfrm>
        </p:spPr>
        <p:txBody>
          <a:bodyPr/>
          <a:lstStyle/>
          <a:p>
            <a:r>
              <a:rPr lang="en-US"/>
              <a:t>Azure App Service</a:t>
            </a:r>
          </a:p>
        </p:txBody>
      </p:sp>
      <p:grpSp>
        <p:nvGrpSpPr>
          <p:cNvPr id="61" name="Group 60"/>
          <p:cNvGrpSpPr>
            <a:grpSpLocks noChangeAspect="1"/>
          </p:cNvGrpSpPr>
          <p:nvPr/>
        </p:nvGrpSpPr>
        <p:grpSpPr>
          <a:xfrm>
            <a:off x="275482" y="299319"/>
            <a:ext cx="918456" cy="914270"/>
            <a:chOff x="827088" y="-3463925"/>
            <a:chExt cx="3833812" cy="3816350"/>
          </a:xfrm>
        </p:grpSpPr>
        <p:sp>
          <p:nvSpPr>
            <p:cNvPr id="62"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3"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4"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5"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6"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7"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8"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9"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grpSp>
      <p:sp>
        <p:nvSpPr>
          <p:cNvPr id="70" name="TextBox 69"/>
          <p:cNvSpPr txBox="1"/>
          <p:nvPr/>
        </p:nvSpPr>
        <p:spPr>
          <a:xfrm>
            <a:off x="275483" y="1618180"/>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71" name="TextBox 70"/>
          <p:cNvSpPr txBox="1"/>
          <p:nvPr/>
        </p:nvSpPr>
        <p:spPr>
          <a:xfrm>
            <a:off x="4252557" y="1618182"/>
            <a:ext cx="3931363" cy="4900489"/>
          </a:xfrm>
          <a:prstGeom prst="rect">
            <a:avLst/>
          </a:prstGeom>
          <a:solidFill>
            <a:srgbClr val="1B1B1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229632" y="1618182"/>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grpSp>
        <p:nvGrpSpPr>
          <p:cNvPr id="30" name="Group 29"/>
          <p:cNvGrpSpPr/>
          <p:nvPr/>
        </p:nvGrpSpPr>
        <p:grpSpPr>
          <a:xfrm>
            <a:off x="497683" y="4735338"/>
            <a:ext cx="1518730" cy="1131305"/>
            <a:chOff x="496870" y="4735511"/>
            <a:chExt cx="1518944" cy="1131465"/>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0" name="TextBox 109"/>
            <p:cNvSpPr txBox="1"/>
            <p:nvPr/>
          </p:nvSpPr>
          <p:spPr>
            <a:xfrm>
              <a:off x="496870" y="5379331"/>
              <a:ext cx="151894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ctive Directory </a:t>
              </a:r>
            </a:p>
            <a:p>
              <a:r>
                <a:rPr lang="en-US" sz="1399"/>
                <a:t>integrated </a:t>
              </a:r>
            </a:p>
          </p:txBody>
        </p:sp>
      </p:grpSp>
      <p:grpSp>
        <p:nvGrpSpPr>
          <p:cNvPr id="31" name="Group 30"/>
          <p:cNvGrpSpPr/>
          <p:nvPr/>
        </p:nvGrpSpPr>
        <p:grpSpPr>
          <a:xfrm>
            <a:off x="2315507" y="4661526"/>
            <a:ext cx="1808109" cy="1007484"/>
            <a:chOff x="2314953" y="4661692"/>
            <a:chExt cx="1808365" cy="1007627"/>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6" name="TextBox 115"/>
            <p:cNvSpPr txBox="1"/>
            <p:nvPr/>
          </p:nvSpPr>
          <p:spPr>
            <a:xfrm>
              <a:off x="2314953" y="5379331"/>
              <a:ext cx="1808365" cy="289988"/>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Secure + compliant </a:t>
              </a:r>
            </a:p>
          </p:txBody>
        </p:sp>
      </p:grpSp>
      <p:grpSp>
        <p:nvGrpSpPr>
          <p:cNvPr id="35" name="Group 34"/>
          <p:cNvGrpSpPr/>
          <p:nvPr/>
        </p:nvGrpSpPr>
        <p:grpSpPr>
          <a:xfrm>
            <a:off x="4454990" y="4655380"/>
            <a:ext cx="1557967" cy="1211259"/>
            <a:chOff x="4454739" y="4655544"/>
            <a:chExt cx="1558187" cy="1211432"/>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5" name="TextBox 124"/>
            <p:cNvSpPr txBox="1"/>
            <p:nvPr/>
          </p:nvSpPr>
          <p:spPr>
            <a:xfrm>
              <a:off x="4454739" y="5379331"/>
              <a:ext cx="1558187"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Reduced</a:t>
              </a:r>
              <a:br>
                <a:rPr lang="en-US" sz="1399"/>
              </a:br>
              <a:r>
                <a:rPr lang="en-US" sz="1399"/>
                <a:t>operations costs </a:t>
              </a:r>
            </a:p>
          </p:txBody>
        </p:sp>
      </p:grpSp>
      <p:grpSp>
        <p:nvGrpSpPr>
          <p:cNvPr id="36" name="Group 35"/>
          <p:cNvGrpSpPr/>
          <p:nvPr/>
        </p:nvGrpSpPr>
        <p:grpSpPr>
          <a:xfrm>
            <a:off x="6635779" y="4594861"/>
            <a:ext cx="1124715" cy="1271779"/>
            <a:chOff x="6635837" y="4595017"/>
            <a:chExt cx="1124874" cy="127195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8" name="TextBox 127"/>
            <p:cNvSpPr txBox="1"/>
            <p:nvPr/>
          </p:nvSpPr>
          <p:spPr>
            <a:xfrm>
              <a:off x="6635837" y="5379331"/>
              <a:ext cx="112487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Backup and</a:t>
              </a:r>
              <a:br>
                <a:rPr lang="en-US" sz="1399"/>
              </a:br>
              <a:r>
                <a:rPr lang="en-US" sz="1399"/>
                <a:t>recovery </a:t>
              </a:r>
            </a:p>
          </p:txBody>
        </p:sp>
      </p:grpSp>
      <p:grpSp>
        <p:nvGrpSpPr>
          <p:cNvPr id="40" name="Group 39"/>
          <p:cNvGrpSpPr/>
          <p:nvPr/>
        </p:nvGrpSpPr>
        <p:grpSpPr>
          <a:xfrm>
            <a:off x="8673822" y="4690098"/>
            <a:ext cx="1077302" cy="1176542"/>
            <a:chOff x="8674171" y="4690267"/>
            <a:chExt cx="1077455" cy="1176709"/>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7" name="TextBox 136"/>
            <p:cNvSpPr txBox="1"/>
            <p:nvPr/>
          </p:nvSpPr>
          <p:spPr>
            <a:xfrm>
              <a:off x="8674171" y="5379331"/>
              <a:ext cx="1077455"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Testing in</a:t>
              </a:r>
              <a:br>
                <a:rPr lang="en-US" sz="1399"/>
              </a:br>
              <a:r>
                <a:rPr lang="en-US" sz="1399"/>
                <a:t>production</a:t>
              </a:r>
            </a:p>
          </p:txBody>
        </p:sp>
      </p:grpSp>
      <p:grpSp>
        <p:nvGrpSpPr>
          <p:cNvPr id="39" name="Group 38"/>
          <p:cNvGrpSpPr/>
          <p:nvPr/>
        </p:nvGrpSpPr>
        <p:grpSpPr>
          <a:xfrm>
            <a:off x="10590618" y="4649622"/>
            <a:ext cx="1175397" cy="1217016"/>
            <a:chOff x="10591235" y="4649786"/>
            <a:chExt cx="1175564" cy="121718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40" name="TextBox 139"/>
            <p:cNvSpPr txBox="1"/>
            <p:nvPr/>
          </p:nvSpPr>
          <p:spPr>
            <a:xfrm>
              <a:off x="10591235" y="5379330"/>
              <a:ext cx="117556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pp gallery</a:t>
              </a:r>
              <a:br>
                <a:rPr lang="en-US" sz="1399"/>
              </a:br>
              <a:r>
                <a:rPr lang="en-US" sz="1399"/>
                <a:t>marketplace</a:t>
              </a:r>
            </a:p>
          </p:txBody>
        </p:sp>
      </p:grpSp>
      <p:grpSp>
        <p:nvGrpSpPr>
          <p:cNvPr id="29" name="Group 28"/>
          <p:cNvGrpSpPr/>
          <p:nvPr/>
        </p:nvGrpSpPr>
        <p:grpSpPr>
          <a:xfrm>
            <a:off x="502586" y="2670029"/>
            <a:ext cx="1508919" cy="1314809"/>
            <a:chOff x="501774" y="2669912"/>
            <a:chExt cx="1509134" cy="1314995"/>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07" name="TextBox 106"/>
            <p:cNvSpPr txBox="1"/>
            <p:nvPr/>
          </p:nvSpPr>
          <p:spPr>
            <a:xfrm>
              <a:off x="501774" y="3497262"/>
              <a:ext cx="1509134"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Global data</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center footprint </a:t>
              </a:r>
            </a:p>
          </p:txBody>
        </p:sp>
      </p:grpSp>
      <p:grpSp>
        <p:nvGrpSpPr>
          <p:cNvPr id="32" name="Group 31"/>
          <p:cNvGrpSpPr/>
          <p:nvPr/>
        </p:nvGrpSpPr>
        <p:grpSpPr>
          <a:xfrm>
            <a:off x="2491262" y="2756458"/>
            <a:ext cx="1456602" cy="1030752"/>
            <a:chOff x="2490732" y="2756352"/>
            <a:chExt cx="1456808" cy="1030898"/>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3" name="TextBox 112"/>
            <p:cNvSpPr txBox="1"/>
            <p:nvPr/>
          </p:nvSpPr>
          <p:spPr>
            <a:xfrm>
              <a:off x="2490732" y="3497262"/>
              <a:ext cx="1456808" cy="289988"/>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ybrid support </a:t>
              </a:r>
            </a:p>
          </p:txBody>
        </p:sp>
      </p:grpSp>
      <p:grpSp>
        <p:nvGrpSpPr>
          <p:cNvPr id="33" name="Group 32"/>
          <p:cNvGrpSpPr/>
          <p:nvPr/>
        </p:nvGrpSpPr>
        <p:grpSpPr>
          <a:xfrm>
            <a:off x="4346267" y="2760505"/>
            <a:ext cx="1775410" cy="1224333"/>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9" name="TextBox 118"/>
            <p:cNvSpPr txBox="1"/>
            <p:nvPr/>
          </p:nvSpPr>
          <p:spPr>
            <a:xfrm>
              <a:off x="4346001" y="3497262"/>
              <a:ext cx="1775661"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Built-in auto scale</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and load balancing </a:t>
              </a:r>
            </a:p>
          </p:txBody>
        </p:sp>
      </p:grpSp>
      <p:grpSp>
        <p:nvGrpSpPr>
          <p:cNvPr id="34" name="Group 33"/>
          <p:cNvGrpSpPr/>
          <p:nvPr/>
        </p:nvGrpSpPr>
        <p:grpSpPr>
          <a:xfrm>
            <a:off x="6311250" y="2675982"/>
            <a:ext cx="1773776" cy="1308855"/>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2" name="TextBox 121"/>
            <p:cNvSpPr txBox="1"/>
            <p:nvPr/>
          </p:nvSpPr>
          <p:spPr>
            <a:xfrm>
              <a:off x="6311261" y="3497262"/>
              <a:ext cx="1774027"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igh availability</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with auto-patching </a:t>
              </a:r>
            </a:p>
          </p:txBody>
        </p:sp>
      </p:grpSp>
      <p:grpSp>
        <p:nvGrpSpPr>
          <p:cNvPr id="37" name="Group 36"/>
          <p:cNvGrpSpPr/>
          <p:nvPr/>
        </p:nvGrpSpPr>
        <p:grpSpPr>
          <a:xfrm>
            <a:off x="8364009" y="2678362"/>
            <a:ext cx="1696935" cy="1306475"/>
            <a:chOff x="8364311" y="2678247"/>
            <a:chExt cx="1697175" cy="130666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1" name="TextBox 130"/>
            <p:cNvSpPr txBox="1"/>
            <p:nvPr/>
          </p:nvSpPr>
          <p:spPr>
            <a:xfrm>
              <a:off x="8364311" y="3497262"/>
              <a:ext cx="1697175"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NET, Java, PHP,</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Node, and Python </a:t>
              </a:r>
            </a:p>
          </p:txBody>
        </p:sp>
      </p:grpSp>
      <p:grpSp>
        <p:nvGrpSpPr>
          <p:cNvPr id="38" name="Group 37"/>
          <p:cNvGrpSpPr/>
          <p:nvPr/>
        </p:nvGrpSpPr>
        <p:grpSpPr>
          <a:xfrm>
            <a:off x="10600421" y="2691458"/>
            <a:ext cx="1155778" cy="1293379"/>
            <a:chOff x="10601045" y="2691344"/>
            <a:chExt cx="1155943" cy="1293563"/>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4" name="TextBox 133"/>
            <p:cNvSpPr txBox="1"/>
            <p:nvPr/>
          </p:nvSpPr>
          <p:spPr>
            <a:xfrm>
              <a:off x="10601045" y="3497262"/>
              <a:ext cx="1155943"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Staging and</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deployment</a:t>
              </a:r>
            </a:p>
          </p:txBody>
        </p:sp>
      </p:grpSp>
    </p:spTree>
    <p:extLst>
      <p:ext uri="{BB962C8B-B14F-4D97-AF65-F5344CB8AC3E}">
        <p14:creationId xmlns:p14="http://schemas.microsoft.com/office/powerpoint/2010/main" val="861743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35" presetClass="path" presetSubtype="0" decel="100000" fill="hold" nodeType="withEffect">
                                  <p:stCondLst>
                                    <p:cond delay="700"/>
                                  </p:stCondLst>
                                  <p:childTnLst>
                                    <p:animMotion origin="layout" path="M 2.77556E-17 -3.7037E-6 L 2.77556E-17 0.02616 " pathEditMode="relative" rAng="0" ptsTypes="AA">
                                      <p:cBhvr>
                                        <p:cTn id="34" dur="500" spd="-100000" fill="hold"/>
                                        <p:tgtEl>
                                          <p:spTgt spid="34"/>
                                        </p:tgtEl>
                                        <p:attrNameLst>
                                          <p:attrName>ppt_x</p:attrName>
                                          <p:attrName>ppt_y</p:attrName>
                                        </p:attrNameLst>
                                      </p:cBhvr>
                                      <p:rCtr x="0" y="1296"/>
                                    </p:animMotion>
                                  </p:childTnLst>
                                </p:cTn>
                              </p:par>
                              <p:par>
                                <p:cTn id="35" presetID="10" presetClass="entr" presetSubtype="0" fill="hold" nodeType="withEffect">
                                  <p:stCondLst>
                                    <p:cond delay="8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800"/>
                                  </p:stCondLst>
                                  <p:childTnLst>
                                    <p:animMotion origin="layout" path="M 2.77556E-17 -3.7037E-6 L 2.77556E-17 0.02616 " pathEditMode="relative" rAng="0" ptsTypes="AA">
                                      <p:cBhvr>
                                        <p:cTn id="39" dur="500" spd="-100000" fill="hold"/>
                                        <p:tgtEl>
                                          <p:spTgt spid="35"/>
                                        </p:tgtEl>
                                        <p:attrNameLst>
                                          <p:attrName>ppt_x</p:attrName>
                                          <p:attrName>ppt_y</p:attrName>
                                        </p:attrNameLst>
                                      </p:cBhvr>
                                      <p:rCtr x="0" y="1296"/>
                                    </p:animMotion>
                                  </p:childTnLst>
                                </p:cTn>
                              </p:par>
                              <p:par>
                                <p:cTn id="40" presetID="10" presetClass="entr" presetSubtype="0" fill="hold" nodeType="withEffect">
                                  <p:stCondLst>
                                    <p:cond delay="9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36"/>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35" presetClass="path" presetSubtype="0" decel="100000" fill="hold" nodeType="withEffect">
                                  <p:stCondLst>
                                    <p:cond delay="1000"/>
                                  </p:stCondLst>
                                  <p:childTnLst>
                                    <p:animMotion origin="layout" path="M 2.77556E-17 -3.7037E-6 L 2.77556E-17 0.02616 " pathEditMode="relative" rAng="0" ptsTypes="AA">
                                      <p:cBhvr>
                                        <p:cTn id="49" dur="500" spd="-100000" fill="hold"/>
                                        <p:tgtEl>
                                          <p:spTgt spid="37"/>
                                        </p:tgtEl>
                                        <p:attrNameLst>
                                          <p:attrName>ppt_x</p:attrName>
                                          <p:attrName>ppt_y</p:attrName>
                                        </p:attrNameLst>
                                      </p:cBhvr>
                                      <p:rCtr x="0" y="1296"/>
                                    </p:animMotion>
                                  </p:childTnLst>
                                </p:cTn>
                              </p:par>
                              <p:par>
                                <p:cTn id="50" presetID="10" presetClass="entr" presetSubtype="0" fill="hold" nodeType="withEffect">
                                  <p:stCondLst>
                                    <p:cond delay="11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35" presetClass="path" presetSubtype="0" decel="100000" fill="hold" nodeType="withEffect">
                                  <p:stCondLst>
                                    <p:cond delay="1100"/>
                                  </p:stCondLst>
                                  <p:childTnLst>
                                    <p:animMotion origin="layout" path="M 2.77556E-17 -3.7037E-6 L 2.77556E-17 0.02616 " pathEditMode="relative" rAng="0" ptsTypes="AA">
                                      <p:cBhvr>
                                        <p:cTn id="54" dur="500" spd="-100000" fill="hold"/>
                                        <p:tgtEl>
                                          <p:spTgt spid="38"/>
                                        </p:tgtEl>
                                        <p:attrNameLst>
                                          <p:attrName>ppt_x</p:attrName>
                                          <p:attrName>ppt_y</p:attrName>
                                        </p:attrNameLst>
                                      </p:cBhvr>
                                      <p:rCtr x="0" y="1296"/>
                                    </p:animMotion>
                                  </p:childTnLst>
                                </p:cTn>
                              </p:par>
                              <p:par>
                                <p:cTn id="55" presetID="10" presetClass="entr" presetSubtype="0" fill="hold" nodeType="withEffect">
                                  <p:stCondLst>
                                    <p:cond delay="1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35" presetClass="path" presetSubtype="0" decel="100000" fill="hold" nodeType="withEffect">
                                  <p:stCondLst>
                                    <p:cond delay="1200"/>
                                  </p:stCondLst>
                                  <p:childTnLst>
                                    <p:animMotion origin="layout" path="M 2.77556E-17 -3.7037E-6 L 2.77556E-17 0.02616 " pathEditMode="relative" rAng="0" ptsTypes="AA">
                                      <p:cBhvr>
                                        <p:cTn id="59" dur="500" spd="-100000" fill="hold"/>
                                        <p:tgtEl>
                                          <p:spTgt spid="40"/>
                                        </p:tgtEl>
                                        <p:attrNameLst>
                                          <p:attrName>ppt_x</p:attrName>
                                          <p:attrName>ppt_y</p:attrName>
                                        </p:attrNameLst>
                                      </p:cBhvr>
                                      <p:rCtr x="0" y="1296"/>
                                    </p:animMotion>
                                  </p:childTnLst>
                                </p:cTn>
                              </p:par>
                              <p:par>
                                <p:cTn id="60" presetID="10" presetClass="entr" presetSubtype="0" fill="hold" nodeType="withEffect">
                                  <p:stCondLst>
                                    <p:cond delay="13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3385" y="1100149"/>
            <a:ext cx="12429709" cy="589388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pic>
        <p:nvPicPr>
          <p:cNvPr id="289" name="Picture 288"/>
          <p:cNvPicPr>
            <a:picLocks noChangeAspect="1"/>
          </p:cNvPicPr>
          <p:nvPr/>
        </p:nvPicPr>
        <p:blipFill>
          <a:blip r:embed="rId3"/>
          <a:stretch>
            <a:fillRect/>
          </a:stretch>
        </p:blipFill>
        <p:spPr>
          <a:xfrm>
            <a:off x="3383411" y="5723195"/>
            <a:ext cx="2056334" cy="1271585"/>
          </a:xfrm>
          <a:prstGeom prst="rect">
            <a:avLst/>
          </a:prstGeom>
        </p:spPr>
      </p:pic>
      <p:sp>
        <p:nvSpPr>
          <p:cNvPr id="74" name="Bent Arrow 73"/>
          <p:cNvSpPr/>
          <p:nvPr/>
        </p:nvSpPr>
        <p:spPr bwMode="auto">
          <a:xfrm>
            <a:off x="1022625" y="2609978"/>
            <a:ext cx="2835123" cy="3441867"/>
          </a:xfrm>
          <a:prstGeom prst="bentArrow">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260350"/>
            <a:ext cx="11499850" cy="698500"/>
          </a:xfrm>
        </p:spPr>
        <p:txBody>
          <a:bodyPr>
            <a:noAutofit/>
          </a:bodyPr>
          <a:lstStyle/>
          <a:p>
            <a:r>
              <a:rPr lang="en-US" sz="4000"/>
              <a:t>Application Insights</a:t>
            </a:r>
          </a:p>
        </p:txBody>
      </p:sp>
      <p:sp>
        <p:nvSpPr>
          <p:cNvPr id="38" name="Freeform 95"/>
          <p:cNvSpPr>
            <a:spLocks/>
          </p:cNvSpPr>
          <p:nvPr/>
        </p:nvSpPr>
        <p:spPr bwMode="auto">
          <a:xfrm flipH="1">
            <a:off x="3631534" y="3157299"/>
            <a:ext cx="1522967" cy="98904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sp>
        <p:nvSpPr>
          <p:cNvPr id="39" name="Freeform 95"/>
          <p:cNvSpPr>
            <a:spLocks/>
          </p:cNvSpPr>
          <p:nvPr/>
        </p:nvSpPr>
        <p:spPr bwMode="auto">
          <a:xfrm flipH="1">
            <a:off x="4827086" y="3490492"/>
            <a:ext cx="1344251" cy="8729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90000"/>
            </a:scheme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pic>
        <p:nvPicPr>
          <p:cNvPr id="72" name="Picture 71"/>
          <p:cNvPicPr>
            <a:picLocks noChangeAspect="1"/>
          </p:cNvPicPr>
          <p:nvPr/>
        </p:nvPicPr>
        <p:blipFill rotWithShape="1">
          <a:blip r:embed="rId4"/>
          <a:srcRect l="11266" b="33156"/>
          <a:stretch/>
        </p:blipFill>
        <p:spPr>
          <a:xfrm>
            <a:off x="3382" y="4050917"/>
            <a:ext cx="4530155" cy="2943111"/>
          </a:xfrm>
          <a:prstGeom prst="rect">
            <a:avLst/>
          </a:prstGeom>
        </p:spPr>
      </p:pic>
      <p:sp>
        <p:nvSpPr>
          <p:cNvPr id="73" name="Rectangle 72"/>
          <p:cNvSpPr/>
          <p:nvPr/>
        </p:nvSpPr>
        <p:spPr>
          <a:xfrm>
            <a:off x="1624157" y="1581669"/>
            <a:ext cx="3069384" cy="1754326"/>
          </a:xfrm>
          <a:prstGeom prst="rect">
            <a:avLst/>
          </a:prstGeom>
        </p:spPr>
        <p:txBody>
          <a:bodyPr wrap="square">
            <a:spAutoFit/>
          </a:bodyPr>
          <a:lstStyle/>
          <a:p>
            <a:pPr>
              <a:lnSpc>
                <a:spcPct val="120000"/>
              </a:lnSpc>
            </a:pPr>
            <a:r>
              <a:rPr lang="en-US" spc="31">
                <a:latin typeface="Segoe UI Light" panose="020B0502040204020203" pitchFamily="34" charset="0"/>
                <a:cs typeface="Segoe UI Light" panose="020B0502040204020203" pitchFamily="34" charset="0"/>
              </a:rPr>
              <a:t>Telemetry is collected at each</a:t>
            </a:r>
            <a:r>
              <a:rPr lang="en-US">
                <a:latin typeface="Segoe UI Light" panose="020B0502040204020203" pitchFamily="34" charset="0"/>
                <a:cs typeface="Segoe UI Light" panose="020B0502040204020203" pitchFamily="34" charset="0"/>
              </a:rPr>
              <a:t> </a:t>
            </a:r>
            <a:r>
              <a:rPr lang="en-US" spc="-31">
                <a:latin typeface="Segoe UI Light" panose="020B0502040204020203" pitchFamily="34" charset="0"/>
                <a:cs typeface="Segoe UI Light" panose="020B0502040204020203" pitchFamily="34" charset="0"/>
              </a:rPr>
              <a:t>tier: </a:t>
            </a:r>
          </a:p>
          <a:p>
            <a:pPr marL="285750" indent="-285750">
              <a:lnSpc>
                <a:spcPct val="120000"/>
              </a:lnSpc>
              <a:buFont typeface="Arial" panose="020B0604020202020204" pitchFamily="34" charset="0"/>
              <a:buChar char="•"/>
            </a:pPr>
            <a:r>
              <a:rPr lang="en-US" spc="-31">
                <a:latin typeface="Segoe UI Light" panose="020B0502040204020203" pitchFamily="34" charset="0"/>
                <a:cs typeface="Segoe UI Light" panose="020B0502040204020203" pitchFamily="34" charset="0"/>
              </a:rPr>
              <a:t>Web server</a:t>
            </a:r>
            <a:r>
              <a:rPr lang="en-US">
                <a:latin typeface="Segoe UI Light" panose="020B0502040204020203" pitchFamily="34" charset="0"/>
                <a:cs typeface="Segoe UI Light" panose="020B0502040204020203" pitchFamily="34" charset="0"/>
              </a:rPr>
              <a:t> </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Application</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Client / browser</a:t>
            </a:r>
          </a:p>
        </p:txBody>
      </p:sp>
      <p:sp>
        <p:nvSpPr>
          <p:cNvPr id="75" name="Rectangle 74"/>
          <p:cNvSpPr/>
          <p:nvPr/>
        </p:nvSpPr>
        <p:spPr>
          <a:xfrm>
            <a:off x="838723" y="1100149"/>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1</a:t>
            </a:r>
          </a:p>
        </p:txBody>
      </p:sp>
      <p:sp>
        <p:nvSpPr>
          <p:cNvPr id="77" name="Rectangle 76"/>
          <p:cNvSpPr/>
          <p:nvPr/>
        </p:nvSpPr>
        <p:spPr>
          <a:xfrm>
            <a:off x="5841870" y="4529217"/>
            <a:ext cx="3426984" cy="1391086"/>
          </a:xfrm>
          <a:prstGeom prst="rect">
            <a:avLst/>
          </a:prstGeom>
        </p:spPr>
        <p:txBody>
          <a:bodyPr wrap="square">
            <a:spAutoFit/>
          </a:bodyPr>
          <a:lstStyle/>
          <a:p>
            <a:pPr defTabSz="951121">
              <a:lnSpc>
                <a:spcPct val="120000"/>
              </a:lnSpc>
            </a:pPr>
            <a:r>
              <a:rPr lang="en-US">
                <a:solidFill>
                  <a:srgbClr val="FFFFFF"/>
                </a:solidFill>
                <a:latin typeface="Segoe UI Light" panose="020B0502040204020203" pitchFamily="34" charset="0"/>
                <a:cs typeface="Segoe UI Light" panose="020B0502040204020203" pitchFamily="34" charset="0"/>
              </a:rPr>
              <a:t>Telemetry arrives in the Application Insights service in the cloud where it is processed &amp; stored</a:t>
            </a:r>
            <a:endParaRPr lang="en-US">
              <a:solidFill>
                <a:prstClr val="black"/>
              </a:solidFill>
              <a:latin typeface="Segoe UI Light" panose="020B0502040204020203" pitchFamily="34" charset="0"/>
              <a:cs typeface="Segoe UI Light" panose="020B0502040204020203" pitchFamily="34" charset="0"/>
            </a:endParaRPr>
          </a:p>
        </p:txBody>
      </p:sp>
      <p:sp>
        <p:nvSpPr>
          <p:cNvPr id="109" name="Rectangle 108"/>
          <p:cNvSpPr/>
          <p:nvPr/>
        </p:nvSpPr>
        <p:spPr>
          <a:xfrm>
            <a:off x="8634593" y="1152574"/>
            <a:ext cx="3778909" cy="830997"/>
          </a:xfrm>
          <a:prstGeom prst="rect">
            <a:avLst/>
          </a:prstGeom>
        </p:spPr>
        <p:txBody>
          <a:bodyPr wrap="square">
            <a:spAutoFit/>
          </a:bodyPr>
          <a:lstStyle/>
          <a:p>
            <a:r>
              <a:rPr lang="en-US" sz="1600">
                <a:latin typeface="Segoe UI Light" panose="020B0502040204020203" pitchFamily="34" charset="0"/>
                <a:cs typeface="Segoe UI Light" panose="020B0502040204020203" pitchFamily="34" charset="0"/>
              </a:rPr>
              <a:t>Detect &amp; Diagnose problems in Azure Portal; Ask ad-hoc queries in Analytics; Integrate, Extend &amp; Customize</a:t>
            </a:r>
          </a:p>
        </p:txBody>
      </p:sp>
      <p:sp>
        <p:nvSpPr>
          <p:cNvPr id="110" name="Rectangle 109"/>
          <p:cNvSpPr/>
          <p:nvPr/>
        </p:nvSpPr>
        <p:spPr>
          <a:xfrm>
            <a:off x="7470845" y="765218"/>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3</a:t>
            </a:r>
          </a:p>
        </p:txBody>
      </p:sp>
      <p:sp>
        <p:nvSpPr>
          <p:cNvPr id="115" name="Right Arrow 114"/>
          <p:cNvSpPr/>
          <p:nvPr/>
        </p:nvSpPr>
        <p:spPr bwMode="auto">
          <a:xfrm>
            <a:off x="6128806" y="2677638"/>
            <a:ext cx="2205549" cy="1270146"/>
          </a:xfrm>
          <a:prstGeom prst="rightArrow">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40" name="Freeform 95"/>
          <p:cNvSpPr>
            <a:spLocks/>
          </p:cNvSpPr>
          <p:nvPr/>
        </p:nvSpPr>
        <p:spPr bwMode="auto">
          <a:xfrm flipH="1">
            <a:off x="4277106" y="2101400"/>
            <a:ext cx="2593538" cy="16842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089" tIns="47544" rIns="95089" bIns="47544" numCol="1" anchor="ctr" anchorCtr="0" compatLnSpc="1">
            <a:prstTxWarp prst="textNoShape">
              <a:avLst/>
            </a:prstTxWarp>
          </a:bodyPr>
          <a:lstStyle/>
          <a:p>
            <a:pPr algn="ctr" defTabSz="950791">
              <a:defRPr/>
            </a:pPr>
            <a:endParaRPr lang="en-US" sz="2448" kern="0">
              <a:solidFill>
                <a:srgbClr val="692B7B"/>
              </a:solidFill>
            </a:endParaRPr>
          </a:p>
        </p:txBody>
      </p:sp>
      <p:grpSp>
        <p:nvGrpSpPr>
          <p:cNvPr id="51" name="Group 50"/>
          <p:cNvGrpSpPr/>
          <p:nvPr/>
        </p:nvGrpSpPr>
        <p:grpSpPr>
          <a:xfrm>
            <a:off x="8143370" y="4603164"/>
            <a:ext cx="4289723" cy="2390865"/>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grpSp>
      <p:sp>
        <p:nvSpPr>
          <p:cNvPr id="78" name="Rectangle 77"/>
          <p:cNvSpPr/>
          <p:nvPr/>
        </p:nvSpPr>
        <p:spPr>
          <a:xfrm>
            <a:off x="4998156" y="4037984"/>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2</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2718" y="2621246"/>
            <a:ext cx="2216058" cy="1749519"/>
          </a:xfrm>
          <a:prstGeom prst="rect">
            <a:avLst/>
          </a:prstGeom>
        </p:spPr>
      </p:pic>
      <p:grpSp>
        <p:nvGrpSpPr>
          <p:cNvPr id="4" name="Group 3"/>
          <p:cNvGrpSpPr/>
          <p:nvPr/>
        </p:nvGrpSpPr>
        <p:grpSpPr>
          <a:xfrm>
            <a:off x="8664117" y="2080775"/>
            <a:ext cx="3749385" cy="3454087"/>
            <a:chOff x="8270677" y="1780946"/>
            <a:chExt cx="3676201" cy="3386667"/>
          </a:xfrm>
        </p:grpSpPr>
        <p:grpSp>
          <p:nvGrpSpPr>
            <p:cNvPr id="48" name="Group 47"/>
            <p:cNvGrpSpPr/>
            <p:nvPr/>
          </p:nvGrpSpPr>
          <p:grpSpPr>
            <a:xfrm>
              <a:off x="8270677" y="1780946"/>
              <a:ext cx="3676201" cy="2930041"/>
              <a:chOff x="8238220" y="2114321"/>
              <a:chExt cx="3676201" cy="2930041"/>
            </a:xfrm>
          </p:grpSpPr>
          <p:pic>
            <p:nvPicPr>
              <p:cNvPr id="49" name="Picture 48"/>
              <p:cNvPicPr>
                <a:picLocks noChangeAspect="1"/>
              </p:cNvPicPr>
              <p:nvPr/>
            </p:nvPicPr>
            <p:blipFill>
              <a:blip r:embed="rId6"/>
              <a:stretch>
                <a:fillRect/>
              </a:stretch>
            </p:blipFill>
            <p:spPr>
              <a:xfrm>
                <a:off x="10498181" y="2736060"/>
                <a:ext cx="1416240" cy="2308302"/>
              </a:xfrm>
              <a:prstGeom prst="rect">
                <a:avLst/>
              </a:prstGeom>
            </p:spPr>
          </p:pic>
          <p:pic>
            <p:nvPicPr>
              <p:cNvPr id="79" name="Picture 78"/>
              <p:cNvPicPr>
                <a:picLocks noChangeAspect="1"/>
              </p:cNvPicPr>
              <p:nvPr/>
            </p:nvPicPr>
            <p:blipFill>
              <a:blip r:embed="rId7"/>
              <a:stretch>
                <a:fillRect/>
              </a:stretch>
            </p:blipFill>
            <p:spPr>
              <a:xfrm>
                <a:off x="9369661" y="2425191"/>
                <a:ext cx="1406394" cy="2300288"/>
              </a:xfrm>
              <a:prstGeom prst="rect">
                <a:avLst/>
              </a:prstGeom>
            </p:spPr>
          </p:pic>
          <p:pic>
            <p:nvPicPr>
              <p:cNvPr id="80" name="Picture 79"/>
              <p:cNvPicPr>
                <a:picLocks noChangeAspect="1"/>
              </p:cNvPicPr>
              <p:nvPr/>
            </p:nvPicPr>
            <p:blipFill>
              <a:blip r:embed="rId8"/>
              <a:stretch>
                <a:fillRect/>
              </a:stretch>
            </p:blipFill>
            <p:spPr>
              <a:xfrm>
                <a:off x="8238220" y="2114321"/>
                <a:ext cx="1409315" cy="2300288"/>
              </a:xfrm>
              <a:prstGeom prst="rect">
                <a:avLst/>
              </a:prstGeom>
            </p:spPr>
          </p:pic>
        </p:grpSp>
        <p:pic>
          <p:nvPicPr>
            <p:cNvPr id="81" name="Picture 80"/>
            <p:cNvPicPr>
              <a:picLocks noChangeAspect="1"/>
            </p:cNvPicPr>
            <p:nvPr/>
          </p:nvPicPr>
          <p:blipFill>
            <a:blip r:embed="rId9"/>
            <a:stretch>
              <a:fillRect/>
            </a:stretch>
          </p:blipFill>
          <p:spPr>
            <a:xfrm>
              <a:off x="8893249" y="3617985"/>
              <a:ext cx="2369564" cy="1549628"/>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57501907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3: Web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52711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how the time to value of using Web App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sider integration points with continuous delivery and various content source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ichness of ecosystem for web content</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ice of</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 driver git push</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 configuration, pulling from GitHub</a:t>
            </a:r>
          </a:p>
        </p:txBody>
      </p:sp>
    </p:spTree>
    <p:extLst>
      <p:ext uri="{BB962C8B-B14F-4D97-AF65-F5344CB8AC3E}">
        <p14:creationId xmlns:p14="http://schemas.microsoft.com/office/powerpoint/2010/main" val="2737371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80844E-6 L -0.05285 3.8084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2428357"/>
          </a:xfrm>
        </p:spPr>
        <p:txBody>
          <a:bodyPr/>
          <a:lstStyle/>
          <a:p>
            <a:r>
              <a:rPr lang="en-GB" sz="5400"/>
              <a:t>DevOps, Management &amp; Automation</a:t>
            </a:r>
          </a:p>
        </p:txBody>
      </p:sp>
      <p:pic>
        <p:nvPicPr>
          <p:cNvPr id="11" name="Picture Placeholder 10" descr="A picture containing metalware, thing, gear&#10;&#10;Description generated with very high confidence">
            <a:extLst>
              <a:ext uri="{FF2B5EF4-FFF2-40B4-BE49-F238E27FC236}">
                <a16:creationId xmlns:a16="http://schemas.microsoft.com/office/drawing/2014/main" id="{CFF40ACB-5E32-4103-B958-8AE9F9D11496}"/>
              </a:ext>
            </a:extLst>
          </p:cNvPr>
          <p:cNvPicPr>
            <a:picLocks noGrp="1" noChangeAspect="1"/>
          </p:cNvPicPr>
          <p:nvPr>
            <p:ph type="pic" sz="quarter" idx="10"/>
          </p:nvPr>
        </p:nvPicPr>
        <p:blipFill>
          <a:blip r:embed="rId3"/>
          <a:srcRect l="14488" r="14488"/>
          <a:stretch>
            <a:fillRect/>
          </a:stretch>
        </p:blipFill>
        <p:spPr/>
      </p:pic>
    </p:spTree>
    <p:extLst>
      <p:ext uri="{BB962C8B-B14F-4D97-AF65-F5344CB8AC3E}">
        <p14:creationId xmlns:p14="http://schemas.microsoft.com/office/powerpoint/2010/main" val="11675293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ervices</a:t>
            </a:r>
          </a:p>
        </p:txBody>
      </p:sp>
      <p:sp>
        <p:nvSpPr>
          <p:cNvPr id="63" name="cloud">
            <a:extLst>
              <a:ext uri="{FF2B5EF4-FFF2-40B4-BE49-F238E27FC236}">
                <a16:creationId xmlns:a16="http://schemas.microsoft.com/office/drawing/2014/main" id="{6FC120D2-A62B-4F13-9432-D5A1981F0812}"/>
              </a:ext>
            </a:extLst>
          </p:cNvPr>
          <p:cNvSpPr>
            <a:spLocks noChangeAspect="1"/>
          </p:cNvSpPr>
          <p:nvPr/>
        </p:nvSpPr>
        <p:spPr bwMode="auto">
          <a:xfrm>
            <a:off x="5884806" y="2783394"/>
            <a:ext cx="636861" cy="40299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grpSp>
        <p:nvGrpSpPr>
          <p:cNvPr id="77" name="Group 76">
            <a:extLst>
              <a:ext uri="{FF2B5EF4-FFF2-40B4-BE49-F238E27FC236}">
                <a16:creationId xmlns:a16="http://schemas.microsoft.com/office/drawing/2014/main" id="{7EF77E96-EEBA-4B36-B837-3FA2E611EAEE}"/>
              </a:ext>
            </a:extLst>
          </p:cNvPr>
          <p:cNvGrpSpPr/>
          <p:nvPr/>
        </p:nvGrpSpPr>
        <p:grpSpPr>
          <a:xfrm>
            <a:off x="5954546" y="5211110"/>
            <a:ext cx="481160" cy="481160"/>
            <a:chOff x="10262067" y="5357124"/>
            <a:chExt cx="426425" cy="426425"/>
          </a:xfrm>
        </p:grpSpPr>
        <p:sp>
          <p:nvSpPr>
            <p:cNvPr id="78" name="cloud">
              <a:extLst>
                <a:ext uri="{FF2B5EF4-FFF2-40B4-BE49-F238E27FC236}">
                  <a16:creationId xmlns:a16="http://schemas.microsoft.com/office/drawing/2014/main" id="{7AC4D3D8-85EF-4A09-A5ED-E11FA5D868D2}"/>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0B5F8D2C-D1ED-482D-8579-638A4D2E015C}"/>
                </a:ext>
              </a:extLst>
            </p:cNvPr>
            <p:cNvSpPr/>
            <p:nvPr/>
          </p:nvSpPr>
          <p:spPr bwMode="auto">
            <a:xfrm>
              <a:off x="10262067" y="5357124"/>
              <a:ext cx="426425" cy="426425"/>
            </a:xfrm>
            <a:prstGeom prst="rect">
              <a:avLst/>
            </a:pr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450061"/>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618155"/>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Azure Security</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amp; Management</a:t>
            </a:r>
          </a:p>
        </p:txBody>
      </p:sp>
      <p:sp>
        <p:nvSpPr>
          <p:cNvPr id="91" name="DeveloperTools_EC7A">
            <a:extLst>
              <a:ext uri="{FF2B5EF4-FFF2-40B4-BE49-F238E27FC236}">
                <a16:creationId xmlns:a16="http://schemas.microsoft.com/office/drawing/2014/main" id="{EB6950C0-0B4C-4056-B714-7A51C940A0BB}"/>
              </a:ext>
            </a:extLst>
          </p:cNvPr>
          <p:cNvSpPr>
            <a:spLocks noChangeAspect="1" noEditPoints="1"/>
          </p:cNvSpPr>
          <p:nvPr/>
        </p:nvSpPr>
        <p:spPr bwMode="auto">
          <a:xfrm>
            <a:off x="10075326" y="2751098"/>
            <a:ext cx="277868" cy="43782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On-premises</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Infrastructure</a:t>
            </a:r>
          </a:p>
        </p:txBody>
      </p:sp>
      <p:sp>
        <p:nvSpPr>
          <p:cNvPr id="94" name="server">
            <a:extLst>
              <a:ext uri="{FF2B5EF4-FFF2-40B4-BE49-F238E27FC236}">
                <a16:creationId xmlns:a16="http://schemas.microsoft.com/office/drawing/2014/main" id="{1C506076-E3F4-40B6-84C9-7CE159AF0F27}"/>
              </a:ext>
            </a:extLst>
          </p:cNvPr>
          <p:cNvSpPr>
            <a:spLocks noChangeAspect="1" noEditPoints="1"/>
          </p:cNvSpPr>
          <p:nvPr/>
        </p:nvSpPr>
        <p:spPr bwMode="auto">
          <a:xfrm>
            <a:off x="10104788" y="5152979"/>
            <a:ext cx="218944" cy="4930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65" name="binary">
            <a:extLst>
              <a:ext uri="{FF2B5EF4-FFF2-40B4-BE49-F238E27FC236}">
                <a16:creationId xmlns:a16="http://schemas.microsoft.com/office/drawing/2014/main" id="{AFCB2F59-EED0-453C-8E95-BF012B340755}"/>
              </a:ext>
            </a:extLst>
          </p:cNvPr>
          <p:cNvSpPr>
            <a:spLocks noChangeAspect="1" noEditPoints="1"/>
          </p:cNvSpPr>
          <p:nvPr/>
        </p:nvSpPr>
        <p:spPr bwMode="auto">
          <a:xfrm>
            <a:off x="7964830" y="2777571"/>
            <a:ext cx="488339" cy="42167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71" name="Database_EFC7">
            <a:extLst>
              <a:ext uri="{FF2B5EF4-FFF2-40B4-BE49-F238E27FC236}">
                <a16:creationId xmlns:a16="http://schemas.microsoft.com/office/drawing/2014/main" id="{361D8CE8-7B88-4B41-AA64-DB50FF514590}"/>
              </a:ext>
            </a:extLst>
          </p:cNvPr>
          <p:cNvSpPr>
            <a:spLocks noChangeAspect="1" noEditPoints="1"/>
          </p:cNvSpPr>
          <p:nvPr/>
        </p:nvSpPr>
        <p:spPr bwMode="auto">
          <a:xfrm>
            <a:off x="8031666" y="5147374"/>
            <a:ext cx="354663" cy="4610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Data </a:t>
            </a:r>
          </a:p>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a:solidFill>
                  <a:srgbClr val="002050"/>
                </a:solidFill>
                <a:latin typeface="Segoe UI" panose="020B0502040204020203" pitchFamily="34" charset="0"/>
                <a:cs typeface="Segoe UI" panose="020B0502040204020203" pitchFamily="34" charset="0"/>
              </a:rPr>
              <a:t>Security &amp;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Unified Cloud 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Common </a:t>
            </a:r>
            <a:br>
              <a:rPr lang="en-US" sz="1599" dirty="0">
                <a:solidFill>
                  <a:srgbClr val="002050"/>
                </a:solidFill>
                <a:latin typeface="Segoe UI" panose="020B0502040204020203" pitchFamily="34" charset="0"/>
                <a:cs typeface="Segoe UI" panose="020B0502040204020203" pitchFamily="34" charset="0"/>
              </a:rPr>
            </a:br>
            <a:r>
              <a:rPr lang="en-US" sz="1599" dirty="0">
                <a:solidFill>
                  <a:srgbClr val="002050"/>
                </a:solidFill>
                <a:latin typeface="Segoe UI" panose="020B0502040204020203" pitchFamily="34" charset="0"/>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450060"/>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4" name="people_5">
            <a:extLst>
              <a:ext uri="{FF2B5EF4-FFF2-40B4-BE49-F238E27FC236}">
                <a16:creationId xmlns:a16="http://schemas.microsoft.com/office/drawing/2014/main" id="{A7DE72A6-2DF2-4903-9814-AE12AF3C0323}"/>
              </a:ext>
            </a:extLst>
          </p:cNvPr>
          <p:cNvSpPr>
            <a:spLocks noChangeAspect="1" noEditPoints="1"/>
          </p:cNvSpPr>
          <p:nvPr/>
        </p:nvSpPr>
        <p:spPr bwMode="auto">
          <a:xfrm>
            <a:off x="3948976" y="2768190"/>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80" name="people_5">
            <a:extLst>
              <a:ext uri="{FF2B5EF4-FFF2-40B4-BE49-F238E27FC236}">
                <a16:creationId xmlns:a16="http://schemas.microsoft.com/office/drawing/2014/main" id="{F2F6BB82-213D-4F13-BA71-00F561C9633B}"/>
              </a:ext>
            </a:extLst>
          </p:cNvPr>
          <p:cNvSpPr>
            <a:spLocks noChangeAspect="1" noEditPoints="1"/>
          </p:cNvSpPr>
          <p:nvPr/>
        </p:nvSpPr>
        <p:spPr bwMode="auto">
          <a:xfrm>
            <a:off x="3948976" y="5129253"/>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27087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01" name="Rectangle 100">
            <a:extLst>
              <a:ext uri="{FF2B5EF4-FFF2-40B4-BE49-F238E27FC236}">
                <a16:creationId xmlns:a16="http://schemas.microsoft.com/office/drawing/2014/main" id="{400BF1EA-263F-41CC-8696-2F11FC04B09A}"/>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02" name="speedometer_2">
            <a:extLst>
              <a:ext uri="{FF2B5EF4-FFF2-40B4-BE49-F238E27FC236}">
                <a16:creationId xmlns:a16="http://schemas.microsoft.com/office/drawing/2014/main" id="{64C36805-3BA9-47F2-94D4-50E4A63F3198}"/>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264" spc="-51" dirty="0">
                <a:solidFill>
                  <a:srgbClr val="505050"/>
                </a:solidFill>
                <a:latin typeface="Segoe UI Light"/>
              </a:rPr>
              <a:t>Providing the only consistent, hybrid cloud</a:t>
            </a:r>
            <a:endParaRPr lang="en-US" sz="3264" dirty="0">
              <a:solidFill>
                <a:srgbClr val="505050"/>
              </a:solidFill>
              <a:latin typeface="Segoe UI Light"/>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2.96296E-6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2.96296E-6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2.96296E-6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2.96296E-6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 presetClass="entr" presetSubtype="0" fill="hold" grpId="0" nodeType="withEffect">
                                  <p:stCondLst>
                                    <p:cond delay="0"/>
                                  </p:stCondLst>
                                  <p:childTnLst>
                                    <p:set>
                                      <p:cBhvr>
                                        <p:cTn id="74" dur="1" fill="hold">
                                          <p:stCondLst>
                                            <p:cond delay="499"/>
                                          </p:stCondLst>
                                        </p:cTn>
                                        <p:tgtEl>
                                          <p:spTgt spid="64"/>
                                        </p:tgtEl>
                                        <p:attrNameLst>
                                          <p:attrName>style.visibility</p:attrName>
                                        </p:attrNameLst>
                                      </p:cBhvr>
                                      <p:to>
                                        <p:strVal val="visible"/>
                                      </p:to>
                                    </p:set>
                                  </p:childTnLst>
                                </p:cTn>
                              </p:par>
                              <p:par>
                                <p:cTn id="75" presetID="6" presetClass="emph" presetSubtype="0" accel="100000" autoRev="1" fill="hold" grpId="1" nodeType="withEffect">
                                  <p:stCondLst>
                                    <p:cond delay="0"/>
                                  </p:stCondLst>
                                  <p:childTnLst>
                                    <p:animScale>
                                      <p:cBhvr>
                                        <p:cTn id="76" dur="500" fill="hold"/>
                                        <p:tgtEl>
                                          <p:spTgt spid="64"/>
                                        </p:tgtEl>
                                      </p:cBhvr>
                                      <p:by x="0" y="0"/>
                                    </p:animScale>
                                  </p:childTnLst>
                                </p:cTn>
                              </p:par>
                              <p:par>
                                <p:cTn id="77" presetID="1" presetClass="entr" presetSubtype="0" fill="hold" grpId="0" nodeType="withEffect">
                                  <p:stCondLst>
                                    <p:cond delay="0"/>
                                  </p:stCondLst>
                                  <p:childTnLst>
                                    <p:set>
                                      <p:cBhvr>
                                        <p:cTn id="78" dur="1" fill="hold">
                                          <p:stCondLst>
                                            <p:cond delay="499"/>
                                          </p:stCondLst>
                                        </p:cTn>
                                        <p:tgtEl>
                                          <p:spTgt spid="65"/>
                                        </p:tgtEl>
                                        <p:attrNameLst>
                                          <p:attrName>style.visibility</p:attrName>
                                        </p:attrNameLst>
                                      </p:cBhvr>
                                      <p:to>
                                        <p:strVal val="visible"/>
                                      </p:to>
                                    </p:set>
                                  </p:childTnLst>
                                </p:cTn>
                              </p:par>
                              <p:par>
                                <p:cTn id="79" presetID="6" presetClass="emph" presetSubtype="0" accel="100000" autoRev="1" fill="hold" grpId="1" nodeType="withEffect">
                                  <p:stCondLst>
                                    <p:cond delay="0"/>
                                  </p:stCondLst>
                                  <p:childTnLst>
                                    <p:animScale>
                                      <p:cBhvr>
                                        <p:cTn id="80" dur="500" fill="hold"/>
                                        <p:tgtEl>
                                          <p:spTgt spid="65"/>
                                        </p:tgtEl>
                                      </p:cBhvr>
                                      <p:by x="0" y="0"/>
                                    </p:animScale>
                                  </p:childTnLst>
                                </p:cTn>
                              </p:par>
                              <p:par>
                                <p:cTn id="81" presetID="1" presetClass="entr" presetSubtype="0" fill="hold" grpId="0" nodeType="withEffect">
                                  <p:stCondLst>
                                    <p:cond delay="0"/>
                                  </p:stCondLst>
                                  <p:childTnLst>
                                    <p:set>
                                      <p:cBhvr>
                                        <p:cTn id="82" dur="1" fill="hold">
                                          <p:stCondLst>
                                            <p:cond delay="499"/>
                                          </p:stCondLst>
                                        </p:cTn>
                                        <p:tgtEl>
                                          <p:spTgt spid="63"/>
                                        </p:tgtEl>
                                        <p:attrNameLst>
                                          <p:attrName>style.visibility</p:attrName>
                                        </p:attrNameLst>
                                      </p:cBhvr>
                                      <p:to>
                                        <p:strVal val="visible"/>
                                      </p:to>
                                    </p:set>
                                  </p:childTnLst>
                                </p:cTn>
                              </p:par>
                              <p:par>
                                <p:cTn id="83" presetID="6" presetClass="emph" presetSubtype="0" accel="100000" autoRev="1" fill="hold" grpId="1" nodeType="withEffect">
                                  <p:stCondLst>
                                    <p:cond delay="0"/>
                                  </p:stCondLst>
                                  <p:childTnLst>
                                    <p:animScale>
                                      <p:cBhvr>
                                        <p:cTn id="84" dur="500" fill="hold"/>
                                        <p:tgtEl>
                                          <p:spTgt spid="63"/>
                                        </p:tgtEl>
                                      </p:cBhvr>
                                      <p:by x="0" y="0"/>
                                    </p:animScale>
                                  </p:childTnLst>
                                </p:cTn>
                              </p:par>
                              <p:par>
                                <p:cTn id="85" presetID="1" presetClass="entr" presetSubtype="0" fill="hold" grpId="0" nodeType="withEffect">
                                  <p:stCondLst>
                                    <p:cond delay="0"/>
                                  </p:stCondLst>
                                  <p:childTnLst>
                                    <p:set>
                                      <p:cBhvr>
                                        <p:cTn id="86" dur="1" fill="hold">
                                          <p:stCondLst>
                                            <p:cond delay="499"/>
                                          </p:stCondLst>
                                        </p:cTn>
                                        <p:tgtEl>
                                          <p:spTgt spid="91"/>
                                        </p:tgtEl>
                                        <p:attrNameLst>
                                          <p:attrName>style.visibility</p:attrName>
                                        </p:attrNameLst>
                                      </p:cBhvr>
                                      <p:to>
                                        <p:strVal val="visible"/>
                                      </p:to>
                                    </p:set>
                                  </p:childTnLst>
                                </p:cTn>
                              </p:par>
                              <p:par>
                                <p:cTn id="87" presetID="6" presetClass="emph" presetSubtype="0" accel="100000" autoRev="1" fill="hold" grpId="1" nodeType="withEffect">
                                  <p:stCondLst>
                                    <p:cond delay="0"/>
                                  </p:stCondLst>
                                  <p:childTnLst>
                                    <p:animScale>
                                      <p:cBhvr>
                                        <p:cTn id="88" dur="500" fill="hold"/>
                                        <p:tgtEl>
                                          <p:spTgt spid="91"/>
                                        </p:tgtEl>
                                      </p:cBhvr>
                                      <p:by x="0" y="0"/>
                                    </p:animScale>
                                  </p:childTnLst>
                                </p:cTn>
                              </p:par>
                              <p:par>
                                <p:cTn id="89" presetID="1" presetClass="entr" presetSubtype="0" fill="hold" grpId="0" nodeType="withEffect">
                                  <p:stCondLst>
                                    <p:cond delay="0"/>
                                  </p:stCondLst>
                                  <p:childTnLst>
                                    <p:set>
                                      <p:cBhvr>
                                        <p:cTn id="90" dur="1" fill="hold">
                                          <p:stCondLst>
                                            <p:cond delay="499"/>
                                          </p:stCondLst>
                                        </p:cTn>
                                        <p:tgtEl>
                                          <p:spTgt spid="80"/>
                                        </p:tgtEl>
                                        <p:attrNameLst>
                                          <p:attrName>style.visibility</p:attrName>
                                        </p:attrNameLst>
                                      </p:cBhvr>
                                      <p:to>
                                        <p:strVal val="visible"/>
                                      </p:to>
                                    </p:set>
                                  </p:childTnLst>
                                </p:cTn>
                              </p:par>
                              <p:par>
                                <p:cTn id="91" presetID="6" presetClass="emph" presetSubtype="0" accel="100000" autoRev="1" fill="hold" grpId="1" nodeType="withEffect">
                                  <p:stCondLst>
                                    <p:cond delay="0"/>
                                  </p:stCondLst>
                                  <p:childTnLst>
                                    <p:animScale>
                                      <p:cBhvr>
                                        <p:cTn id="92" dur="500" fill="hold"/>
                                        <p:tgtEl>
                                          <p:spTgt spid="80"/>
                                        </p:tgtEl>
                                      </p:cBhvr>
                                      <p:by x="0" y="0"/>
                                    </p:animScale>
                                  </p:childTnLst>
                                </p:cTn>
                              </p:par>
                              <p:par>
                                <p:cTn id="93" presetID="1" presetClass="entr" presetSubtype="0" fill="hold" grpId="0" nodeType="withEffect">
                                  <p:stCondLst>
                                    <p:cond delay="0"/>
                                  </p:stCondLst>
                                  <p:childTnLst>
                                    <p:set>
                                      <p:cBhvr>
                                        <p:cTn id="94" dur="1" fill="hold">
                                          <p:stCondLst>
                                            <p:cond delay="499"/>
                                          </p:stCondLst>
                                        </p:cTn>
                                        <p:tgtEl>
                                          <p:spTgt spid="71"/>
                                        </p:tgtEl>
                                        <p:attrNameLst>
                                          <p:attrName>style.visibility</p:attrName>
                                        </p:attrNameLst>
                                      </p:cBhvr>
                                      <p:to>
                                        <p:strVal val="visible"/>
                                      </p:to>
                                    </p:set>
                                  </p:childTnLst>
                                </p:cTn>
                              </p:par>
                              <p:par>
                                <p:cTn id="95" presetID="6" presetClass="emph" presetSubtype="0" accel="100000" autoRev="1" fill="hold" grpId="1" nodeType="withEffect">
                                  <p:stCondLst>
                                    <p:cond delay="0"/>
                                  </p:stCondLst>
                                  <p:childTnLst>
                                    <p:animScale>
                                      <p:cBhvr>
                                        <p:cTn id="96" dur="500" fill="hold"/>
                                        <p:tgtEl>
                                          <p:spTgt spid="71"/>
                                        </p:tgtEl>
                                      </p:cBhvr>
                                      <p:by x="0" y="0"/>
                                    </p:animScale>
                                  </p:childTnLst>
                                </p:cTn>
                              </p:par>
                              <p:par>
                                <p:cTn id="97" presetID="1" presetClass="entr" presetSubtype="0" fill="hold" nodeType="withEffect">
                                  <p:stCondLst>
                                    <p:cond delay="0"/>
                                  </p:stCondLst>
                                  <p:childTnLst>
                                    <p:set>
                                      <p:cBhvr>
                                        <p:cTn id="98" dur="1" fill="hold">
                                          <p:stCondLst>
                                            <p:cond delay="499"/>
                                          </p:stCondLst>
                                        </p:cTn>
                                        <p:tgtEl>
                                          <p:spTgt spid="77"/>
                                        </p:tgtEl>
                                        <p:attrNameLst>
                                          <p:attrName>style.visibility</p:attrName>
                                        </p:attrNameLst>
                                      </p:cBhvr>
                                      <p:to>
                                        <p:strVal val="visible"/>
                                      </p:to>
                                    </p:set>
                                  </p:childTnLst>
                                </p:cTn>
                              </p:par>
                              <p:par>
                                <p:cTn id="99" presetID="6" presetClass="emph" presetSubtype="0" accel="100000" autoRev="1" fill="hold" nodeType="withEffect">
                                  <p:stCondLst>
                                    <p:cond delay="0"/>
                                  </p:stCondLst>
                                  <p:childTnLst>
                                    <p:animScale>
                                      <p:cBhvr>
                                        <p:cTn id="100" dur="500" fill="hold"/>
                                        <p:tgtEl>
                                          <p:spTgt spid="77"/>
                                        </p:tgtEl>
                                      </p:cBhvr>
                                      <p:by x="0" y="0"/>
                                    </p:animScale>
                                  </p:childTnLst>
                                </p:cTn>
                              </p:par>
                              <p:par>
                                <p:cTn id="101" presetID="1" presetClass="entr" presetSubtype="0" fill="hold" grpId="0" nodeType="withEffect">
                                  <p:stCondLst>
                                    <p:cond delay="0"/>
                                  </p:stCondLst>
                                  <p:childTnLst>
                                    <p:set>
                                      <p:cBhvr>
                                        <p:cTn id="102" dur="1" fill="hold">
                                          <p:stCondLst>
                                            <p:cond delay="499"/>
                                          </p:stCondLst>
                                        </p:cTn>
                                        <p:tgtEl>
                                          <p:spTgt spid="94"/>
                                        </p:tgtEl>
                                        <p:attrNameLst>
                                          <p:attrName>style.visibility</p:attrName>
                                        </p:attrNameLst>
                                      </p:cBhvr>
                                      <p:to>
                                        <p:strVal val="visible"/>
                                      </p:to>
                                    </p:set>
                                  </p:childTnLst>
                                </p:cTn>
                              </p:par>
                              <p:par>
                                <p:cTn id="103" presetID="6" presetClass="emph" presetSubtype="0" accel="100000" autoRev="1" fill="hold" grpId="1" nodeType="withEffect">
                                  <p:stCondLst>
                                    <p:cond delay="0"/>
                                  </p:stCondLst>
                                  <p:childTnLst>
                                    <p:animScale>
                                      <p:cBhvr>
                                        <p:cTn id="104" dur="500" fill="hold"/>
                                        <p:tgtEl>
                                          <p:spTgt spid="94"/>
                                        </p:tgtEl>
                                      </p:cBhvr>
                                      <p:by x="0" y="0"/>
                                    </p:animScale>
                                  </p:childTnLst>
                                </p:cTn>
                              </p:par>
                              <p:par>
                                <p:cTn id="105" presetID="10" presetClass="entr" presetSubtype="0" fill="hold" grpId="0" nodeType="withEffect">
                                  <p:stCondLst>
                                    <p:cond delay="600"/>
                                  </p:stCondLst>
                                  <p:childTnLst>
                                    <p:set>
                                      <p:cBhvr>
                                        <p:cTn id="106" dur="1" fill="hold">
                                          <p:stCondLst>
                                            <p:cond delay="0"/>
                                          </p:stCondLst>
                                        </p:cTn>
                                        <p:tgtEl>
                                          <p:spTgt spid="53"/>
                                        </p:tgtEl>
                                        <p:attrNameLst>
                                          <p:attrName>style.visibility</p:attrName>
                                        </p:attrNameLst>
                                      </p:cBhvr>
                                      <p:to>
                                        <p:strVal val="visible"/>
                                      </p:to>
                                    </p:set>
                                    <p:animEffect transition="in" filter="fade">
                                      <p:cBhvr>
                                        <p:cTn id="107" dur="400"/>
                                        <p:tgtEl>
                                          <p:spTgt spid="53"/>
                                        </p:tgtEl>
                                      </p:cBhvr>
                                    </p:animEffect>
                                  </p:childTnLst>
                                </p:cTn>
                              </p:par>
                              <p:par>
                                <p:cTn id="108" presetID="42" presetClass="path" presetSubtype="0" decel="100000" fill="hold" grpId="1" nodeType="withEffect">
                                  <p:stCondLst>
                                    <p:cond delay="300"/>
                                  </p:stCondLst>
                                  <p:childTnLst>
                                    <p:animMotion origin="layout" path="M 1.25E-6 3.7037E-7 L 1.25E-6 0.0963 " pathEditMode="relative" rAng="0" ptsTypes="AA">
                                      <p:cBhvr>
                                        <p:cTn id="109" dur="700" spd="-100000" fill="hold"/>
                                        <p:tgtEl>
                                          <p:spTgt spid="53"/>
                                        </p:tgtEl>
                                        <p:attrNameLst>
                                          <p:attrName>ppt_x</p:attrName>
                                          <p:attrName>ppt_y</p:attrName>
                                        </p:attrNameLst>
                                      </p:cBhvr>
                                      <p:rCtr x="0" y="4815"/>
                                    </p:animMotion>
                                  </p:childTnLst>
                                </p:cTn>
                              </p:par>
                              <p:par>
                                <p:cTn id="110" presetID="10" presetClass="entr" presetSubtype="0" fill="hold" grpId="0" nodeType="withEffect">
                                  <p:stCondLst>
                                    <p:cond delay="600"/>
                                  </p:stCondLst>
                                  <p:childTnLst>
                                    <p:set>
                                      <p:cBhvr>
                                        <p:cTn id="111" dur="1" fill="hold">
                                          <p:stCondLst>
                                            <p:cond delay="0"/>
                                          </p:stCondLst>
                                        </p:cTn>
                                        <p:tgtEl>
                                          <p:spTgt spid="59"/>
                                        </p:tgtEl>
                                        <p:attrNameLst>
                                          <p:attrName>style.visibility</p:attrName>
                                        </p:attrNameLst>
                                      </p:cBhvr>
                                      <p:to>
                                        <p:strVal val="visible"/>
                                      </p:to>
                                    </p:set>
                                    <p:animEffect transition="in" filter="fade">
                                      <p:cBhvr>
                                        <p:cTn id="112" dur="400"/>
                                        <p:tgtEl>
                                          <p:spTgt spid="59"/>
                                        </p:tgtEl>
                                      </p:cBhvr>
                                    </p:animEffect>
                                  </p:childTnLst>
                                </p:cTn>
                              </p:par>
                              <p:par>
                                <p:cTn id="113" presetID="42" presetClass="path" presetSubtype="0" decel="100000" fill="hold" grpId="1" nodeType="withEffect">
                                  <p:stCondLst>
                                    <p:cond delay="300"/>
                                  </p:stCondLst>
                                  <p:childTnLst>
                                    <p:animMotion origin="layout" path="M 2.70833E-6 3.7037E-7 L 2.70833E-6 0.0963 " pathEditMode="relative" rAng="0" ptsTypes="AA">
                                      <p:cBhvr>
                                        <p:cTn id="114" dur="700" spd="-100000" fill="hold"/>
                                        <p:tgtEl>
                                          <p:spTgt spid="59"/>
                                        </p:tgtEl>
                                        <p:attrNameLst>
                                          <p:attrName>ppt_x</p:attrName>
                                          <p:attrName>ppt_y</p:attrName>
                                        </p:attrNameLst>
                                      </p:cBhvr>
                                      <p:rCtr x="0" y="4815"/>
                                    </p:animMotion>
                                  </p:childTnLst>
                                </p:cTn>
                              </p:par>
                              <p:par>
                                <p:cTn id="115" presetID="10" presetClass="entr" presetSubtype="0" fill="hold" grpId="0" nodeType="withEffect">
                                  <p:stCondLst>
                                    <p:cond delay="600"/>
                                  </p:stCondLst>
                                  <p:childTnLst>
                                    <p:set>
                                      <p:cBhvr>
                                        <p:cTn id="116" dur="1" fill="hold">
                                          <p:stCondLst>
                                            <p:cond delay="0"/>
                                          </p:stCondLst>
                                        </p:cTn>
                                        <p:tgtEl>
                                          <p:spTgt spid="62"/>
                                        </p:tgtEl>
                                        <p:attrNameLst>
                                          <p:attrName>style.visibility</p:attrName>
                                        </p:attrNameLst>
                                      </p:cBhvr>
                                      <p:to>
                                        <p:strVal val="visible"/>
                                      </p:to>
                                    </p:set>
                                    <p:animEffect transition="in" filter="fade">
                                      <p:cBhvr>
                                        <p:cTn id="117" dur="400"/>
                                        <p:tgtEl>
                                          <p:spTgt spid="62"/>
                                        </p:tgtEl>
                                      </p:cBhvr>
                                    </p:animEffect>
                                  </p:childTnLst>
                                </p:cTn>
                              </p:par>
                              <p:par>
                                <p:cTn id="118" presetID="42" presetClass="path" presetSubtype="0" decel="100000" fill="hold" grpId="1" nodeType="withEffect">
                                  <p:stCondLst>
                                    <p:cond delay="300"/>
                                  </p:stCondLst>
                                  <p:childTnLst>
                                    <p:animMotion origin="layout" path="M 4.375E-6 3.7037E-7 L 4.375E-6 0.0963 " pathEditMode="relative" rAng="0" ptsTypes="AA">
                                      <p:cBhvr>
                                        <p:cTn id="119" dur="700" spd="-100000" fill="hold"/>
                                        <p:tgtEl>
                                          <p:spTgt spid="62"/>
                                        </p:tgtEl>
                                        <p:attrNameLst>
                                          <p:attrName>ppt_x</p:attrName>
                                          <p:attrName>ppt_y</p:attrName>
                                        </p:attrNameLst>
                                      </p:cBhvr>
                                      <p:rCtr x="0" y="4815"/>
                                    </p:animMotion>
                                  </p:childTnLst>
                                </p:cTn>
                              </p:par>
                              <p:par>
                                <p:cTn id="120" presetID="10" presetClass="entr" presetSubtype="0" fill="hold" grpId="0" nodeType="withEffect">
                                  <p:stCondLst>
                                    <p:cond delay="600"/>
                                  </p:stCondLst>
                                  <p:childTnLst>
                                    <p:set>
                                      <p:cBhvr>
                                        <p:cTn id="121" dur="1" fill="hold">
                                          <p:stCondLst>
                                            <p:cond delay="0"/>
                                          </p:stCondLst>
                                        </p:cTn>
                                        <p:tgtEl>
                                          <p:spTgt spid="90"/>
                                        </p:tgtEl>
                                        <p:attrNameLst>
                                          <p:attrName>style.visibility</p:attrName>
                                        </p:attrNameLst>
                                      </p:cBhvr>
                                      <p:to>
                                        <p:strVal val="visible"/>
                                      </p:to>
                                    </p:set>
                                    <p:animEffect transition="in" filter="fade">
                                      <p:cBhvr>
                                        <p:cTn id="122" dur="400"/>
                                        <p:tgtEl>
                                          <p:spTgt spid="90"/>
                                        </p:tgtEl>
                                      </p:cBhvr>
                                    </p:animEffect>
                                  </p:childTnLst>
                                </p:cTn>
                              </p:par>
                              <p:par>
                                <p:cTn id="123" presetID="42" presetClass="path" presetSubtype="0" decel="100000" fill="hold" grpId="1" nodeType="withEffect">
                                  <p:stCondLst>
                                    <p:cond delay="300"/>
                                  </p:stCondLst>
                                  <p:childTnLst>
                                    <p:animMotion origin="layout" path="M -4.16667E-6 3.7037E-7 L -4.16667E-6 0.0963 " pathEditMode="relative" rAng="0" ptsTypes="AA">
                                      <p:cBhvr>
                                        <p:cTn id="124" dur="700" spd="-100000" fill="hold"/>
                                        <p:tgtEl>
                                          <p:spTgt spid="90"/>
                                        </p:tgtEl>
                                        <p:attrNameLst>
                                          <p:attrName>ppt_x</p:attrName>
                                          <p:attrName>ppt_y</p:attrName>
                                        </p:attrNameLst>
                                      </p:cBhvr>
                                      <p:rCtr x="0" y="4815"/>
                                    </p:animMotion>
                                  </p:childTnLst>
                                </p:cTn>
                              </p:par>
                              <p:par>
                                <p:cTn id="125" presetID="10" presetClass="entr" presetSubtype="0" fill="hold" grpId="0" nodeType="withEffect">
                                  <p:stCondLst>
                                    <p:cond delay="600"/>
                                  </p:stCondLst>
                                  <p:childTnLst>
                                    <p:set>
                                      <p:cBhvr>
                                        <p:cTn id="126" dur="1" fill="hold">
                                          <p:stCondLst>
                                            <p:cond delay="0"/>
                                          </p:stCondLst>
                                        </p:cTn>
                                        <p:tgtEl>
                                          <p:spTgt spid="67"/>
                                        </p:tgtEl>
                                        <p:attrNameLst>
                                          <p:attrName>style.visibility</p:attrName>
                                        </p:attrNameLst>
                                      </p:cBhvr>
                                      <p:to>
                                        <p:strVal val="visible"/>
                                      </p:to>
                                    </p:set>
                                    <p:animEffect transition="in" filter="fade">
                                      <p:cBhvr>
                                        <p:cTn id="127" dur="400"/>
                                        <p:tgtEl>
                                          <p:spTgt spid="67"/>
                                        </p:tgtEl>
                                      </p:cBhvr>
                                    </p:animEffect>
                                  </p:childTnLst>
                                </p:cTn>
                              </p:par>
                              <p:par>
                                <p:cTn id="128" presetID="42" presetClass="path" presetSubtype="0" decel="100000" fill="hold" grpId="1" nodeType="withEffect">
                                  <p:stCondLst>
                                    <p:cond delay="300"/>
                                  </p:stCondLst>
                                  <p:childTnLst>
                                    <p:animMotion origin="layout" path="M 1.25E-6 3.33333E-6 L 1.25E-6 -0.09537 " pathEditMode="relative" rAng="0" ptsTypes="AA">
                                      <p:cBhvr>
                                        <p:cTn id="129" dur="700" spd="-100000" fill="hold"/>
                                        <p:tgtEl>
                                          <p:spTgt spid="67"/>
                                        </p:tgtEl>
                                        <p:attrNameLst>
                                          <p:attrName>ppt_x</p:attrName>
                                          <p:attrName>ppt_y</p:attrName>
                                        </p:attrNameLst>
                                      </p:cBhvr>
                                      <p:rCtr x="0" y="-4769"/>
                                    </p:animMotion>
                                  </p:childTnLst>
                                </p:cTn>
                              </p:par>
                              <p:par>
                                <p:cTn id="130" presetID="10" presetClass="entr" presetSubtype="0" fill="hold" grpId="0" nodeType="withEffect">
                                  <p:stCondLst>
                                    <p:cond delay="600"/>
                                  </p:stCondLst>
                                  <p:childTnLst>
                                    <p:set>
                                      <p:cBhvr>
                                        <p:cTn id="131" dur="1" fill="hold">
                                          <p:stCondLst>
                                            <p:cond delay="0"/>
                                          </p:stCondLst>
                                        </p:cTn>
                                        <p:tgtEl>
                                          <p:spTgt spid="70"/>
                                        </p:tgtEl>
                                        <p:attrNameLst>
                                          <p:attrName>style.visibility</p:attrName>
                                        </p:attrNameLst>
                                      </p:cBhvr>
                                      <p:to>
                                        <p:strVal val="visible"/>
                                      </p:to>
                                    </p:set>
                                    <p:animEffect transition="in" filter="fade">
                                      <p:cBhvr>
                                        <p:cTn id="132" dur="400"/>
                                        <p:tgtEl>
                                          <p:spTgt spid="70"/>
                                        </p:tgtEl>
                                      </p:cBhvr>
                                    </p:animEffect>
                                  </p:childTnLst>
                                </p:cTn>
                              </p:par>
                              <p:par>
                                <p:cTn id="133" presetID="42" presetClass="path" presetSubtype="0" decel="100000" fill="hold" grpId="1" nodeType="withEffect">
                                  <p:stCondLst>
                                    <p:cond delay="300"/>
                                  </p:stCondLst>
                                  <p:childTnLst>
                                    <p:animMotion origin="layout" path="M 2.70833E-6 3.33333E-6 L 2.70833E-6 -0.09537 " pathEditMode="relative" rAng="0" ptsTypes="AA">
                                      <p:cBhvr>
                                        <p:cTn id="134" dur="700" spd="-100000" fill="hold"/>
                                        <p:tgtEl>
                                          <p:spTgt spid="70"/>
                                        </p:tgtEl>
                                        <p:attrNameLst>
                                          <p:attrName>ppt_x</p:attrName>
                                          <p:attrName>ppt_y</p:attrName>
                                        </p:attrNameLst>
                                      </p:cBhvr>
                                      <p:rCtr x="0" y="-4769"/>
                                    </p:animMotion>
                                  </p:childTnLst>
                                </p:cTn>
                              </p:par>
                              <p:par>
                                <p:cTn id="135" presetID="10" presetClass="entr" presetSubtype="0" fill="hold" grpId="0" nodeType="withEffect">
                                  <p:stCondLst>
                                    <p:cond delay="60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400"/>
                                        <p:tgtEl>
                                          <p:spTgt spid="76"/>
                                        </p:tgtEl>
                                      </p:cBhvr>
                                    </p:animEffect>
                                  </p:childTnLst>
                                </p:cTn>
                              </p:par>
                              <p:par>
                                <p:cTn id="138" presetID="42" presetClass="path" presetSubtype="0" decel="100000" fill="hold" grpId="1" nodeType="withEffect">
                                  <p:stCondLst>
                                    <p:cond delay="300"/>
                                  </p:stCondLst>
                                  <p:childTnLst>
                                    <p:animMotion origin="layout" path="M 4.375E-6 3.33333E-6 L 4.375E-6 -0.09537 " pathEditMode="relative" rAng="0" ptsTypes="AA">
                                      <p:cBhvr>
                                        <p:cTn id="139" dur="700" spd="-100000" fill="hold"/>
                                        <p:tgtEl>
                                          <p:spTgt spid="76"/>
                                        </p:tgtEl>
                                        <p:attrNameLst>
                                          <p:attrName>ppt_x</p:attrName>
                                          <p:attrName>ppt_y</p:attrName>
                                        </p:attrNameLst>
                                      </p:cBhvr>
                                      <p:rCtr x="0" y="-4769"/>
                                    </p:animMotion>
                                  </p:childTnLst>
                                </p:cTn>
                              </p:par>
                              <p:par>
                                <p:cTn id="140" presetID="10" presetClass="entr" presetSubtype="0" fill="hold" grpId="0" nodeType="withEffect">
                                  <p:stCondLst>
                                    <p:cond delay="600"/>
                                  </p:stCondLst>
                                  <p:childTnLst>
                                    <p:set>
                                      <p:cBhvr>
                                        <p:cTn id="141" dur="1" fill="hold">
                                          <p:stCondLst>
                                            <p:cond delay="0"/>
                                          </p:stCondLst>
                                        </p:cTn>
                                        <p:tgtEl>
                                          <p:spTgt spid="92"/>
                                        </p:tgtEl>
                                        <p:attrNameLst>
                                          <p:attrName>style.visibility</p:attrName>
                                        </p:attrNameLst>
                                      </p:cBhvr>
                                      <p:to>
                                        <p:strVal val="visible"/>
                                      </p:to>
                                    </p:set>
                                    <p:animEffect transition="in" filter="fade">
                                      <p:cBhvr>
                                        <p:cTn id="142" dur="400"/>
                                        <p:tgtEl>
                                          <p:spTgt spid="92"/>
                                        </p:tgtEl>
                                      </p:cBhvr>
                                    </p:animEffect>
                                  </p:childTnLst>
                                </p:cTn>
                              </p:par>
                              <p:par>
                                <p:cTn id="143" presetID="42" presetClass="path" presetSubtype="0" decel="100000" fill="hold" grpId="1" nodeType="withEffect">
                                  <p:stCondLst>
                                    <p:cond delay="300"/>
                                  </p:stCondLst>
                                  <p:childTnLst>
                                    <p:animMotion origin="layout" path="M -4.16667E-6 3.33333E-6 L -4.16667E-6 -0.09537 " pathEditMode="relative" rAng="0" ptsTypes="AA">
                                      <p:cBhvr>
                                        <p:cTn id="144" dur="700" spd="-100000" fill="hold"/>
                                        <p:tgtEl>
                                          <p:spTgt spid="92"/>
                                        </p:tgtEl>
                                        <p:attrNameLst>
                                          <p:attrName>ppt_x</p:attrName>
                                          <p:attrName>ppt_y</p:attrName>
                                        </p:attrNameLst>
                                      </p:cBhvr>
                                      <p:rCtr x="0" y="-4769"/>
                                    </p:animMotion>
                                  </p:childTnLst>
                                </p:cTn>
                              </p:par>
                              <p:par>
                                <p:cTn id="145" presetID="10" presetClass="entr" presetSubtype="0" fill="hold" grpId="0" nodeType="withEffect">
                                  <p:stCondLst>
                                    <p:cond delay="0"/>
                                  </p:stCondLst>
                                  <p:childTnLst>
                                    <p:set>
                                      <p:cBhvr>
                                        <p:cTn id="146" dur="1" fill="hold">
                                          <p:stCondLst>
                                            <p:cond delay="0"/>
                                          </p:stCondLst>
                                        </p:cTn>
                                        <p:tgtEl>
                                          <p:spTgt spid="49"/>
                                        </p:tgtEl>
                                        <p:attrNameLst>
                                          <p:attrName>style.visibility</p:attrName>
                                        </p:attrNameLst>
                                      </p:cBhvr>
                                      <p:to>
                                        <p:strVal val="visible"/>
                                      </p:to>
                                    </p:set>
                                    <p:animEffect transition="in" filter="fade">
                                      <p:cBhvr>
                                        <p:cTn id="147" dur="500"/>
                                        <p:tgtEl>
                                          <p:spTgt spid="49"/>
                                        </p:tgtEl>
                                      </p:cBhvr>
                                    </p:animEffect>
                                  </p:childTnLst>
                                </p:cTn>
                              </p:par>
                              <p:par>
                                <p:cTn id="148" presetID="42" presetClass="path" presetSubtype="0" decel="100000" fill="hold" grpId="1" nodeType="withEffect">
                                  <p:stCondLst>
                                    <p:cond delay="0"/>
                                  </p:stCondLst>
                                  <p:childTnLst>
                                    <p:animMotion origin="layout" path="M 3.75E-6 4.81481E-6 L 3.75E-6 0.04583 " pathEditMode="relative" rAng="0" ptsTypes="AA">
                                      <p:cBhvr>
                                        <p:cTn id="149"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63" grpId="0" animBg="1"/>
      <p:bldP spid="63" grpId="1" animBg="1"/>
      <p:bldP spid="76" grpId="0"/>
      <p:bldP spid="76" grpId="1"/>
      <p:bldP spid="88" grpId="0" animBg="1"/>
      <p:bldP spid="88" grpId="1" animBg="1"/>
      <p:bldP spid="88" grpId="2" animBg="1"/>
      <p:bldP spid="89" grpId="0" animBg="1"/>
      <p:bldP spid="89" grpId="1" animBg="1"/>
      <p:bldP spid="89" grpId="2" animBg="1"/>
      <p:bldP spid="90" grpId="0"/>
      <p:bldP spid="90" grpId="1"/>
      <p:bldP spid="91" grpId="0" animBg="1"/>
      <p:bldP spid="91" grpId="1" animBg="1"/>
      <p:bldP spid="92" grpId="0"/>
      <p:bldP spid="92" grpId="1"/>
      <p:bldP spid="94" grpId="0" animBg="1"/>
      <p:bldP spid="94" grpId="1" animBg="1"/>
      <p:bldP spid="50" grpId="0" animBg="1"/>
      <p:bldP spid="50" grpId="1" animBg="1"/>
      <p:bldP spid="50" grpId="2" animBg="1"/>
      <p:bldP spid="46" grpId="0" animBg="1"/>
      <p:bldP spid="46" grpId="1" animBg="1"/>
      <p:bldP spid="46" grpId="2" animBg="1"/>
      <p:bldP spid="59" grpId="0"/>
      <p:bldP spid="59" grpId="1"/>
      <p:bldP spid="65" grpId="0" animBg="1"/>
      <p:bldP spid="65" grpId="1" animBg="1"/>
      <p:bldP spid="70" grpId="0"/>
      <p:bldP spid="70" grpId="1"/>
      <p:bldP spid="71" grpId="0" animBg="1"/>
      <p:bldP spid="71" grpId="1" animBg="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4" grpId="0" animBg="1"/>
      <p:bldP spid="64" grpId="1" animBg="1"/>
      <p:bldP spid="67" grpId="0"/>
      <p:bldP spid="67" grpId="1"/>
      <p:bldP spid="80" grpId="0" animBg="1"/>
      <p:bldP spid="80" grpId="1" animBg="1"/>
      <p:bldP spid="49" grpId="0"/>
      <p:bldP spid="49"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ight Arrow 70"/>
          <p:cNvSpPr/>
          <p:nvPr/>
        </p:nvSpPr>
        <p:spPr>
          <a:xfrm rot="10800000">
            <a:off x="3426282" y="5438408"/>
            <a:ext cx="5493183" cy="358175"/>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endParaRPr lang="en-US" sz="1224">
              <a:gradFill>
                <a:gsLst>
                  <a:gs pos="98571">
                    <a:schemeClr val="tx1"/>
                  </a:gs>
                  <a:gs pos="72857">
                    <a:schemeClr val="tx1"/>
                  </a:gs>
                </a:gsLst>
                <a:lin ang="5400000" scaled="1"/>
              </a:gradFill>
              <a:latin typeface="Segoe UI"/>
            </a:endParaRPr>
          </a:p>
        </p:txBody>
      </p:sp>
      <p:sp>
        <p:nvSpPr>
          <p:cNvPr id="68" name="Right Arrow 67"/>
          <p:cNvSpPr/>
          <p:nvPr/>
        </p:nvSpPr>
        <p:spPr>
          <a:xfrm>
            <a:off x="2830283" y="2167459"/>
            <a:ext cx="7056979" cy="630494"/>
          </a:xfrm>
          <a:prstGeom prst="rightArrow">
            <a:avLst>
              <a:gd name="adj1" fmla="val 50000"/>
              <a:gd name="adj2" fmla="val 53583"/>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endParaRPr lang="en-US" sz="1224">
              <a:gradFill>
                <a:gsLst>
                  <a:gs pos="98571">
                    <a:schemeClr val="tx1"/>
                  </a:gs>
                  <a:gs pos="72857">
                    <a:schemeClr val="tx1"/>
                  </a:gs>
                </a:gsLst>
                <a:lin ang="5400000" scaled="1"/>
              </a:gradFill>
              <a:latin typeface="Segoe UI"/>
            </a:endParaRPr>
          </a:p>
        </p:txBody>
      </p:sp>
      <p:grpSp>
        <p:nvGrpSpPr>
          <p:cNvPr id="14" name="Group 13"/>
          <p:cNvGrpSpPr/>
          <p:nvPr/>
        </p:nvGrpSpPr>
        <p:grpSpPr>
          <a:xfrm>
            <a:off x="951045" y="1297585"/>
            <a:ext cx="2038534" cy="1975130"/>
            <a:chOff x="930885" y="1271952"/>
            <a:chExt cx="1999028" cy="1936852"/>
          </a:xfrm>
        </p:grpSpPr>
        <p:sp>
          <p:nvSpPr>
            <p:cNvPr id="66" name="Rounded Rectangle 65"/>
            <p:cNvSpPr/>
            <p:nvPr/>
          </p:nvSpPr>
          <p:spPr>
            <a:xfrm>
              <a:off x="1163124" y="1700637"/>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4" name="TextBox 12"/>
            <p:cNvSpPr txBox="1"/>
            <p:nvPr/>
          </p:nvSpPr>
          <p:spPr>
            <a:xfrm>
              <a:off x="930885" y="1271952"/>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2) Code repository</a:t>
              </a:r>
            </a:p>
          </p:txBody>
        </p:sp>
        <p:pic>
          <p:nvPicPr>
            <p:cNvPr id="26" name="Picture 25"/>
            <p:cNvPicPr>
              <a:picLocks noChangeAspect="1"/>
            </p:cNvPicPr>
            <p:nvPr/>
          </p:nvPicPr>
          <p:blipFill>
            <a:blip r:embed="rId3">
              <a:clrChange>
                <a:clrFrom>
                  <a:srgbClr val="FFFFFF"/>
                </a:clrFrom>
                <a:clrTo>
                  <a:srgbClr val="FFFFFF">
                    <a:alpha val="0"/>
                  </a:srgbClr>
                </a:clrTo>
              </a:clrChange>
            </a:blip>
            <a:stretch>
              <a:fillRect/>
            </a:stretch>
          </p:blipFill>
          <p:spPr>
            <a:xfrm>
              <a:off x="1437414" y="2095964"/>
              <a:ext cx="1044949" cy="681651"/>
            </a:xfrm>
            <a:prstGeom prst="rect">
              <a:avLst/>
            </a:prstGeom>
          </p:spPr>
        </p:pic>
      </p:grpSp>
      <p:grpSp>
        <p:nvGrpSpPr>
          <p:cNvPr id="15" name="Group 14"/>
          <p:cNvGrpSpPr/>
          <p:nvPr/>
        </p:nvGrpSpPr>
        <p:grpSpPr>
          <a:xfrm>
            <a:off x="3275415" y="1298144"/>
            <a:ext cx="1646509" cy="1974572"/>
            <a:chOff x="3210208" y="1272500"/>
            <a:chExt cx="1614600" cy="1936305"/>
          </a:xfrm>
        </p:grpSpPr>
        <p:sp>
          <p:nvSpPr>
            <p:cNvPr id="45" name="Rounded Rectangle 44"/>
            <p:cNvSpPr/>
            <p:nvPr/>
          </p:nvSpPr>
          <p:spPr>
            <a:xfrm>
              <a:off x="3210208" y="1700638"/>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56" name="TextBox 55"/>
            <p:cNvSpPr txBox="1"/>
            <p:nvPr/>
          </p:nvSpPr>
          <p:spPr>
            <a:xfrm>
              <a:off x="3210208" y="1272500"/>
              <a:ext cx="1614600"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3) Build</a:t>
              </a:r>
            </a:p>
          </p:txBody>
        </p:sp>
        <p:pic>
          <p:nvPicPr>
            <p:cNvPr id="53" name="Picture 52"/>
            <p:cNvPicPr>
              <a:picLocks noChangeAspect="1"/>
            </p:cNvPicPr>
            <p:nvPr/>
          </p:nvPicPr>
          <p:blipFill>
            <a:blip r:embed="rId4">
              <a:duotone>
                <a:prstClr val="black"/>
                <a:schemeClr val="tx2">
                  <a:tint val="45000"/>
                  <a:satMod val="400000"/>
                </a:schemeClr>
              </a:duotone>
              <a:lum bright="-40000" contrast="-40000"/>
            </a:blip>
            <a:stretch>
              <a:fillRect/>
            </a:stretch>
          </p:blipFill>
          <p:spPr>
            <a:xfrm>
              <a:off x="3397918" y="1997093"/>
              <a:ext cx="1230171" cy="963067"/>
            </a:xfrm>
            <a:prstGeom prst="rect">
              <a:avLst/>
            </a:prstGeom>
            <a:noFill/>
          </p:spPr>
        </p:pic>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4244975" y="1799243"/>
              <a:ext cx="511657" cy="333857"/>
            </a:xfrm>
            <a:prstGeom prst="rect">
              <a:avLst/>
            </a:prstGeom>
          </p:spPr>
        </p:pic>
      </p:grpSp>
      <p:grpSp>
        <p:nvGrpSpPr>
          <p:cNvPr id="33" name="Group 32"/>
          <p:cNvGrpSpPr/>
          <p:nvPr/>
        </p:nvGrpSpPr>
        <p:grpSpPr>
          <a:xfrm>
            <a:off x="9644350" y="1302799"/>
            <a:ext cx="2038534" cy="1971083"/>
            <a:chOff x="9455715" y="1277065"/>
            <a:chExt cx="1999028" cy="1932884"/>
          </a:xfrm>
        </p:grpSpPr>
        <p:sp>
          <p:nvSpPr>
            <p:cNvPr id="58" name="TextBox 57"/>
            <p:cNvSpPr txBox="1"/>
            <p:nvPr/>
          </p:nvSpPr>
          <p:spPr>
            <a:xfrm>
              <a:off x="9455715" y="1277065"/>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6) Publish</a:t>
              </a:r>
            </a:p>
          </p:txBody>
        </p:sp>
        <p:grpSp>
          <p:nvGrpSpPr>
            <p:cNvPr id="27" name="Group 26"/>
            <p:cNvGrpSpPr/>
            <p:nvPr/>
          </p:nvGrpSpPr>
          <p:grpSpPr>
            <a:xfrm>
              <a:off x="9705560" y="1701782"/>
              <a:ext cx="1614600" cy="1508167"/>
              <a:chOff x="9705560" y="1701782"/>
              <a:chExt cx="1614600" cy="1508167"/>
            </a:xfrm>
          </p:grpSpPr>
          <p:sp>
            <p:nvSpPr>
              <p:cNvPr id="57" name="Rounded Rectangle 56"/>
              <p:cNvSpPr/>
              <p:nvPr/>
            </p:nvSpPr>
            <p:spPr>
              <a:xfrm>
                <a:off x="9705560" y="1701782"/>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3" name="Picture 22"/>
              <p:cNvPicPr>
                <a:picLocks noChangeAspect="1"/>
              </p:cNvPicPr>
              <p:nvPr/>
            </p:nvPicPr>
            <p:blipFill>
              <a:blip r:embed="rId5">
                <a:duotone>
                  <a:prstClr val="black"/>
                  <a:schemeClr val="tx2">
                    <a:tint val="45000"/>
                    <a:satMod val="400000"/>
                  </a:schemeClr>
                </a:duotone>
                <a:lum bright="-40000" contrast="-40000"/>
              </a:blip>
              <a:stretch>
                <a:fillRect/>
              </a:stretch>
            </p:blipFill>
            <p:spPr>
              <a:xfrm>
                <a:off x="10052026" y="2020914"/>
                <a:ext cx="910026" cy="915425"/>
              </a:xfrm>
              <a:prstGeom prst="rect">
                <a:avLst/>
              </a:prstGeom>
              <a:noFill/>
            </p:spPr>
          </p:pic>
          <p:pic>
            <p:nvPicPr>
              <p:cNvPr id="61" name="Picture 60"/>
              <p:cNvPicPr>
                <a:picLocks noChangeAspect="1"/>
              </p:cNvPicPr>
              <p:nvPr/>
            </p:nvPicPr>
            <p:blipFill>
              <a:blip r:embed="rId6"/>
              <a:stretch>
                <a:fillRect/>
              </a:stretch>
            </p:blipFill>
            <p:spPr>
              <a:xfrm>
                <a:off x="10820400" y="1833425"/>
                <a:ext cx="375934" cy="377844"/>
              </a:xfrm>
              <a:prstGeom prst="rect">
                <a:avLst/>
              </a:prstGeom>
            </p:spPr>
          </p:pic>
        </p:grpSp>
      </p:grpSp>
      <p:grpSp>
        <p:nvGrpSpPr>
          <p:cNvPr id="30" name="Group 29"/>
          <p:cNvGrpSpPr/>
          <p:nvPr/>
        </p:nvGrpSpPr>
        <p:grpSpPr>
          <a:xfrm>
            <a:off x="5102656" y="4871963"/>
            <a:ext cx="2518190" cy="1855564"/>
            <a:chOff x="5002039" y="4777059"/>
            <a:chExt cx="2469388" cy="1819604"/>
          </a:xfrm>
        </p:grpSpPr>
        <p:sp>
          <p:nvSpPr>
            <p:cNvPr id="11" name="TextBox 10"/>
            <p:cNvSpPr txBox="1"/>
            <p:nvPr/>
          </p:nvSpPr>
          <p:spPr>
            <a:xfrm>
              <a:off x="5002039" y="6237576"/>
              <a:ext cx="2469388" cy="359087"/>
            </a:xfrm>
            <a:prstGeom prst="rect">
              <a:avLst/>
            </a:prstGeom>
          </p:spPr>
          <p:txBody>
            <a:bodyPr vert="horz" wrap="square" lIns="93234" tIns="93234" rIns="93234" bIns="93234" rtlCol="0" anchor="t">
              <a:noAutofit/>
            </a:bodyPr>
            <a:lstStyle/>
            <a:p>
              <a:pP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8) Monitor and improve</a:t>
              </a:r>
            </a:p>
          </p:txBody>
        </p:sp>
        <p:sp>
          <p:nvSpPr>
            <p:cNvPr id="12" name="Rounded Rectangle 11"/>
            <p:cNvSpPr/>
            <p:nvPr/>
          </p:nvSpPr>
          <p:spPr>
            <a:xfrm>
              <a:off x="5045844" y="4777059"/>
              <a:ext cx="2199403" cy="1508167"/>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8" name="Picture 27"/>
            <p:cNvPicPr>
              <a:picLocks noChangeAspect="1"/>
            </p:cNvPicPr>
            <p:nvPr/>
          </p:nvPicPr>
          <p:blipFill>
            <a:blip r:embed="rId7"/>
            <a:stretch>
              <a:fillRect/>
            </a:stretch>
          </p:blipFill>
          <p:spPr>
            <a:xfrm>
              <a:off x="5173167" y="4869185"/>
              <a:ext cx="1956549" cy="1334808"/>
            </a:xfrm>
            <a:prstGeom prst="rect">
              <a:avLst/>
            </a:prstGeom>
            <a:ln>
              <a:solidFill>
                <a:schemeClr val="tx2">
                  <a:lumMod val="50000"/>
                </a:schemeClr>
              </a:solidFill>
            </a:ln>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7898" y="5144832"/>
              <a:ext cx="1829824" cy="964612"/>
            </a:xfrm>
            <a:prstGeom prst="rect">
              <a:avLst/>
            </a:prstGeom>
          </p:spPr>
        </p:pic>
      </p:grpSp>
      <p:grpSp>
        <p:nvGrpSpPr>
          <p:cNvPr id="10" name="Group 9"/>
          <p:cNvGrpSpPr/>
          <p:nvPr/>
        </p:nvGrpSpPr>
        <p:grpSpPr>
          <a:xfrm>
            <a:off x="1486629" y="3272713"/>
            <a:ext cx="1091379" cy="2849719"/>
            <a:chOff x="1456088" y="3208803"/>
            <a:chExt cx="1070229" cy="2794492"/>
          </a:xfrm>
        </p:grpSpPr>
        <p:sp>
          <p:nvSpPr>
            <p:cNvPr id="19" name="Right Arrow 18"/>
            <p:cNvSpPr/>
            <p:nvPr/>
          </p:nvSpPr>
          <p:spPr>
            <a:xfrm rot="16200000">
              <a:off x="929910" y="4406887"/>
              <a:ext cx="2794492"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20" name="Right Arrow 19"/>
            <p:cNvSpPr/>
            <p:nvPr/>
          </p:nvSpPr>
          <p:spPr>
            <a:xfrm rot="16200000">
              <a:off x="258004" y="4406887"/>
              <a:ext cx="2794491"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grpSp>
        <p:nvGrpSpPr>
          <p:cNvPr id="3" name="Group 2"/>
          <p:cNvGrpSpPr/>
          <p:nvPr/>
        </p:nvGrpSpPr>
        <p:grpSpPr>
          <a:xfrm>
            <a:off x="659199" y="5017607"/>
            <a:ext cx="2750931" cy="1719926"/>
            <a:chOff x="644695" y="4919881"/>
            <a:chExt cx="2697618" cy="1686594"/>
          </a:xfrm>
        </p:grpSpPr>
        <p:sp>
          <p:nvSpPr>
            <p:cNvPr id="5" name="TextBox 24"/>
            <p:cNvSpPr txBox="1"/>
            <p:nvPr/>
          </p:nvSpPr>
          <p:spPr>
            <a:xfrm>
              <a:off x="1260419" y="6247388"/>
              <a:ext cx="1691485" cy="359087"/>
            </a:xfrm>
            <a:prstGeom prst="rect">
              <a:avLst/>
            </a:prstGeom>
          </p:spPr>
          <p:txBody>
            <a:bodyPr vert="horz" wrap="square" lIns="93234" tIns="93234" rIns="93234" bIns="93234" rtlCol="0" anchor="t">
              <a:noAutofit/>
            </a:bodyPr>
            <a:lstStyle/>
            <a:p>
              <a:pP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1) Develop</a:t>
              </a:r>
            </a:p>
          </p:txBody>
        </p:sp>
        <p:sp>
          <p:nvSpPr>
            <p:cNvPr id="65" name="Rounded Rectangle 64"/>
            <p:cNvSpPr/>
            <p:nvPr/>
          </p:nvSpPr>
          <p:spPr>
            <a:xfrm>
              <a:off x="644695" y="5184207"/>
              <a:ext cx="2697618" cy="1092463"/>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2" name="Picture 21"/>
            <p:cNvPicPr>
              <a:picLocks noChangeAspect="1"/>
            </p:cNvPicPr>
            <p:nvPr/>
          </p:nvPicPr>
          <p:blipFill>
            <a:blip r:embed="rId9">
              <a:grayscl/>
            </a:blip>
            <a:stretch>
              <a:fillRect/>
            </a:stretch>
          </p:blipFill>
          <p:spPr>
            <a:xfrm>
              <a:off x="724318" y="5282660"/>
              <a:ext cx="2538371" cy="891312"/>
            </a:xfrm>
            <a:prstGeom prst="rect">
              <a:avLst/>
            </a:prstGeom>
            <a:solidFill>
              <a:srgbClr val="00B0F0"/>
            </a:solidFill>
          </p:spPr>
        </p:pic>
        <p:pic>
          <p:nvPicPr>
            <p:cNvPr id="42" name="Picture 41"/>
            <p:cNvPicPr>
              <a:picLocks noChangeAspect="1"/>
            </p:cNvPicPr>
            <p:nvPr/>
          </p:nvPicPr>
          <p:blipFill>
            <a:blip r:embed="rId10"/>
            <a:stretch>
              <a:fillRect/>
            </a:stretch>
          </p:blipFill>
          <p:spPr>
            <a:xfrm>
              <a:off x="2083980" y="4919881"/>
              <a:ext cx="497068" cy="485897"/>
            </a:xfrm>
            <a:prstGeom prst="rect">
              <a:avLst/>
            </a:prstGeom>
            <a:ln>
              <a:noFill/>
            </a:ln>
          </p:spPr>
        </p:pic>
        <p:pic>
          <p:nvPicPr>
            <p:cNvPr id="13" name="Picture 12"/>
            <p:cNvPicPr>
              <a:picLocks noChangeAspect="1"/>
            </p:cNvPicPr>
            <p:nvPr/>
          </p:nvPicPr>
          <p:blipFill>
            <a:blip r:embed="rId11">
              <a:clrChange>
                <a:clrFrom>
                  <a:srgbClr val="000307"/>
                </a:clrFrom>
                <a:clrTo>
                  <a:srgbClr val="000307">
                    <a:alpha val="0"/>
                  </a:srgbClr>
                </a:clrTo>
              </a:clrChange>
            </a:blip>
            <a:stretch>
              <a:fillRect/>
            </a:stretch>
          </p:blipFill>
          <p:spPr>
            <a:xfrm>
              <a:off x="2605941" y="5606310"/>
              <a:ext cx="359192" cy="244010"/>
            </a:xfrm>
            <a:prstGeom prst="rect">
              <a:avLst/>
            </a:prstGeom>
          </p:spPr>
        </p:pic>
        <p:pic>
          <p:nvPicPr>
            <p:cNvPr id="25" name="Picture 24"/>
            <p:cNvPicPr>
              <a:picLocks noChangeAspect="1"/>
            </p:cNvPicPr>
            <p:nvPr/>
          </p:nvPicPr>
          <p:blipFill>
            <a:blip r:embed="rId12">
              <a:clrChange>
                <a:clrFrom>
                  <a:srgbClr val="000307"/>
                </a:clrFrom>
                <a:clrTo>
                  <a:srgbClr val="000307">
                    <a:alpha val="0"/>
                  </a:srgbClr>
                </a:clrTo>
              </a:clrChange>
            </a:blip>
            <a:stretch>
              <a:fillRect/>
            </a:stretch>
          </p:blipFill>
          <p:spPr>
            <a:xfrm>
              <a:off x="1596169" y="5594872"/>
              <a:ext cx="302047" cy="266886"/>
            </a:xfrm>
            <a:prstGeom prst="rect">
              <a:avLst/>
            </a:prstGeom>
          </p:spPr>
        </p:pic>
        <p:pic>
          <p:nvPicPr>
            <p:cNvPr id="21" name="Picture 20"/>
            <p:cNvPicPr>
              <a:picLocks noChangeAspect="1"/>
            </p:cNvPicPr>
            <p:nvPr/>
          </p:nvPicPr>
          <p:blipFill>
            <a:blip r:embed="rId10"/>
            <a:stretch>
              <a:fillRect/>
            </a:stretch>
          </p:blipFill>
          <p:spPr>
            <a:xfrm>
              <a:off x="1406715" y="4919881"/>
              <a:ext cx="497068" cy="485897"/>
            </a:xfrm>
            <a:prstGeom prst="rect">
              <a:avLst/>
            </a:prstGeom>
            <a:ln>
              <a:noFill/>
            </a:ln>
          </p:spPr>
        </p:pic>
      </p:grpSp>
      <p:grpSp>
        <p:nvGrpSpPr>
          <p:cNvPr id="29" name="Group 28"/>
          <p:cNvGrpSpPr/>
          <p:nvPr/>
        </p:nvGrpSpPr>
        <p:grpSpPr>
          <a:xfrm>
            <a:off x="8948280" y="3272715"/>
            <a:ext cx="2864783" cy="3523521"/>
            <a:chOff x="8773135" y="3208805"/>
            <a:chExt cx="2809265" cy="3455236"/>
          </a:xfrm>
        </p:grpSpPr>
        <p:sp>
          <p:nvSpPr>
            <p:cNvPr id="69" name="Right Arrow 68"/>
            <p:cNvSpPr/>
            <p:nvPr/>
          </p:nvSpPr>
          <p:spPr>
            <a:xfrm rot="5400000">
              <a:off x="10149729" y="3288061"/>
              <a:ext cx="534534" cy="376021"/>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a:gradFill>
                  <a:gsLst>
                    <a:gs pos="98571">
                      <a:schemeClr val="tx1"/>
                    </a:gs>
                    <a:gs pos="72857">
                      <a:schemeClr val="tx1"/>
                    </a:gs>
                  </a:gsLst>
                  <a:lin ang="5400000" scaled="1"/>
                </a:gradFill>
                <a:latin typeface="Segoe UI"/>
              </a:endParaRPr>
            </a:p>
          </p:txBody>
        </p:sp>
        <p:sp>
          <p:nvSpPr>
            <p:cNvPr id="8" name="TextBox 32"/>
            <p:cNvSpPr txBox="1"/>
            <p:nvPr/>
          </p:nvSpPr>
          <p:spPr>
            <a:xfrm>
              <a:off x="9246040" y="6304954"/>
              <a:ext cx="1999028" cy="359087"/>
            </a:xfrm>
            <a:prstGeom prst="rect">
              <a:avLst/>
            </a:prstGeom>
          </p:spPr>
          <p:txBody>
            <a:bodyPr vert="horz" wrap="square" lIns="93234" tIns="93234" rIns="93234" bIns="93234" rtlCol="0" anchor="t">
              <a:noAutofit/>
            </a:bodyPr>
            <a:lstStyle/>
            <a:p>
              <a:pPr marL="237915" indent="-237915"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7) Deploy to cloud</a:t>
              </a:r>
            </a:p>
          </p:txBody>
        </p:sp>
        <p:grpSp>
          <p:nvGrpSpPr>
            <p:cNvPr id="9" name="Group 8"/>
            <p:cNvGrpSpPr/>
            <p:nvPr/>
          </p:nvGrpSpPr>
          <p:grpSpPr>
            <a:xfrm>
              <a:off x="9225449" y="3874105"/>
              <a:ext cx="2297718" cy="2145065"/>
              <a:chOff x="8899667" y="3417773"/>
              <a:chExt cx="2688805" cy="2518064"/>
            </a:xfrm>
          </p:grpSpPr>
          <p:sp>
            <p:nvSpPr>
              <p:cNvPr id="32" name="Oval 31"/>
              <p:cNvSpPr/>
              <p:nvPr/>
            </p:nvSpPr>
            <p:spPr>
              <a:xfrm>
                <a:off x="8940447" y="3954918"/>
                <a:ext cx="1980919" cy="1980919"/>
              </a:xfrm>
              <a:prstGeom prst="ellipse">
                <a:avLst/>
              </a:prstGeom>
              <a:noFill/>
              <a:ln w="4445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a:gradFill>
                    <a:gsLst>
                      <a:gs pos="98571">
                        <a:schemeClr val="tx1"/>
                      </a:gs>
                      <a:gs pos="72857">
                        <a:schemeClr val="tx1"/>
                      </a:gs>
                    </a:gsLst>
                    <a:lin ang="5400000" scaled="1"/>
                  </a:gradFill>
                  <a:latin typeface="Segoe UI"/>
                </a:endParaRPr>
              </a:p>
            </p:txBody>
          </p:sp>
          <p:pic>
            <p:nvPicPr>
              <p:cNvPr id="34" name="Picture 33"/>
              <p:cNvPicPr>
                <a:picLocks noChangeAspect="1"/>
              </p:cNvPicPr>
              <p:nvPr/>
            </p:nvPicPr>
            <p:blipFill>
              <a:blip r:embed="rId6"/>
              <a:stretch>
                <a:fillRect/>
              </a:stretch>
            </p:blipFill>
            <p:spPr>
              <a:xfrm>
                <a:off x="8899667" y="4445343"/>
                <a:ext cx="834998" cy="834997"/>
              </a:xfrm>
              <a:prstGeom prst="rect">
                <a:avLst/>
              </a:prstGeom>
            </p:spPr>
          </p:pic>
          <p:grpSp>
            <p:nvGrpSpPr>
              <p:cNvPr id="38" name="Group 37"/>
              <p:cNvGrpSpPr/>
              <p:nvPr/>
            </p:nvGrpSpPr>
            <p:grpSpPr>
              <a:xfrm>
                <a:off x="9788640" y="4736183"/>
                <a:ext cx="280551" cy="280551"/>
                <a:chOff x="8563291" y="2244010"/>
                <a:chExt cx="2020388" cy="2020388"/>
              </a:xfrm>
              <a:solidFill>
                <a:schemeClr val="accent1">
                  <a:lumMod val="60000"/>
                  <a:lumOff val="40000"/>
                </a:schemeClr>
              </a:solidFill>
            </p:grpSpPr>
            <p:sp>
              <p:nvSpPr>
                <p:cNvPr id="36" name="Rectangle 35"/>
                <p:cNvSpPr/>
                <p:nvPr/>
              </p:nvSpPr>
              <p:spPr>
                <a:xfrm>
                  <a:off x="9335801" y="2244010"/>
                  <a:ext cx="475368" cy="2020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solidFill>
                      <a:schemeClr val="bg1">
                        <a:lumMod val="75000"/>
                      </a:schemeClr>
                    </a:solidFill>
                    <a:latin typeface="Segoe UI"/>
                  </a:endParaRPr>
                </a:p>
              </p:txBody>
            </p:sp>
            <p:sp>
              <p:nvSpPr>
                <p:cNvPr id="37" name="Rectangle 36"/>
                <p:cNvSpPr/>
                <p:nvPr/>
              </p:nvSpPr>
              <p:spPr>
                <a:xfrm rot="5400000">
                  <a:off x="9335801" y="2244010"/>
                  <a:ext cx="475368" cy="2020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pic>
            <p:nvPicPr>
              <p:cNvPr id="24" name="Picture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57784" y="3417773"/>
                <a:ext cx="1199630" cy="794246"/>
              </a:xfrm>
              <a:prstGeom prst="rect">
                <a:avLst/>
              </a:prstGeom>
              <a:noFill/>
            </p:spPr>
          </p:pic>
          <p:pic>
            <p:nvPicPr>
              <p:cNvPr id="35" name="Picture 34"/>
              <p:cNvPicPr>
                <a:picLocks noChangeAspect="1"/>
              </p:cNvPicPr>
              <p:nvPr/>
            </p:nvPicPr>
            <p:blipFill>
              <a:blip r:embed="rId15"/>
              <a:stretch>
                <a:fillRect/>
              </a:stretch>
            </p:blipFill>
            <p:spPr>
              <a:xfrm>
                <a:off x="10151702" y="4375412"/>
                <a:ext cx="731692" cy="964503"/>
              </a:xfrm>
              <a:prstGeom prst="rect">
                <a:avLst/>
              </a:prstGeom>
            </p:spPr>
          </p:pic>
          <p:pic>
            <p:nvPicPr>
              <p:cNvPr id="46" name="Picture 45"/>
              <p:cNvPicPr>
                <a:picLocks noChangeAspect="1"/>
              </p:cNvPicPr>
              <p:nvPr/>
            </p:nvPicPr>
            <p:blipFill rotWithShape="1">
              <a:blip r:embed="rId16">
                <a:extLst>
                  <a:ext uri="{28A0092B-C50C-407E-A947-70E740481C1C}">
                    <a14:useLocalDpi xmlns:a14="http://schemas.microsoft.com/office/drawing/2010/main" val="0"/>
                  </a:ext>
                </a:extLst>
              </a:blip>
              <a:srcRect l="69003" t="36823"/>
              <a:stretch/>
            </p:blipFill>
            <p:spPr>
              <a:xfrm>
                <a:off x="10733094" y="4455658"/>
                <a:ext cx="855378" cy="1120742"/>
              </a:xfrm>
              <a:prstGeom prst="rect">
                <a:avLst/>
              </a:prstGeom>
            </p:spPr>
          </p:pic>
        </p:grpSp>
        <p:sp>
          <p:nvSpPr>
            <p:cNvPr id="70" name="Rounded Rectangle 69"/>
            <p:cNvSpPr/>
            <p:nvPr/>
          </p:nvSpPr>
          <p:spPr>
            <a:xfrm>
              <a:off x="8773135" y="3769261"/>
              <a:ext cx="2809265" cy="2569627"/>
            </a:xfrm>
            <a:prstGeom prst="roundRect">
              <a:avLst>
                <a:gd name="adj" fmla="val 5783"/>
              </a:avLst>
            </a:prstGeom>
            <a:noFill/>
            <a:ln w="22225">
              <a:solidFill>
                <a:srgbClr val="B1B1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grpSp>
        <p:nvGrpSpPr>
          <p:cNvPr id="18" name="Group 17"/>
          <p:cNvGrpSpPr/>
          <p:nvPr/>
        </p:nvGrpSpPr>
        <p:grpSpPr>
          <a:xfrm>
            <a:off x="7455157" y="1297585"/>
            <a:ext cx="2038534" cy="1977951"/>
            <a:chOff x="7308948" y="1271952"/>
            <a:chExt cx="1999028" cy="1939619"/>
          </a:xfrm>
        </p:grpSpPr>
        <p:sp>
          <p:nvSpPr>
            <p:cNvPr id="7" name="TextBox 30"/>
            <p:cNvSpPr txBox="1"/>
            <p:nvPr/>
          </p:nvSpPr>
          <p:spPr>
            <a:xfrm>
              <a:off x="7308948" y="1271952"/>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5) Validate</a:t>
              </a:r>
            </a:p>
          </p:txBody>
        </p:sp>
        <p:sp>
          <p:nvSpPr>
            <p:cNvPr id="41" name="Rounded Rectangle 40"/>
            <p:cNvSpPr/>
            <p:nvPr/>
          </p:nvSpPr>
          <p:spPr>
            <a:xfrm>
              <a:off x="7534686" y="1703404"/>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54" name="Picture 53"/>
            <p:cNvPicPr>
              <a:picLocks noChangeAspect="1"/>
            </p:cNvPicPr>
            <p:nvPr/>
          </p:nvPicPr>
          <p:blipFill>
            <a:blip r:embed="rId17"/>
            <a:stretch>
              <a:fillRect/>
            </a:stretch>
          </p:blipFill>
          <p:spPr>
            <a:xfrm>
              <a:off x="7733828" y="1987918"/>
              <a:ext cx="1185392" cy="864567"/>
            </a:xfrm>
            <a:prstGeom prst="rect">
              <a:avLst/>
            </a:prstGeom>
          </p:spPr>
        </p:pic>
        <p:pic>
          <p:nvPicPr>
            <p:cNvPr id="75" name="Picture 74"/>
            <p:cNvPicPr>
              <a:picLocks noChangeAspect="1"/>
            </p:cNvPicPr>
            <p:nvPr/>
          </p:nvPicPr>
          <p:blipFill>
            <a:blip r:embed="rId3">
              <a:clrChange>
                <a:clrFrom>
                  <a:srgbClr val="FFFFFF"/>
                </a:clrFrom>
                <a:clrTo>
                  <a:srgbClr val="FFFFFF">
                    <a:alpha val="0"/>
                  </a:srgbClr>
                </a:clrTo>
              </a:clrChange>
            </a:blip>
            <a:stretch>
              <a:fillRect/>
            </a:stretch>
          </p:blipFill>
          <p:spPr>
            <a:xfrm>
              <a:off x="8517305" y="1799243"/>
              <a:ext cx="511657" cy="333857"/>
            </a:xfrm>
            <a:prstGeom prst="rect">
              <a:avLst/>
            </a:prstGeom>
          </p:spPr>
        </p:pic>
      </p:grpSp>
      <p:grpSp>
        <p:nvGrpSpPr>
          <p:cNvPr id="17" name="Group 16"/>
          <p:cNvGrpSpPr/>
          <p:nvPr/>
        </p:nvGrpSpPr>
        <p:grpSpPr>
          <a:xfrm>
            <a:off x="5254594" y="1129198"/>
            <a:ext cx="2038534" cy="2224152"/>
            <a:chOff x="5151032" y="1106827"/>
            <a:chExt cx="1999028" cy="2181050"/>
          </a:xfrm>
        </p:grpSpPr>
        <p:sp>
          <p:nvSpPr>
            <p:cNvPr id="6" name="TextBox 25"/>
            <p:cNvSpPr txBox="1"/>
            <p:nvPr/>
          </p:nvSpPr>
          <p:spPr>
            <a:xfrm>
              <a:off x="5151032" y="1106827"/>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4) Deploy to staging slot</a:t>
              </a:r>
            </a:p>
          </p:txBody>
        </p:sp>
        <p:sp>
          <p:nvSpPr>
            <p:cNvPr id="40" name="Rounded Rectangle 39"/>
            <p:cNvSpPr/>
            <p:nvPr/>
          </p:nvSpPr>
          <p:spPr>
            <a:xfrm>
              <a:off x="5379025" y="1703404"/>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16" name="Picture 15"/>
            <p:cNvPicPr>
              <a:picLocks noChangeAspect="1"/>
            </p:cNvPicPr>
            <p:nvPr/>
          </p:nvPicPr>
          <p:blipFill>
            <a:blip r:embed="rId18"/>
            <a:stretch>
              <a:fillRect/>
            </a:stretch>
          </p:blipFill>
          <p:spPr>
            <a:xfrm>
              <a:off x="5587445" y="2060479"/>
              <a:ext cx="984394" cy="966655"/>
            </a:xfrm>
            <a:prstGeom prst="rect">
              <a:avLst/>
            </a:prstGeom>
          </p:spPr>
        </p:pic>
        <p:pic>
          <p:nvPicPr>
            <p:cNvPr id="39" name="Picture 38"/>
            <p:cNvPicPr>
              <a:picLocks noChangeAspect="1"/>
            </p:cNvPicPr>
            <p:nvPr/>
          </p:nvPicPr>
          <p:blipFill>
            <a:blip r:embed="rId19"/>
            <a:stretch>
              <a:fillRect/>
            </a:stretch>
          </p:blipFill>
          <p:spPr>
            <a:xfrm>
              <a:off x="6297223" y="3278899"/>
              <a:ext cx="9612" cy="8978"/>
            </a:xfrm>
            <a:prstGeom prst="rect">
              <a:avLst/>
            </a:prstGeom>
          </p:spPr>
        </p:pic>
        <p:pic>
          <p:nvPicPr>
            <p:cNvPr id="76" name="Picture 75"/>
            <p:cNvPicPr>
              <a:picLocks noChangeAspect="1"/>
            </p:cNvPicPr>
            <p:nvPr/>
          </p:nvPicPr>
          <p:blipFill>
            <a:blip r:embed="rId6"/>
            <a:stretch>
              <a:fillRect/>
            </a:stretch>
          </p:blipFill>
          <p:spPr>
            <a:xfrm>
              <a:off x="6495010" y="1833425"/>
              <a:ext cx="375934" cy="377844"/>
            </a:xfrm>
            <a:prstGeom prst="rect">
              <a:avLst/>
            </a:prstGeom>
          </p:spPr>
        </p:pic>
      </p:grpSp>
      <p:pic>
        <p:nvPicPr>
          <p:cNvPr id="67" name="Picture 66"/>
          <p:cNvPicPr>
            <a:picLocks noChangeAspect="1"/>
          </p:cNvPicPr>
          <p:nvPr/>
        </p:nvPicPr>
        <p:blipFill>
          <a:blip r:embed="rId20"/>
          <a:stretch>
            <a:fillRect/>
          </a:stretch>
        </p:blipFill>
        <p:spPr>
          <a:xfrm>
            <a:off x="7101486" y="4108266"/>
            <a:ext cx="939886" cy="892210"/>
          </a:xfrm>
          <a:prstGeom prst="rect">
            <a:avLst/>
          </a:prstGeom>
        </p:spPr>
      </p:pic>
      <p:sp>
        <p:nvSpPr>
          <p:cNvPr id="77" name="TextBox 76"/>
          <p:cNvSpPr txBox="1"/>
          <p:nvPr/>
        </p:nvSpPr>
        <p:spPr>
          <a:xfrm>
            <a:off x="5851972" y="3997568"/>
            <a:ext cx="1833384" cy="769156"/>
          </a:xfrm>
          <a:prstGeom prst="rect">
            <a:avLst/>
          </a:prstGeom>
          <a:noFill/>
        </p:spPr>
        <p:txBody>
          <a:bodyPr wrap="square" lIns="182854" tIns="146283" rIns="182854" bIns="146283" rtlCol="0">
            <a:spAutoFit/>
          </a:bodyPr>
          <a:lstStyle/>
          <a:p>
            <a:pPr algn="ctr">
              <a:lnSpc>
                <a:spcPct val="90000"/>
              </a:lnSpc>
              <a:spcAft>
                <a:spcPts val="600"/>
              </a:spcAft>
            </a:pPr>
            <a:r>
              <a:rPr lang="en-GB" sz="1399">
                <a:gradFill>
                  <a:gsLst>
                    <a:gs pos="2917">
                      <a:schemeClr val="tx1"/>
                    </a:gs>
                    <a:gs pos="30000">
                      <a:schemeClr val="tx1"/>
                    </a:gs>
                  </a:gsLst>
                  <a:lin ang="5400000" scaled="0"/>
                </a:gradFill>
              </a:rPr>
              <a:t>Application </a:t>
            </a:r>
          </a:p>
          <a:p>
            <a:pPr algn="ctr">
              <a:lnSpc>
                <a:spcPct val="90000"/>
              </a:lnSpc>
              <a:spcAft>
                <a:spcPts val="600"/>
              </a:spcAft>
            </a:pPr>
            <a:r>
              <a:rPr lang="en-GB" sz="1399">
                <a:gradFill>
                  <a:gsLst>
                    <a:gs pos="2917">
                      <a:schemeClr val="tx1"/>
                    </a:gs>
                    <a:gs pos="30000">
                      <a:schemeClr val="tx1"/>
                    </a:gs>
                  </a:gsLst>
                  <a:lin ang="5400000" scaled="0"/>
                </a:gradFill>
              </a:rPr>
              <a:t>Insights</a:t>
            </a:r>
          </a:p>
        </p:txBody>
      </p:sp>
      <p:sp>
        <p:nvSpPr>
          <p:cNvPr id="2" name="Title 1"/>
          <p:cNvSpPr>
            <a:spLocks noGrp="1"/>
          </p:cNvSpPr>
          <p:nvPr>
            <p:ph type="title"/>
          </p:nvPr>
        </p:nvSpPr>
        <p:spPr/>
        <p:txBody>
          <a:bodyPr/>
          <a:lstStyle/>
          <a:p>
            <a:r>
              <a:rPr lang="en-GB"/>
              <a:t>DevOps Made Easy with Azure Web Apps </a:t>
            </a:r>
          </a:p>
        </p:txBody>
      </p:sp>
    </p:spTree>
    <p:extLst>
      <p:ext uri="{BB962C8B-B14F-4D97-AF65-F5344CB8AC3E}">
        <p14:creationId xmlns:p14="http://schemas.microsoft.com/office/powerpoint/2010/main" val="426358922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DevOps CI/CD Toolchain</a:t>
            </a:r>
          </a:p>
        </p:txBody>
      </p:sp>
      <p:graphicFrame>
        <p:nvGraphicFramePr>
          <p:cNvPr id="4" name="Content Placeholder 3"/>
          <p:cNvGraphicFramePr>
            <a:graphicFrameLocks noGrp="1"/>
          </p:cNvGraphicFramePr>
          <p:nvPr>
            <p:ph idx="1"/>
            <p:extLst/>
          </p:nvPr>
        </p:nvGraphicFramePr>
        <p:xfrm>
          <a:off x="705756" y="3896768"/>
          <a:ext cx="11334022" cy="170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3"/>
          <p:cNvGraphicFramePr>
            <a:graphicFrameLocks/>
          </p:cNvGraphicFramePr>
          <p:nvPr>
            <p:extLst/>
          </p:nvPr>
        </p:nvGraphicFramePr>
        <p:xfrm>
          <a:off x="705755" y="2371339"/>
          <a:ext cx="11334022" cy="17096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p:cNvSpPr txBox="1"/>
          <p:nvPr/>
        </p:nvSpPr>
        <p:spPr>
          <a:xfrm>
            <a:off x="846053" y="3753919"/>
            <a:ext cx="11184368" cy="499630"/>
          </a:xfrm>
          <a:prstGeom prst="rect">
            <a:avLst/>
          </a:prstGeom>
          <a:noFill/>
        </p:spPr>
        <p:txBody>
          <a:bodyPr wrap="square" rtlCol="0" anchor="ctr">
            <a:spAutoFit/>
          </a:bodyPr>
          <a:lstStyle/>
          <a:p>
            <a:pPr>
              <a:lnSpc>
                <a:spcPts val="3060"/>
              </a:lnSpc>
            </a:pPr>
            <a:r>
              <a:rPr lang="en-GB" sz="1836"/>
              <a:t>IDE/Tools       </a:t>
            </a:r>
            <a:r>
              <a:rPr lang="en-GB" sz="3672"/>
              <a:t>›</a:t>
            </a:r>
            <a:r>
              <a:rPr lang="en-GB" sz="1836"/>
              <a:t>    Source Repo   </a:t>
            </a:r>
            <a:r>
              <a:rPr lang="en-GB" sz="3672"/>
              <a:t>›</a:t>
            </a:r>
            <a:r>
              <a:rPr lang="en-GB" sz="1836"/>
              <a:t>     CI / Build       </a:t>
            </a:r>
            <a:r>
              <a:rPr lang="en-GB" sz="3672"/>
              <a:t>›</a:t>
            </a:r>
            <a:r>
              <a:rPr lang="en-GB" sz="1836"/>
              <a:t>       Deploy         </a:t>
            </a:r>
            <a:r>
              <a:rPr lang="en-GB" sz="3672"/>
              <a:t>›</a:t>
            </a:r>
            <a:r>
              <a:rPr lang="en-GB" sz="1836"/>
              <a:t>      Platform       </a:t>
            </a:r>
            <a:r>
              <a:rPr lang="en-GB" sz="3672"/>
              <a:t>›</a:t>
            </a:r>
            <a:r>
              <a:rPr lang="en-GB" sz="1836"/>
              <a:t>     App Stack</a:t>
            </a:r>
          </a:p>
        </p:txBody>
      </p:sp>
      <p:sp>
        <p:nvSpPr>
          <p:cNvPr id="3" name="TextBox 2"/>
          <p:cNvSpPr txBox="1"/>
          <p:nvPr/>
        </p:nvSpPr>
        <p:spPr>
          <a:xfrm>
            <a:off x="3168410" y="1884893"/>
            <a:ext cx="6408712" cy="627864"/>
          </a:xfrm>
          <a:prstGeom prst="rect">
            <a:avLst/>
          </a:prstGeom>
          <a:solidFill>
            <a:srgbClr val="0E744D"/>
          </a:solidFill>
        </p:spPr>
        <p:txBody>
          <a:bodyPr wrap="square" lIns="182880" tIns="146304" rIns="182880" bIns="146304" rtlCol="0">
            <a:spAutoFit/>
          </a:bodyPr>
          <a:lstStyle/>
          <a:p>
            <a:pPr algn="ctr">
              <a:lnSpc>
                <a:spcPct val="90000"/>
              </a:lnSpc>
              <a:spcAft>
                <a:spcPts val="600"/>
              </a:spcAft>
            </a:pPr>
            <a:r>
              <a:rPr lang="en-GB" sz="2400">
                <a:solidFill>
                  <a:schemeClr val="bg1"/>
                </a:solidFill>
              </a:rPr>
              <a:t>A typical open-source DevOps pipeline</a:t>
            </a:r>
          </a:p>
        </p:txBody>
      </p:sp>
      <p:sp>
        <p:nvSpPr>
          <p:cNvPr id="7" name="TextBox 6"/>
          <p:cNvSpPr txBox="1"/>
          <p:nvPr/>
        </p:nvSpPr>
        <p:spPr>
          <a:xfrm>
            <a:off x="3168410" y="5435381"/>
            <a:ext cx="6408712" cy="627864"/>
          </a:xfrm>
          <a:prstGeom prst="rect">
            <a:avLst/>
          </a:prstGeom>
          <a:solidFill>
            <a:srgbClr val="0078D7"/>
          </a:solidFill>
        </p:spPr>
        <p:txBody>
          <a:bodyPr wrap="square" lIns="182880" tIns="146304" rIns="182880" bIns="146304" rtlCol="0">
            <a:spAutoFit/>
          </a:bodyPr>
          <a:lstStyle/>
          <a:p>
            <a:pPr algn="ctr">
              <a:lnSpc>
                <a:spcPct val="90000"/>
              </a:lnSpc>
              <a:spcAft>
                <a:spcPts val="600"/>
              </a:spcAft>
            </a:pPr>
            <a:r>
              <a:rPr lang="en-GB" sz="2400">
                <a:solidFill>
                  <a:schemeClr val="bg1"/>
                </a:solidFill>
              </a:rPr>
              <a:t>The Microsoft end-to-end toolset</a:t>
            </a:r>
          </a:p>
        </p:txBody>
      </p:sp>
    </p:spTree>
    <p:extLst>
      <p:ext uri="{BB962C8B-B14F-4D97-AF65-F5344CB8AC3E}">
        <p14:creationId xmlns:p14="http://schemas.microsoft.com/office/powerpoint/2010/main" val="2990339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6" grpId="0">
        <p:bldAsOne/>
      </p:bldGraphic>
      <p:bldP spid="3" grpId="0" animBg="1"/>
      <p:bldP spid="7"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DevOps CI/CD Toolchain</a:t>
            </a:r>
          </a:p>
        </p:txBody>
      </p:sp>
      <p:graphicFrame>
        <p:nvGraphicFramePr>
          <p:cNvPr id="4" name="Content Placeholder 3"/>
          <p:cNvGraphicFramePr>
            <a:graphicFrameLocks noGrp="1"/>
          </p:cNvGraphicFramePr>
          <p:nvPr>
            <p:ph idx="1"/>
            <p:extLst/>
          </p:nvPr>
        </p:nvGraphicFramePr>
        <p:xfrm>
          <a:off x="705756" y="3896768"/>
          <a:ext cx="11334022" cy="170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553568" y="4339871"/>
            <a:ext cx="2058718" cy="823487"/>
            <a:chOff x="2553568" y="4339871"/>
            <a:chExt cx="2058718" cy="823487"/>
          </a:xfrm>
        </p:grpSpPr>
        <p:sp>
          <p:nvSpPr>
            <p:cNvPr id="12" name="Arrow: Chevron 11"/>
            <p:cNvSpPr/>
            <p:nvPr/>
          </p:nvSpPr>
          <p:spPr>
            <a:xfrm>
              <a:off x="2553568" y="4339871"/>
              <a:ext cx="2058718" cy="823487"/>
            </a:xfrm>
            <a:prstGeom prst="chevron">
              <a:avLst/>
            </a:prstGeom>
          </p:spPr>
          <p:style>
            <a:lnRef idx="2">
              <a:schemeClr val="lt1">
                <a:hueOff val="0"/>
                <a:satOff val="0"/>
                <a:lumOff val="0"/>
                <a:alphaOff val="0"/>
              </a:schemeClr>
            </a:lnRef>
            <a:fillRef idx="1">
              <a:schemeClr val="accent2">
                <a:shade val="80000"/>
                <a:hueOff val="-91011"/>
                <a:satOff val="-6647"/>
                <a:lumOff val="6649"/>
                <a:alphaOff val="0"/>
              </a:schemeClr>
            </a:fillRef>
            <a:effectRef idx="0">
              <a:schemeClr val="accent2">
                <a:shade val="80000"/>
                <a:hueOff val="-91011"/>
                <a:satOff val="-6647"/>
                <a:lumOff val="6649"/>
                <a:alphaOff val="0"/>
              </a:schemeClr>
            </a:effectRef>
            <a:fontRef idx="minor">
              <a:schemeClr val="lt1"/>
            </a:fontRef>
          </p:style>
        </p:sp>
        <p:sp>
          <p:nvSpPr>
            <p:cNvPr id="13" name="Arrow: Chevron 4"/>
            <p:cNvSpPr txBox="1"/>
            <p:nvPr/>
          </p:nvSpPr>
          <p:spPr>
            <a:xfrm>
              <a:off x="2965312" y="4339871"/>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Git / Github</a:t>
              </a:r>
            </a:p>
          </p:txBody>
        </p:sp>
      </p:grpSp>
      <p:grpSp>
        <p:nvGrpSpPr>
          <p:cNvPr id="5" name="Group 4"/>
          <p:cNvGrpSpPr/>
          <p:nvPr/>
        </p:nvGrpSpPr>
        <p:grpSpPr>
          <a:xfrm>
            <a:off x="6263444" y="4339872"/>
            <a:ext cx="2058718" cy="823487"/>
            <a:chOff x="6263444" y="4339872"/>
            <a:chExt cx="2058718" cy="823487"/>
          </a:xfrm>
        </p:grpSpPr>
        <p:sp>
          <p:nvSpPr>
            <p:cNvPr id="15" name="Arrow: Chevron 14"/>
            <p:cNvSpPr/>
            <p:nvPr/>
          </p:nvSpPr>
          <p:spPr>
            <a:xfrm>
              <a:off x="6263444" y="4339872"/>
              <a:ext cx="2058718" cy="823487"/>
            </a:xfrm>
            <a:prstGeom prst="chevron">
              <a:avLst/>
            </a:prstGeom>
          </p:spPr>
          <p:style>
            <a:lnRef idx="2">
              <a:schemeClr val="lt1">
                <a:hueOff val="0"/>
                <a:satOff val="0"/>
                <a:lumOff val="0"/>
                <a:alphaOff val="0"/>
              </a:schemeClr>
            </a:lnRef>
            <a:fillRef idx="1">
              <a:schemeClr val="accent2">
                <a:shade val="80000"/>
                <a:hueOff val="-273033"/>
                <a:satOff val="-19940"/>
                <a:lumOff val="19946"/>
                <a:alphaOff val="0"/>
              </a:schemeClr>
            </a:fillRef>
            <a:effectRef idx="0">
              <a:schemeClr val="accent2">
                <a:shade val="80000"/>
                <a:hueOff val="-273033"/>
                <a:satOff val="-19940"/>
                <a:lumOff val="19946"/>
                <a:alphaOff val="0"/>
              </a:schemeClr>
            </a:effectRef>
            <a:fontRef idx="minor">
              <a:schemeClr val="lt1"/>
            </a:fontRef>
          </p:style>
        </p:sp>
        <p:sp>
          <p:nvSpPr>
            <p:cNvPr id="16" name="Arrow: Chevron 4"/>
            <p:cNvSpPr txBox="1"/>
            <p:nvPr/>
          </p:nvSpPr>
          <p:spPr>
            <a:xfrm>
              <a:off x="6675188" y="4339872"/>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Chef / Puppet</a:t>
              </a:r>
            </a:p>
          </p:txBody>
        </p:sp>
      </p:grpSp>
      <p:grpSp>
        <p:nvGrpSpPr>
          <p:cNvPr id="3" name="Group 2"/>
          <p:cNvGrpSpPr/>
          <p:nvPr/>
        </p:nvGrpSpPr>
        <p:grpSpPr>
          <a:xfrm>
            <a:off x="9973320" y="4339871"/>
            <a:ext cx="2058718" cy="823487"/>
            <a:chOff x="9973320" y="4339871"/>
            <a:chExt cx="2058718" cy="823487"/>
          </a:xfrm>
        </p:grpSpPr>
        <p:sp>
          <p:nvSpPr>
            <p:cNvPr id="18" name="Arrow: Chevron 17"/>
            <p:cNvSpPr/>
            <p:nvPr/>
          </p:nvSpPr>
          <p:spPr>
            <a:xfrm>
              <a:off x="9973320" y="4339871"/>
              <a:ext cx="2058718" cy="823487"/>
            </a:xfrm>
            <a:prstGeom prst="chevron">
              <a:avLst/>
            </a:prstGeom>
          </p:spPr>
          <p:style>
            <a:lnRef idx="2">
              <a:schemeClr val="lt1">
                <a:hueOff val="0"/>
                <a:satOff val="0"/>
                <a:lumOff val="0"/>
                <a:alphaOff val="0"/>
              </a:schemeClr>
            </a:lnRef>
            <a:fillRef idx="1">
              <a:schemeClr val="accent2">
                <a:shade val="80000"/>
                <a:hueOff val="-455056"/>
                <a:satOff val="-33233"/>
                <a:lumOff val="33243"/>
                <a:alphaOff val="0"/>
              </a:schemeClr>
            </a:fillRef>
            <a:effectRef idx="0">
              <a:schemeClr val="accent2">
                <a:shade val="80000"/>
                <a:hueOff val="-455056"/>
                <a:satOff val="-33233"/>
                <a:lumOff val="33243"/>
                <a:alphaOff val="0"/>
              </a:schemeClr>
            </a:effectRef>
            <a:fontRef idx="minor">
              <a:schemeClr val="lt1"/>
            </a:fontRef>
          </p:style>
        </p:sp>
        <p:sp>
          <p:nvSpPr>
            <p:cNvPr id="19" name="Arrow: Chevron 4"/>
            <p:cNvSpPr txBox="1"/>
            <p:nvPr/>
          </p:nvSpPr>
          <p:spPr>
            <a:xfrm>
              <a:off x="10385064" y="4339871"/>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Linux Java/Node</a:t>
              </a:r>
            </a:p>
          </p:txBody>
        </p:sp>
      </p:grpSp>
      <p:sp>
        <p:nvSpPr>
          <p:cNvPr id="20" name="TextBox 19"/>
          <p:cNvSpPr txBox="1"/>
          <p:nvPr/>
        </p:nvSpPr>
        <p:spPr>
          <a:xfrm>
            <a:off x="846053" y="3753919"/>
            <a:ext cx="11184368" cy="499630"/>
          </a:xfrm>
          <a:prstGeom prst="rect">
            <a:avLst/>
          </a:prstGeom>
          <a:noFill/>
        </p:spPr>
        <p:txBody>
          <a:bodyPr wrap="square" rtlCol="0" anchor="ctr">
            <a:spAutoFit/>
          </a:bodyPr>
          <a:lstStyle/>
          <a:p>
            <a:pPr>
              <a:lnSpc>
                <a:spcPts val="3060"/>
              </a:lnSpc>
            </a:pPr>
            <a:r>
              <a:rPr lang="en-GB" sz="1836"/>
              <a:t>IDE/Tools       </a:t>
            </a:r>
            <a:r>
              <a:rPr lang="en-GB" sz="3672"/>
              <a:t>›</a:t>
            </a:r>
            <a:r>
              <a:rPr lang="en-GB" sz="1836"/>
              <a:t>    Source Repo   </a:t>
            </a:r>
            <a:r>
              <a:rPr lang="en-GB" sz="3672"/>
              <a:t>›</a:t>
            </a:r>
            <a:r>
              <a:rPr lang="en-GB" sz="1836"/>
              <a:t>     CI / Build       </a:t>
            </a:r>
            <a:r>
              <a:rPr lang="en-GB" sz="3672"/>
              <a:t>›</a:t>
            </a:r>
            <a:r>
              <a:rPr lang="en-GB" sz="1836"/>
              <a:t>       Deploy         </a:t>
            </a:r>
            <a:r>
              <a:rPr lang="en-GB" sz="3672"/>
              <a:t>›</a:t>
            </a:r>
            <a:r>
              <a:rPr lang="en-GB" sz="1836"/>
              <a:t>      Platform       </a:t>
            </a:r>
            <a:r>
              <a:rPr lang="en-GB" sz="3672"/>
              <a:t>›</a:t>
            </a:r>
            <a:r>
              <a:rPr lang="en-GB" sz="1836"/>
              <a:t>     App Stack</a:t>
            </a:r>
          </a:p>
        </p:txBody>
      </p:sp>
      <p:sp>
        <p:nvSpPr>
          <p:cNvPr id="21" name="TextBox 20"/>
          <p:cNvSpPr txBox="1"/>
          <p:nvPr/>
        </p:nvSpPr>
        <p:spPr>
          <a:xfrm>
            <a:off x="3168411" y="5435381"/>
            <a:ext cx="6408712" cy="627864"/>
          </a:xfrm>
          <a:prstGeom prst="rect">
            <a:avLst/>
          </a:prstGeom>
          <a:gradFill flip="none" rotWithShape="1">
            <a:gsLst>
              <a:gs pos="31000">
                <a:srgbClr val="0E744D"/>
              </a:gs>
              <a:gs pos="77000">
                <a:srgbClr val="0078D7"/>
              </a:gs>
            </a:gsLst>
            <a:lin ang="18900000" scaled="1"/>
            <a:tileRect/>
          </a:gradFill>
        </p:spPr>
        <p:txBody>
          <a:bodyPr wrap="square" lIns="182880" tIns="146304" rIns="182880" bIns="146304" rtlCol="0">
            <a:spAutoFit/>
          </a:bodyPr>
          <a:lstStyle/>
          <a:p>
            <a:pPr algn="ctr">
              <a:lnSpc>
                <a:spcPct val="90000"/>
              </a:lnSpc>
              <a:spcAft>
                <a:spcPts val="600"/>
              </a:spcAft>
            </a:pPr>
            <a:r>
              <a:rPr lang="en-GB" sz="2400">
                <a:solidFill>
                  <a:schemeClr val="bg1"/>
                </a:solidFill>
              </a:rPr>
              <a:t>Combine best of Microsoft &amp; open-source</a:t>
            </a:r>
          </a:p>
        </p:txBody>
      </p:sp>
    </p:spTree>
    <p:extLst>
      <p:ext uri="{BB962C8B-B14F-4D97-AF65-F5344CB8AC3E}">
        <p14:creationId xmlns:p14="http://schemas.microsoft.com/office/powerpoint/2010/main" val="4016905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0 0 L 0 -0.25 E" pathEditMode="relative" ptsTypes="">
                                      <p:cBhvr>
                                        <p:cTn id="6" dur="1000" fill="hold"/>
                                        <p:tgtEl>
                                          <p:spTgt spid="4"/>
                                        </p:tgtEl>
                                        <p:attrNameLst>
                                          <p:attrName>ppt_x</p:attrName>
                                          <p:attrName>ppt_y</p:attrName>
                                        </p:attrNameLst>
                                      </p:cBhvr>
                                    </p:animMotion>
                                  </p:childTnLst>
                                </p:cTn>
                              </p:par>
                              <p:par>
                                <p:cTn id="7" presetID="64" presetClass="path" presetSubtype="0" accel="50000" decel="50000" fill="hold" nodeType="withEffect">
                                  <p:stCondLst>
                                    <p:cond delay="0"/>
                                  </p:stCondLst>
                                  <p:childTnLst>
                                    <p:animMotion origin="layout" path="M 0 0 L 0 -0.25 E" pathEditMode="relative" ptsTypes="">
                                      <p:cBhvr>
                                        <p:cTn id="8" dur="1000" fill="hold"/>
                                        <p:tgtEl>
                                          <p:spTgt spid="6"/>
                                        </p:tgtEl>
                                        <p:attrNameLst>
                                          <p:attrName>ppt_x</p:attrName>
                                          <p:attrName>ppt_y</p:attrName>
                                        </p:attrNameLst>
                                      </p:cBhvr>
                                    </p:animMotion>
                                  </p:childTnLst>
                                </p:cTn>
                              </p:par>
                              <p:par>
                                <p:cTn id="9" presetID="64" presetClass="path" presetSubtype="0" accel="50000" decel="50000" fill="hold" nodeType="withEffect">
                                  <p:stCondLst>
                                    <p:cond delay="0"/>
                                  </p:stCondLst>
                                  <p:childTnLst>
                                    <p:animMotion origin="layout" path="M 0 0 L 0 -0.25 E" pathEditMode="relative" ptsTypes="">
                                      <p:cBhvr>
                                        <p:cTn id="10" dur="1000" fill="hold"/>
                                        <p:tgtEl>
                                          <p:spTgt spid="5"/>
                                        </p:tgtEl>
                                        <p:attrNameLst>
                                          <p:attrName>ppt_x</p:attrName>
                                          <p:attrName>ppt_y</p:attrName>
                                        </p:attrNameLst>
                                      </p:cBhvr>
                                    </p:animMotion>
                                  </p:childTnLst>
                                </p:cTn>
                              </p:par>
                              <p:par>
                                <p:cTn id="11" presetID="64" presetClass="path" presetSubtype="0" accel="50000" decel="50000" fill="hold" nodeType="withEffect">
                                  <p:stCondLst>
                                    <p:cond delay="0"/>
                                  </p:stCondLst>
                                  <p:childTnLst>
                                    <p:animMotion origin="layout" path="M 0 0 L 0 -0.25 E" pathEditMode="relative" ptsTypes="">
                                      <p:cBhvr>
                                        <p:cTn id="12" dur="1000" fill="hold"/>
                                        <p:tgtEl>
                                          <p:spTgt spid="3"/>
                                        </p:tgtEl>
                                        <p:attrNameLst>
                                          <p:attrName>ppt_x</p:attrName>
                                          <p:attrName>ppt_y</p:attrName>
                                        </p:attrNameLst>
                                      </p:cBhvr>
                                    </p:animMotion>
                                  </p:childTnLst>
                                </p:cTn>
                              </p:par>
                              <p:par>
                                <p:cTn id="13" presetID="64" presetClass="path" presetSubtype="0" accel="50000" decel="50000" fill="hold" grpId="0" nodeType="withEffect">
                                  <p:stCondLst>
                                    <p:cond delay="0"/>
                                  </p:stCondLst>
                                  <p:childTnLst>
                                    <p:animMotion origin="layout" path="M 0 0 L 0 -0.25 E" pathEditMode="relative" ptsTypes="">
                                      <p:cBhvr>
                                        <p:cTn id="14" dur="1000" fill="hold"/>
                                        <p:tgtEl>
                                          <p:spTgt spid="20"/>
                                        </p:tgtEl>
                                        <p:attrNameLst>
                                          <p:attrName>ppt_x</p:attrName>
                                          <p:attrName>ppt_y</p:attrName>
                                        </p:attrNameLst>
                                      </p:cBhvr>
                                    </p:animMotion>
                                  </p:childTnLst>
                                </p:cTn>
                              </p:par>
                              <p:par>
                                <p:cTn id="15" presetID="64" presetClass="path" presetSubtype="0" accel="50000" decel="50000" fill="hold" grpId="0" nodeType="withEffect">
                                  <p:stCondLst>
                                    <p:cond delay="0"/>
                                  </p:stCondLst>
                                  <p:childTnLst>
                                    <p:animMotion origin="layout" path="M 0 0 L 0 -0.25 E" pathEditMode="relative" ptsTypes="">
                                      <p:cBhvr>
                                        <p:cTn id="16" dur="1000" fill="hold"/>
                                        <p:tgtEl>
                                          <p:spTgt spid="21"/>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20" grpId="0"/>
      <p:bldP spid="21"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0991" y="182562"/>
            <a:ext cx="2595597" cy="2112143"/>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2250" y="6469062"/>
            <a:ext cx="4114800" cy="5254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2" name="Title 1">
            <a:extLst>
              <a:ext uri="{FF2B5EF4-FFF2-40B4-BE49-F238E27FC236}">
                <a16:creationId xmlns:a16="http://schemas.microsoft.com/office/drawing/2014/main" id="{B492732E-C7A5-4871-8509-5E39C13F516A}"/>
              </a:ext>
            </a:extLst>
          </p:cNvPr>
          <p:cNvSpPr>
            <a:spLocks noGrp="1"/>
          </p:cNvSpPr>
          <p:nvPr>
            <p:ph type="title"/>
          </p:nvPr>
        </p:nvSpPr>
        <p:spPr>
          <a:xfrm>
            <a:off x="121118" y="201022"/>
            <a:ext cx="4681858" cy="917575"/>
          </a:xfrm>
        </p:spPr>
        <p:txBody>
          <a:bodyPr/>
          <a:lstStyle/>
          <a:p>
            <a:r>
              <a:rPr lang="en-US" sz="4400" kern="0" spc="0">
                <a:ln>
                  <a:noFill/>
                </a:ln>
                <a:solidFill>
                  <a:schemeClr val="tx1"/>
                </a:solidFill>
                <a:cs typeface="Segoe UI Light" panose="020B0502040204020203" pitchFamily="34" charset="0"/>
              </a:rPr>
              <a:t>TS</a:t>
            </a:r>
            <a:r>
              <a:rPr lang="en-US" sz="4400" kern="0" spc="-100">
                <a:ln>
                  <a:noFill/>
                </a:ln>
                <a:solidFill>
                  <a:schemeClr val="tx1"/>
                </a:solidFill>
                <a:cs typeface="Segoe UI Light" panose="020B0502040204020203" pitchFamily="34" charset="0"/>
              </a:rPr>
              <a:t> </a:t>
            </a:r>
            <a:r>
              <a:rPr lang="en-US" sz="4400" kern="0" spc="-100">
                <a:ln>
                  <a:noFill/>
                </a:ln>
                <a:solidFill>
                  <a:schemeClr val="tx1"/>
                </a:solidFill>
                <a:latin typeface="Segoe UI" panose="020B0502040204020203" pitchFamily="34" charset="0"/>
                <a:sym typeface="Webdings" panose="05030102010509060703" pitchFamily="18" charset="2"/>
              </a:rPr>
              <a:t>♥</a:t>
            </a:r>
            <a:r>
              <a:rPr lang="en-US" sz="4400" kern="0" spc="-100">
                <a:ln>
                  <a:noFill/>
                </a:ln>
                <a:solidFill>
                  <a:schemeClr val="tx1"/>
                </a:solidFill>
                <a:cs typeface="Segoe UI Light" panose="020B0502040204020203" pitchFamily="34" charset="0"/>
                <a:sym typeface="Webdings" panose="05030102010509060703" pitchFamily="18" charset="2"/>
              </a:rPr>
              <a:t> </a:t>
            </a:r>
            <a:r>
              <a:rPr lang="en-US" sz="4400" kern="0" spc="0">
                <a:ln>
                  <a:noFill/>
                </a:ln>
                <a:solidFill>
                  <a:schemeClr val="tx1"/>
                </a:solidFill>
                <a:cs typeface="Segoe UI Light" panose="020B0502040204020203" pitchFamily="34" charset="0"/>
              </a:rPr>
              <a:t>integration</a:t>
            </a:r>
            <a:endParaRPr lang="en-US" sz="4400">
              <a:solidFill>
                <a:schemeClr val="tx1"/>
              </a:solidFill>
            </a:endParaRPr>
          </a:p>
        </p:txBody>
      </p:sp>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8197" y="2034540"/>
            <a:ext cx="1580859" cy="1583029"/>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50" normalizeH="0" baseline="0" noProof="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2976" y="3826963"/>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6037" y="392388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07874" y="3877704"/>
            <a:ext cx="533763" cy="533763"/>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16152" y="4002927"/>
            <a:ext cx="1093689" cy="256333"/>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67810" y="3906115"/>
            <a:ext cx="712027" cy="480619"/>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14668" y="3888220"/>
            <a:ext cx="1174369" cy="48574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652702" y="3843196"/>
            <a:ext cx="851535" cy="670573"/>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48765" y="4909955"/>
            <a:ext cx="1436072" cy="47749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78881" y="4909955"/>
            <a:ext cx="1341758"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9597" y="5285183"/>
            <a:ext cx="994840" cy="621158"/>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50049" y="5304678"/>
            <a:ext cx="1249788" cy="554784"/>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406683" y="3956977"/>
            <a:ext cx="1508443" cy="311745"/>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49524" y="5871101"/>
            <a:ext cx="1879523" cy="452080"/>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32874" y="2288539"/>
            <a:ext cx="1071563" cy="294323"/>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41280" y="3040062"/>
            <a:ext cx="609600" cy="609600"/>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23483" y="3060724"/>
            <a:ext cx="1458076" cy="463402"/>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54512" y="3540124"/>
            <a:ext cx="1313688" cy="441960"/>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42637" y="1439862"/>
            <a:ext cx="906410" cy="565944"/>
          </a:xfrm>
          <a:prstGeom prst="rect">
            <a:avLst/>
          </a:prstGeom>
        </p:spPr>
      </p:pic>
      <p:pic>
        <p:nvPicPr>
          <p:cNvPr id="4" name="Graphic 3">
            <a:extLst>
              <a:ext uri="{FF2B5EF4-FFF2-40B4-BE49-F238E27FC236}">
                <a16:creationId xmlns:a16="http://schemas.microsoft.com/office/drawing/2014/main" id="{53073A8F-FDD1-4BD3-A3C2-E491BA2FA30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405460" y="339840"/>
            <a:ext cx="648343" cy="525529"/>
          </a:xfrm>
          <a:prstGeom prst="rect">
            <a:avLst/>
          </a:prstGeom>
        </p:spPr>
      </p:pic>
      <p:pic>
        <p:nvPicPr>
          <p:cNvPr id="6" name="Graphic 5">
            <a:extLst>
              <a:ext uri="{FF2B5EF4-FFF2-40B4-BE49-F238E27FC236}">
                <a16:creationId xmlns:a16="http://schemas.microsoft.com/office/drawing/2014/main" id="{C71F4613-5AF4-48DC-93CD-C3D6108194C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163663" y="3612567"/>
            <a:ext cx="739033" cy="739033"/>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85856" y="2069770"/>
            <a:ext cx="1024826" cy="454923"/>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4"/>
          <a:stretch>
            <a:fillRect/>
          </a:stretch>
        </p:blipFill>
        <p:spPr>
          <a:xfrm>
            <a:off x="7973568" y="3035808"/>
            <a:ext cx="1032672" cy="362988"/>
          </a:xfrm>
          <a:prstGeom prst="rect">
            <a:avLst/>
          </a:prstGeom>
        </p:spPr>
      </p:pic>
      <p:pic>
        <p:nvPicPr>
          <p:cNvPr id="1026" name="Picture 2" descr="https://dt-cdn.net/wp-content/uploads/2016/12/dynatrace_logo.png">
            <a:extLst>
              <a:ext uri="{FF2B5EF4-FFF2-40B4-BE49-F238E27FC236}">
                <a16:creationId xmlns:a16="http://schemas.microsoft.com/office/drawing/2014/main" id="{1B622895-46E9-4DD2-8400-749CD21B5034}"/>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421750" y="665745"/>
            <a:ext cx="677862" cy="67786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4952" y="3794760"/>
            <a:ext cx="0" cy="694092"/>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6">
            <a:clrChange>
              <a:clrFrom>
                <a:srgbClr val="FFFFFF"/>
              </a:clrFrom>
              <a:clrTo>
                <a:srgbClr val="FFFFFF">
                  <a:alpha val="0"/>
                </a:srgbClr>
              </a:clrTo>
            </a:clrChange>
          </a:blip>
          <a:srcRect t="29072" b="29279"/>
          <a:stretch/>
        </p:blipFill>
        <p:spPr>
          <a:xfrm>
            <a:off x="8269035" y="367006"/>
            <a:ext cx="1057275" cy="29832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7">
            <a:clrChange>
              <a:clrFrom>
                <a:srgbClr val="FFFFFF"/>
              </a:clrFrom>
              <a:clrTo>
                <a:srgbClr val="FFFFFF">
                  <a:alpha val="0"/>
                </a:srgbClr>
              </a:clrTo>
            </a:clrChange>
          </a:blip>
          <a:srcRect t="32118" b="33546"/>
          <a:stretch/>
        </p:blipFill>
        <p:spPr>
          <a:xfrm>
            <a:off x="7256588" y="980388"/>
            <a:ext cx="1096273" cy="282312"/>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8">
            <a:clrChange>
              <a:clrFrom>
                <a:srgbClr val="FFFFFF"/>
              </a:clrFrom>
              <a:clrTo>
                <a:srgbClr val="FFFFFF">
                  <a:alpha val="0"/>
                </a:srgbClr>
              </a:clrTo>
            </a:clrChange>
          </a:blip>
          <a:srcRect t="32609" b="32682"/>
          <a:stretch/>
        </p:blipFill>
        <p:spPr>
          <a:xfrm>
            <a:off x="6242361" y="812210"/>
            <a:ext cx="1014228" cy="35202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38927" y="2039111"/>
            <a:ext cx="1609344" cy="1609344"/>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Tree>
    <p:extLst>
      <p:ext uri="{BB962C8B-B14F-4D97-AF65-F5344CB8AC3E}">
        <p14:creationId xmlns:p14="http://schemas.microsoft.com/office/powerpoint/2010/main" val="106785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50"/>
                                        <p:tgtEl>
                                          <p:spTgt spid="12"/>
                                        </p:tgtEl>
                                      </p:cBhvr>
                                    </p:animEffect>
                                  </p:childTnLst>
                                </p:cTn>
                              </p:par>
                            </p:childTnLst>
                          </p:cTn>
                        </p:par>
                        <p:par>
                          <p:cTn id="8" fill="hold">
                            <p:stCondLst>
                              <p:cond delay="15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150"/>
                                        <p:tgtEl>
                                          <p:spTgt spid="13"/>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50"/>
                                        <p:tgtEl>
                                          <p:spTgt spid="11"/>
                                        </p:tgtEl>
                                      </p:cBhvr>
                                    </p:animEffect>
                                  </p:childTnLst>
                                </p:cTn>
                              </p:par>
                            </p:childTnLst>
                          </p:cTn>
                        </p:par>
                        <p:par>
                          <p:cTn id="16" fill="hold">
                            <p:stCondLst>
                              <p:cond delay="4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50"/>
                                        <p:tgtEl>
                                          <p:spTgt spid="20"/>
                                        </p:tgtEl>
                                      </p:cBhvr>
                                    </p:animEffect>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50"/>
                                        <p:tgtEl>
                                          <p:spTgt spid="21"/>
                                        </p:tgtEl>
                                      </p:cBhvr>
                                    </p:animEffect>
                                  </p:childTnLst>
                                </p:cTn>
                              </p:par>
                            </p:childTnLst>
                          </p:cTn>
                        </p:par>
                        <p:par>
                          <p:cTn id="24" fill="hold">
                            <p:stCondLst>
                              <p:cond delay="7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50"/>
                                        <p:tgtEl>
                                          <p:spTgt spid="22"/>
                                        </p:tgtEl>
                                      </p:cBhvr>
                                    </p:animEffect>
                                  </p:childTnLst>
                                </p:cTn>
                              </p:par>
                            </p:childTnLst>
                          </p:cTn>
                        </p:par>
                        <p:par>
                          <p:cTn id="28" fill="hold">
                            <p:stCondLst>
                              <p:cond delay="900"/>
                            </p:stCondLst>
                            <p:childTnLst>
                              <p:par>
                                <p:cTn id="29" presetID="10" presetClass="entr" presetSubtype="0"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50"/>
                                        <p:tgtEl>
                                          <p:spTgt spid="23"/>
                                        </p:tgtEl>
                                      </p:cBhvr>
                                    </p:animEffect>
                                  </p:childTnLst>
                                </p:cTn>
                              </p:par>
                            </p:childTnLst>
                          </p:cTn>
                        </p:par>
                        <p:par>
                          <p:cTn id="32" fill="hold">
                            <p:stCondLst>
                              <p:cond delay="1050"/>
                            </p:stCondLst>
                            <p:childTnLst>
                              <p:par>
                                <p:cTn id="33" presetID="10" presetClass="entr" presetSubtype="0"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50"/>
                                        <p:tgtEl>
                                          <p:spTgt spid="24"/>
                                        </p:tgtEl>
                                      </p:cBhvr>
                                    </p:animEffect>
                                  </p:childTnLst>
                                </p:cTn>
                              </p:par>
                            </p:childTnLst>
                          </p:cTn>
                        </p:par>
                        <p:par>
                          <p:cTn id="36" fill="hold">
                            <p:stCondLst>
                              <p:cond delay="1200"/>
                            </p:stCondLst>
                            <p:childTnLst>
                              <p:par>
                                <p:cTn id="37" presetID="10" presetClass="entr" presetSubtype="0"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50"/>
                                        <p:tgtEl>
                                          <p:spTgt spid="25"/>
                                        </p:tgtEl>
                                      </p:cBhvr>
                                    </p:animEffect>
                                  </p:childTnLst>
                                </p:cTn>
                              </p:par>
                            </p:childTnLst>
                          </p:cTn>
                        </p:par>
                        <p:par>
                          <p:cTn id="40" fill="hold">
                            <p:stCondLst>
                              <p:cond delay="135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50"/>
                                        <p:tgtEl>
                                          <p:spTgt spid="2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150"/>
                                        <p:tgtEl>
                                          <p:spTgt spid="27"/>
                                        </p:tgtEl>
                                      </p:cBhvr>
                                    </p:animEffect>
                                  </p:childTnLst>
                                </p:cTn>
                              </p:par>
                            </p:childTnLst>
                          </p:cTn>
                        </p:par>
                        <p:par>
                          <p:cTn id="48" fill="hold">
                            <p:stCondLst>
                              <p:cond delay="1650"/>
                            </p:stCondLst>
                            <p:childTnLst>
                              <p:par>
                                <p:cTn id="49" presetID="10" presetClass="entr" presetSubtype="0"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50"/>
                                        <p:tgtEl>
                                          <p:spTgt spid="28"/>
                                        </p:tgtEl>
                                      </p:cBhvr>
                                    </p:animEffect>
                                  </p:childTnLst>
                                </p:cTn>
                              </p:par>
                            </p:childTnLst>
                          </p:cTn>
                        </p:par>
                        <p:par>
                          <p:cTn id="52" fill="hold">
                            <p:stCondLst>
                              <p:cond delay="18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50"/>
                                        <p:tgtEl>
                                          <p:spTgt spid="29"/>
                                        </p:tgtEl>
                                      </p:cBhvr>
                                    </p:animEffect>
                                  </p:childTnLst>
                                </p:cTn>
                              </p:par>
                            </p:childTnLst>
                          </p:cTn>
                        </p:par>
                        <p:par>
                          <p:cTn id="56" fill="hold">
                            <p:stCondLst>
                              <p:cond delay="19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50"/>
                                        <p:tgtEl>
                                          <p:spTgt spid="30"/>
                                        </p:tgtEl>
                                      </p:cBhvr>
                                    </p:animEffect>
                                  </p:childTnLst>
                                </p:cTn>
                              </p:par>
                            </p:childTnLst>
                          </p:cTn>
                        </p:par>
                        <p:par>
                          <p:cTn id="60" fill="hold">
                            <p:stCondLst>
                              <p:cond delay="2100"/>
                            </p:stCondLst>
                            <p:childTnLst>
                              <p:par>
                                <p:cTn id="61" presetID="10" presetClass="entr" presetSubtype="0" fill="hold"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150"/>
                                        <p:tgtEl>
                                          <p:spTgt spid="32"/>
                                        </p:tgtEl>
                                      </p:cBhvr>
                                    </p:animEffect>
                                  </p:childTnLst>
                                </p:cTn>
                              </p:par>
                            </p:childTnLst>
                          </p:cTn>
                        </p:par>
                        <p:par>
                          <p:cTn id="64" fill="hold">
                            <p:stCondLst>
                              <p:cond delay="2250"/>
                            </p:stCondLst>
                            <p:childTnLst>
                              <p:par>
                                <p:cTn id="65" presetID="10"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150"/>
                                        <p:tgtEl>
                                          <p:spTgt spid="16"/>
                                        </p:tgtEl>
                                      </p:cBhvr>
                                    </p:animEffect>
                                  </p:childTnLst>
                                </p:cTn>
                              </p:par>
                            </p:childTnLst>
                          </p:cTn>
                        </p:par>
                        <p:par>
                          <p:cTn id="68" fill="hold">
                            <p:stCondLst>
                              <p:cond delay="2400"/>
                            </p:stCondLst>
                            <p:childTnLst>
                              <p:par>
                                <p:cTn id="69" presetID="10" presetClass="entr" presetSubtype="0" fill="hold" nodeType="after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150"/>
                                        <p:tgtEl>
                                          <p:spTgt spid="39"/>
                                        </p:tgtEl>
                                      </p:cBhvr>
                                    </p:animEffect>
                                  </p:childTnLst>
                                </p:cTn>
                              </p:par>
                            </p:childTnLst>
                          </p:cTn>
                        </p:par>
                        <p:par>
                          <p:cTn id="72" fill="hold">
                            <p:stCondLst>
                              <p:cond delay="2550"/>
                            </p:stCondLst>
                            <p:childTnLst>
                              <p:par>
                                <p:cTn id="73" presetID="10" presetClass="entr" presetSubtype="0" fill="hold" nodeType="after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50"/>
                                        <p:tgtEl>
                                          <p:spTgt spid="40"/>
                                        </p:tgtEl>
                                      </p:cBhvr>
                                    </p:animEffect>
                                  </p:childTnLst>
                                </p:cTn>
                              </p:par>
                            </p:childTnLst>
                          </p:cTn>
                        </p:par>
                        <p:par>
                          <p:cTn id="76" fill="hold">
                            <p:stCondLst>
                              <p:cond delay="2700"/>
                            </p:stCondLst>
                            <p:childTnLst>
                              <p:par>
                                <p:cTn id="77" presetID="10" presetClass="entr" presetSubtype="0" fill="hold" nodeType="afterEffect">
                                  <p:stCondLst>
                                    <p:cond delay="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150"/>
                                        <p:tgtEl>
                                          <p:spTgt spid="41"/>
                                        </p:tgtEl>
                                      </p:cBhvr>
                                    </p:animEffect>
                                  </p:childTnLst>
                                </p:cTn>
                              </p:par>
                            </p:childTnLst>
                          </p:cTn>
                        </p:par>
                        <p:par>
                          <p:cTn id="80" fill="hold">
                            <p:stCondLst>
                              <p:cond delay="2850"/>
                            </p:stCondLst>
                            <p:childTnLst>
                              <p:par>
                                <p:cTn id="81" presetID="10" presetClass="entr" presetSubtype="0" fill="hold"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50"/>
                                        <p:tgtEl>
                                          <p:spTgt spid="42"/>
                                        </p:tgtEl>
                                      </p:cBhvr>
                                    </p:animEffect>
                                  </p:childTnLst>
                                </p:cTn>
                              </p:par>
                            </p:childTnLst>
                          </p:cTn>
                        </p:par>
                        <p:par>
                          <p:cTn id="84" fill="hold">
                            <p:stCondLst>
                              <p:cond delay="3000"/>
                            </p:stCondLst>
                            <p:childTnLst>
                              <p:par>
                                <p:cTn id="85" presetID="10" presetClass="entr" presetSubtype="0" fill="hold" nodeType="after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150"/>
                                        <p:tgtEl>
                                          <p:spTgt spid="44"/>
                                        </p:tgtEl>
                                      </p:cBhvr>
                                    </p:animEffect>
                                  </p:childTnLst>
                                </p:cTn>
                              </p:par>
                            </p:childTnLst>
                          </p:cTn>
                        </p:par>
                        <p:par>
                          <p:cTn id="88" fill="hold">
                            <p:stCondLst>
                              <p:cond delay="3150"/>
                            </p:stCondLst>
                            <p:childTnLst>
                              <p:par>
                                <p:cTn id="89" presetID="10" presetClass="entr" presetSubtype="0" fill="hold" nodeType="after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150"/>
                                        <p:tgtEl>
                                          <p:spTgt spid="45"/>
                                        </p:tgtEl>
                                      </p:cBhvr>
                                    </p:animEffect>
                                  </p:childTnLst>
                                </p:cTn>
                              </p:par>
                            </p:childTnLst>
                          </p:cTn>
                        </p:par>
                        <p:par>
                          <p:cTn id="92" fill="hold">
                            <p:stCondLst>
                              <p:cond delay="3300"/>
                            </p:stCondLst>
                            <p:childTnLst>
                              <p:par>
                                <p:cTn id="93" presetID="10" presetClass="entr" presetSubtype="0" fill="hold" nodeType="after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150"/>
                                        <p:tgtEl>
                                          <p:spTgt spid="46"/>
                                        </p:tgtEl>
                                      </p:cBhvr>
                                    </p:animEffect>
                                  </p:childTnLst>
                                </p:cTn>
                              </p:par>
                            </p:childTnLst>
                          </p:cTn>
                        </p:par>
                        <p:par>
                          <p:cTn id="96" fill="hold">
                            <p:stCondLst>
                              <p:cond delay="3450"/>
                            </p:stCondLst>
                            <p:childTnLst>
                              <p:par>
                                <p:cTn id="97" presetID="10" presetClass="entr" presetSubtype="0" fill="hold" nodeType="afterEffect">
                                  <p:stCondLst>
                                    <p:cond delay="0"/>
                                  </p:stCondLst>
                                  <p:childTnLst>
                                    <p:set>
                                      <p:cBhvr>
                                        <p:cTn id="98" dur="1" fill="hold">
                                          <p:stCondLst>
                                            <p:cond delay="0"/>
                                          </p:stCondLst>
                                        </p:cTn>
                                        <p:tgtEl>
                                          <p:spTgt spid="47"/>
                                        </p:tgtEl>
                                        <p:attrNameLst>
                                          <p:attrName>style.visibility</p:attrName>
                                        </p:attrNameLst>
                                      </p:cBhvr>
                                      <p:to>
                                        <p:strVal val="visible"/>
                                      </p:to>
                                    </p:set>
                                    <p:animEffect transition="in" filter="fade">
                                      <p:cBhvr>
                                        <p:cTn id="99" dur="150"/>
                                        <p:tgtEl>
                                          <p:spTgt spid="47"/>
                                        </p:tgtEl>
                                      </p:cBhvr>
                                    </p:animEffect>
                                  </p:childTnLst>
                                </p:cTn>
                              </p:par>
                            </p:childTnLst>
                          </p:cTn>
                        </p:par>
                        <p:par>
                          <p:cTn id="100" fill="hold">
                            <p:stCondLst>
                              <p:cond delay="3600"/>
                            </p:stCondLst>
                            <p:childTnLst>
                              <p:par>
                                <p:cTn id="101" presetID="10" presetClass="entr" presetSubtype="0" fill="hold" nodeType="afterEffect">
                                  <p:stCondLst>
                                    <p:cond delay="0"/>
                                  </p:stCondLst>
                                  <p:childTnLst>
                                    <p:set>
                                      <p:cBhvr>
                                        <p:cTn id="102" dur="1" fill="hold">
                                          <p:stCondLst>
                                            <p:cond delay="0"/>
                                          </p:stCondLst>
                                        </p:cTn>
                                        <p:tgtEl>
                                          <p:spTgt spid="4"/>
                                        </p:tgtEl>
                                        <p:attrNameLst>
                                          <p:attrName>style.visibility</p:attrName>
                                        </p:attrNameLst>
                                      </p:cBhvr>
                                      <p:to>
                                        <p:strVal val="visible"/>
                                      </p:to>
                                    </p:set>
                                    <p:animEffect transition="in" filter="fade">
                                      <p:cBhvr>
                                        <p:cTn id="103" dur="150"/>
                                        <p:tgtEl>
                                          <p:spTgt spid="4"/>
                                        </p:tgtEl>
                                      </p:cBhvr>
                                    </p:animEffect>
                                  </p:childTnLst>
                                </p:cTn>
                              </p:par>
                            </p:childTnLst>
                          </p:cTn>
                        </p:par>
                        <p:par>
                          <p:cTn id="104" fill="hold">
                            <p:stCondLst>
                              <p:cond delay="3750"/>
                            </p:stCondLst>
                            <p:childTnLst>
                              <p:par>
                                <p:cTn id="105" presetID="10" presetClass="entr" presetSubtype="0" fill="hold" nodeType="after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150"/>
                                        <p:tgtEl>
                                          <p:spTgt spid="48"/>
                                        </p:tgtEl>
                                      </p:cBhvr>
                                    </p:animEffect>
                                  </p:childTnLst>
                                </p:cTn>
                              </p:par>
                            </p:childTnLst>
                          </p:cTn>
                        </p:par>
                        <p:par>
                          <p:cTn id="108" fill="hold">
                            <p:stCondLst>
                              <p:cond delay="3900"/>
                            </p:stCondLst>
                            <p:childTnLst>
                              <p:par>
                                <p:cTn id="109" presetID="10" presetClass="entr" presetSubtype="0" fill="hold" nodeType="afterEffect">
                                  <p:stCondLst>
                                    <p:cond delay="0"/>
                                  </p:stCondLst>
                                  <p:childTnLst>
                                    <p:set>
                                      <p:cBhvr>
                                        <p:cTn id="110" dur="1" fill="hold">
                                          <p:stCondLst>
                                            <p:cond delay="0"/>
                                          </p:stCondLst>
                                        </p:cTn>
                                        <p:tgtEl>
                                          <p:spTgt spid="6"/>
                                        </p:tgtEl>
                                        <p:attrNameLst>
                                          <p:attrName>style.visibility</p:attrName>
                                        </p:attrNameLst>
                                      </p:cBhvr>
                                      <p:to>
                                        <p:strVal val="visible"/>
                                      </p:to>
                                    </p:set>
                                    <p:animEffect transition="in" filter="fade">
                                      <p:cBhvr>
                                        <p:cTn id="111" dur="150"/>
                                        <p:tgtEl>
                                          <p:spTgt spid="6"/>
                                        </p:tgtEl>
                                      </p:cBhvr>
                                    </p:animEffect>
                                  </p:childTnLst>
                                </p:cTn>
                              </p:par>
                            </p:childTnLst>
                          </p:cTn>
                        </p:par>
                        <p:par>
                          <p:cTn id="112" fill="hold">
                            <p:stCondLst>
                              <p:cond delay="4050"/>
                            </p:stCondLst>
                            <p:childTnLst>
                              <p:par>
                                <p:cTn id="113" presetID="10" presetClass="entr" presetSubtype="0" fill="hold" nodeType="afterEffect">
                                  <p:stCondLst>
                                    <p:cond delay="0"/>
                                  </p:stCondLst>
                                  <p:childTnLst>
                                    <p:set>
                                      <p:cBhvr>
                                        <p:cTn id="114" dur="1" fill="hold">
                                          <p:stCondLst>
                                            <p:cond delay="0"/>
                                          </p:stCondLst>
                                        </p:cTn>
                                        <p:tgtEl>
                                          <p:spTgt spid="49"/>
                                        </p:tgtEl>
                                        <p:attrNameLst>
                                          <p:attrName>style.visibility</p:attrName>
                                        </p:attrNameLst>
                                      </p:cBhvr>
                                      <p:to>
                                        <p:strVal val="visible"/>
                                      </p:to>
                                    </p:set>
                                    <p:animEffect transition="in" filter="fade">
                                      <p:cBhvr>
                                        <p:cTn id="115" dur="150"/>
                                        <p:tgtEl>
                                          <p:spTgt spid="49"/>
                                        </p:tgtEl>
                                      </p:cBhvr>
                                    </p:animEffect>
                                  </p:childTnLst>
                                </p:cTn>
                              </p:par>
                            </p:childTnLst>
                          </p:cTn>
                        </p:par>
                        <p:par>
                          <p:cTn id="116" fill="hold">
                            <p:stCondLst>
                              <p:cond delay="4200"/>
                            </p:stCondLst>
                            <p:childTnLst>
                              <p:par>
                                <p:cTn id="117" presetID="10" presetClass="entr" presetSubtype="0" fill="hold" nodeType="after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fade">
                                      <p:cBhvr>
                                        <p:cTn id="119" dur="150"/>
                                        <p:tgtEl>
                                          <p:spTgt spid="18"/>
                                        </p:tgtEl>
                                      </p:cBhvr>
                                    </p:animEffect>
                                  </p:childTnLst>
                                </p:cTn>
                              </p:par>
                            </p:childTnLst>
                          </p:cTn>
                        </p:par>
                        <p:par>
                          <p:cTn id="120" fill="hold">
                            <p:stCondLst>
                              <p:cond delay="4350"/>
                            </p:stCondLst>
                            <p:childTnLst>
                              <p:par>
                                <p:cTn id="121" presetID="10" presetClass="entr" presetSubtype="0" fill="hold" nodeType="afterEffect">
                                  <p:stCondLst>
                                    <p:cond delay="0"/>
                                  </p:stCondLst>
                                  <p:childTnLst>
                                    <p:set>
                                      <p:cBhvr>
                                        <p:cTn id="122" dur="1" fill="hold">
                                          <p:stCondLst>
                                            <p:cond delay="0"/>
                                          </p:stCondLst>
                                        </p:cTn>
                                        <p:tgtEl>
                                          <p:spTgt spid="1026"/>
                                        </p:tgtEl>
                                        <p:attrNameLst>
                                          <p:attrName>style.visibility</p:attrName>
                                        </p:attrNameLst>
                                      </p:cBhvr>
                                      <p:to>
                                        <p:strVal val="visible"/>
                                      </p:to>
                                    </p:set>
                                    <p:animEffect transition="in" filter="fade">
                                      <p:cBhvr>
                                        <p:cTn id="123" dur="150"/>
                                        <p:tgtEl>
                                          <p:spTgt spid="1026"/>
                                        </p:tgtEl>
                                      </p:cBhvr>
                                    </p:animEffect>
                                  </p:childTnLst>
                                </p:cTn>
                              </p:par>
                            </p:childTnLst>
                          </p:cTn>
                        </p:par>
                        <p:par>
                          <p:cTn id="124" fill="hold">
                            <p:stCondLst>
                              <p:cond delay="4500"/>
                            </p:stCondLst>
                            <p:childTnLst>
                              <p:par>
                                <p:cTn id="125" presetID="10" presetClass="entr" presetSubtype="0" fill="hold"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150"/>
                                        <p:tgtEl>
                                          <p:spTgt spid="52"/>
                                        </p:tgtEl>
                                      </p:cBhvr>
                                    </p:animEffect>
                                  </p:childTnLst>
                                </p:cTn>
                              </p:par>
                            </p:childTnLst>
                          </p:cTn>
                        </p:par>
                        <p:par>
                          <p:cTn id="128" fill="hold">
                            <p:stCondLst>
                              <p:cond delay="4650"/>
                            </p:stCondLst>
                            <p:childTnLst>
                              <p:par>
                                <p:cTn id="129" presetID="10" presetClass="entr" presetSubtype="0" fill="hold" nodeType="after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50"/>
                                        <p:tgtEl>
                                          <p:spTgt spid="58"/>
                                        </p:tgtEl>
                                      </p:cBhvr>
                                    </p:animEffect>
                                  </p:childTnLst>
                                </p:cTn>
                              </p:par>
                            </p:childTnLst>
                          </p:cTn>
                        </p:par>
                        <p:par>
                          <p:cTn id="132" fill="hold">
                            <p:stCondLst>
                              <p:cond delay="4800"/>
                            </p:stCondLst>
                            <p:childTnLst>
                              <p:par>
                                <p:cTn id="133" presetID="10" presetClass="entr" presetSubtype="0" fill="hold" nodeType="afterEffect">
                                  <p:stCondLst>
                                    <p:cond delay="0"/>
                                  </p:stCondLst>
                                  <p:childTnLst>
                                    <p:set>
                                      <p:cBhvr>
                                        <p:cTn id="134" dur="1" fill="hold">
                                          <p:stCondLst>
                                            <p:cond delay="0"/>
                                          </p:stCondLst>
                                        </p:cTn>
                                        <p:tgtEl>
                                          <p:spTgt spid="59"/>
                                        </p:tgtEl>
                                        <p:attrNameLst>
                                          <p:attrName>style.visibility</p:attrName>
                                        </p:attrNameLst>
                                      </p:cBhvr>
                                      <p:to>
                                        <p:strVal val="visible"/>
                                      </p:to>
                                    </p:set>
                                    <p:animEffect transition="in" filter="fade">
                                      <p:cBhvr>
                                        <p:cTn id="135" dur="150"/>
                                        <p:tgtEl>
                                          <p:spTgt spid="59"/>
                                        </p:tgtEl>
                                      </p:cBhvr>
                                    </p:animEffect>
                                  </p:childTnLst>
                                </p:cTn>
                              </p:par>
                            </p:childTnLst>
                          </p:cTn>
                        </p:par>
                        <p:par>
                          <p:cTn id="136" fill="hold">
                            <p:stCondLst>
                              <p:cond delay="4950"/>
                            </p:stCondLst>
                            <p:childTnLst>
                              <p:par>
                                <p:cTn id="137" presetID="10" presetClass="entr" presetSubtype="0" fill="hold" nodeType="afterEffect">
                                  <p:stCondLst>
                                    <p:cond delay="0"/>
                                  </p:stCondLst>
                                  <p:childTnLst>
                                    <p:set>
                                      <p:cBhvr>
                                        <p:cTn id="138" dur="1" fill="hold">
                                          <p:stCondLst>
                                            <p:cond delay="0"/>
                                          </p:stCondLst>
                                        </p:cTn>
                                        <p:tgtEl>
                                          <p:spTgt spid="60"/>
                                        </p:tgtEl>
                                        <p:attrNameLst>
                                          <p:attrName>style.visibility</p:attrName>
                                        </p:attrNameLst>
                                      </p:cBhvr>
                                      <p:to>
                                        <p:strVal val="visible"/>
                                      </p:to>
                                    </p:set>
                                    <p:animEffect transition="in" filter="fade">
                                      <p:cBhvr>
                                        <p:cTn id="139" dur="1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a:t>
            </a:r>
          </a:p>
        </p:txBody>
      </p:sp>
      <p:grpSp>
        <p:nvGrpSpPr>
          <p:cNvPr id="4" name="Group 3"/>
          <p:cNvGrpSpPr/>
          <p:nvPr/>
        </p:nvGrpSpPr>
        <p:grpSpPr>
          <a:xfrm>
            <a:off x="1825116" y="1573626"/>
            <a:ext cx="8786242" cy="5249744"/>
            <a:chOff x="1825116" y="1573626"/>
            <a:chExt cx="8786242" cy="5249744"/>
          </a:xfrm>
        </p:grpSpPr>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sp>
          <p:nvSpPr>
            <p:cNvPr id="62" name="TextBox 61"/>
            <p:cNvSpPr txBox="1"/>
            <p:nvPr/>
          </p:nvSpPr>
          <p:spPr>
            <a:xfrm>
              <a:off x="9517649" y="3701595"/>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ALERTS</a:t>
              </a:r>
            </a:p>
          </p:txBody>
        </p:sp>
        <p:sp>
          <p:nvSpPr>
            <p:cNvPr id="125" name="TextBox 124"/>
            <p:cNvSpPr txBox="1"/>
            <p:nvPr/>
          </p:nvSpPr>
          <p:spPr>
            <a:xfrm>
              <a:off x="9012382" y="4587124"/>
              <a:ext cx="1141776"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ISCOVERY</a:t>
              </a:r>
            </a:p>
          </p:txBody>
        </p:sp>
        <p:sp>
          <p:nvSpPr>
            <p:cNvPr id="133" name="TextBox 132"/>
            <p:cNvSpPr txBox="1"/>
            <p:nvPr/>
          </p:nvSpPr>
          <p:spPr>
            <a:xfrm>
              <a:off x="8383681" y="3704111"/>
              <a:ext cx="1141776"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ANALYTICS</a:t>
              </a:r>
            </a:p>
          </p:txBody>
        </p:sp>
        <p:sp>
          <p:nvSpPr>
            <p:cNvPr id="54" name="TextBox 53"/>
            <p:cNvSpPr txBox="1"/>
            <p:nvPr/>
          </p:nvSpPr>
          <p:spPr>
            <a:xfrm>
              <a:off x="8111232" y="5980960"/>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BACKUP</a:t>
              </a:r>
            </a:p>
          </p:txBody>
        </p:sp>
        <p:sp>
          <p:nvSpPr>
            <p:cNvPr id="55" name="TextBox 54"/>
            <p:cNvSpPr txBox="1"/>
            <p:nvPr/>
          </p:nvSpPr>
          <p:spPr>
            <a:xfrm>
              <a:off x="9135890" y="5989785"/>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RECOVERY</a:t>
              </a:r>
            </a:p>
          </p:txBody>
        </p:sp>
        <p:sp>
          <p:nvSpPr>
            <p:cNvPr id="110" name="Rectangle 109"/>
            <p:cNvSpPr/>
            <p:nvPr/>
          </p:nvSpPr>
          <p:spPr>
            <a:xfrm flipH="1">
              <a:off x="8506188" y="5278073"/>
              <a:ext cx="276315" cy="595371"/>
            </a:xfrm>
            <a:prstGeom prst="rect">
              <a:avLst/>
            </a:prstGeom>
            <a:no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charset="0"/>
                <a:ea typeface="Segoe UI" charset="0"/>
                <a:cs typeface="Segoe UI" charset="0"/>
              </a:endParaRPr>
            </a:p>
          </p:txBody>
        </p:sp>
        <p:cxnSp>
          <p:nvCxnSpPr>
            <p:cNvPr id="111" name="Straight Connector 110"/>
            <p:cNvCxnSpPr/>
            <p:nvPr/>
          </p:nvCxnSpPr>
          <p:spPr>
            <a:xfrm flipH="1">
              <a:off x="8560015" y="5398707"/>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8560015" y="5720325"/>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8560137" y="5785564"/>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8550524" y="5554216"/>
              <a:ext cx="349863" cy="349863"/>
              <a:chOff x="13663613" y="1489075"/>
              <a:chExt cx="6210301" cy="6210301"/>
            </a:xfrm>
            <a:solidFill>
              <a:schemeClr val="accent2"/>
            </a:solidFill>
          </p:grpSpPr>
          <p:sp>
            <p:nvSpPr>
              <p:cNvPr id="144" name="Freeform 43"/>
              <p:cNvSpPr>
                <a:spLocks/>
              </p:cNvSpPr>
              <p:nvPr/>
            </p:nvSpPr>
            <p:spPr bwMode="auto">
              <a:xfrm>
                <a:off x="13663613" y="2503488"/>
                <a:ext cx="1633538" cy="2012950"/>
              </a:xfrm>
              <a:custGeom>
                <a:avLst/>
                <a:gdLst>
                  <a:gd name="T0" fmla="*/ 435 w 435"/>
                  <a:gd name="T1" fmla="*/ 219 h 536"/>
                  <a:gd name="T2" fmla="*/ 216 w 435"/>
                  <a:gd name="T3" fmla="*/ 0 h 536"/>
                  <a:gd name="T4" fmla="*/ 0 w 435"/>
                  <a:gd name="T5" fmla="*/ 536 h 536"/>
                  <a:gd name="T6" fmla="*/ 310 w 435"/>
                  <a:gd name="T7" fmla="*/ 536 h 536"/>
                  <a:gd name="T8" fmla="*/ 435 w 435"/>
                  <a:gd name="T9" fmla="*/ 219 h 536"/>
                </a:gdLst>
                <a:ahLst/>
                <a:cxnLst>
                  <a:cxn ang="0">
                    <a:pos x="T0" y="T1"/>
                  </a:cxn>
                  <a:cxn ang="0">
                    <a:pos x="T2" y="T3"/>
                  </a:cxn>
                  <a:cxn ang="0">
                    <a:pos x="T4" y="T5"/>
                  </a:cxn>
                  <a:cxn ang="0">
                    <a:pos x="T6" y="T7"/>
                  </a:cxn>
                  <a:cxn ang="0">
                    <a:pos x="T8" y="T9"/>
                  </a:cxn>
                </a:cxnLst>
                <a:rect l="0" t="0" r="r" b="b"/>
                <a:pathLst>
                  <a:path w="435" h="536">
                    <a:moveTo>
                      <a:pt x="435" y="219"/>
                    </a:moveTo>
                    <a:cubicBezTo>
                      <a:pt x="216" y="0"/>
                      <a:pt x="216" y="0"/>
                      <a:pt x="216" y="0"/>
                    </a:cubicBezTo>
                    <a:cubicBezTo>
                      <a:pt x="86" y="142"/>
                      <a:pt x="5" y="330"/>
                      <a:pt x="0" y="536"/>
                    </a:cubicBezTo>
                    <a:cubicBezTo>
                      <a:pt x="310" y="536"/>
                      <a:pt x="310" y="536"/>
                      <a:pt x="310" y="536"/>
                    </a:cubicBezTo>
                    <a:cubicBezTo>
                      <a:pt x="315" y="415"/>
                      <a:pt x="361" y="305"/>
                      <a:pt x="435"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5" name="Freeform 44"/>
              <p:cNvSpPr>
                <a:spLocks/>
              </p:cNvSpPr>
              <p:nvPr/>
            </p:nvSpPr>
            <p:spPr bwMode="auto">
              <a:xfrm>
                <a:off x="14636751" y="1489075"/>
                <a:ext cx="2017713" cy="1671638"/>
              </a:xfrm>
              <a:custGeom>
                <a:avLst/>
                <a:gdLst>
                  <a:gd name="T0" fmla="*/ 219 w 537"/>
                  <a:gd name="T1" fmla="*/ 445 h 445"/>
                  <a:gd name="T2" fmla="*/ 537 w 537"/>
                  <a:gd name="T3" fmla="*/ 310 h 445"/>
                  <a:gd name="T4" fmla="*/ 537 w 537"/>
                  <a:gd name="T5" fmla="*/ 0 h 445"/>
                  <a:gd name="T6" fmla="*/ 0 w 537"/>
                  <a:gd name="T7" fmla="*/ 226 h 445"/>
                  <a:gd name="T8" fmla="*/ 219 w 537"/>
                  <a:gd name="T9" fmla="*/ 445 h 445"/>
                </a:gdLst>
                <a:ahLst/>
                <a:cxnLst>
                  <a:cxn ang="0">
                    <a:pos x="T0" y="T1"/>
                  </a:cxn>
                  <a:cxn ang="0">
                    <a:pos x="T2" y="T3"/>
                  </a:cxn>
                  <a:cxn ang="0">
                    <a:pos x="T4" y="T5"/>
                  </a:cxn>
                  <a:cxn ang="0">
                    <a:pos x="T6" y="T7"/>
                  </a:cxn>
                  <a:cxn ang="0">
                    <a:pos x="T8" y="T9"/>
                  </a:cxn>
                </a:cxnLst>
                <a:rect l="0" t="0" r="r" b="b"/>
                <a:pathLst>
                  <a:path w="537" h="445">
                    <a:moveTo>
                      <a:pt x="219" y="445"/>
                    </a:moveTo>
                    <a:cubicBezTo>
                      <a:pt x="304" y="367"/>
                      <a:pt x="415" y="317"/>
                      <a:pt x="537" y="310"/>
                    </a:cubicBezTo>
                    <a:cubicBezTo>
                      <a:pt x="537" y="0"/>
                      <a:pt x="537" y="0"/>
                      <a:pt x="537" y="0"/>
                    </a:cubicBezTo>
                    <a:cubicBezTo>
                      <a:pt x="329" y="8"/>
                      <a:pt x="141" y="92"/>
                      <a:pt x="0" y="226"/>
                    </a:cubicBezTo>
                    <a:lnTo>
                      <a:pt x="219"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6" name="Freeform 45"/>
              <p:cNvSpPr>
                <a:spLocks/>
              </p:cNvSpPr>
              <p:nvPr/>
            </p:nvSpPr>
            <p:spPr bwMode="auto">
              <a:xfrm>
                <a:off x="13666788" y="4752975"/>
                <a:ext cx="1668463" cy="1973263"/>
              </a:xfrm>
              <a:custGeom>
                <a:avLst/>
                <a:gdLst>
                  <a:gd name="T0" fmla="*/ 311 w 444"/>
                  <a:gd name="T1" fmla="*/ 0 h 525"/>
                  <a:gd name="T2" fmla="*/ 0 w 444"/>
                  <a:gd name="T3" fmla="*/ 0 h 525"/>
                  <a:gd name="T4" fmla="*/ 225 w 444"/>
                  <a:gd name="T5" fmla="*/ 525 h 525"/>
                  <a:gd name="T6" fmla="*/ 444 w 444"/>
                  <a:gd name="T7" fmla="*/ 306 h 525"/>
                  <a:gd name="T8" fmla="*/ 311 w 444"/>
                  <a:gd name="T9" fmla="*/ 0 h 525"/>
                </a:gdLst>
                <a:ahLst/>
                <a:cxnLst>
                  <a:cxn ang="0">
                    <a:pos x="T0" y="T1"/>
                  </a:cxn>
                  <a:cxn ang="0">
                    <a:pos x="T2" y="T3"/>
                  </a:cxn>
                  <a:cxn ang="0">
                    <a:pos x="T4" y="T5"/>
                  </a:cxn>
                  <a:cxn ang="0">
                    <a:pos x="T6" y="T7"/>
                  </a:cxn>
                  <a:cxn ang="0">
                    <a:pos x="T8" y="T9"/>
                  </a:cxn>
                </a:cxnLst>
                <a:rect l="0" t="0" r="r" b="b"/>
                <a:pathLst>
                  <a:path w="444" h="525">
                    <a:moveTo>
                      <a:pt x="311" y="0"/>
                    </a:moveTo>
                    <a:cubicBezTo>
                      <a:pt x="0" y="0"/>
                      <a:pt x="0" y="0"/>
                      <a:pt x="0" y="0"/>
                    </a:cubicBezTo>
                    <a:cubicBezTo>
                      <a:pt x="10" y="203"/>
                      <a:pt x="94" y="387"/>
                      <a:pt x="225" y="525"/>
                    </a:cubicBezTo>
                    <a:cubicBezTo>
                      <a:pt x="444" y="306"/>
                      <a:pt x="444" y="306"/>
                      <a:pt x="444" y="306"/>
                    </a:cubicBezTo>
                    <a:cubicBezTo>
                      <a:pt x="369" y="224"/>
                      <a:pt x="320" y="117"/>
                      <a:pt x="3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7" name="Freeform 46"/>
              <p:cNvSpPr>
                <a:spLocks/>
              </p:cNvSpPr>
              <p:nvPr/>
            </p:nvSpPr>
            <p:spPr bwMode="auto">
              <a:xfrm>
                <a:off x="14678026" y="6069013"/>
                <a:ext cx="1976438" cy="1630363"/>
              </a:xfrm>
              <a:custGeom>
                <a:avLst/>
                <a:gdLst>
                  <a:gd name="T0" fmla="*/ 0 w 526"/>
                  <a:gd name="T1" fmla="*/ 219 h 434"/>
                  <a:gd name="T2" fmla="*/ 526 w 526"/>
                  <a:gd name="T3" fmla="*/ 434 h 434"/>
                  <a:gd name="T4" fmla="*/ 526 w 526"/>
                  <a:gd name="T5" fmla="*/ 124 h 434"/>
                  <a:gd name="T6" fmla="*/ 220 w 526"/>
                  <a:gd name="T7" fmla="*/ 0 h 434"/>
                  <a:gd name="T8" fmla="*/ 0 w 526"/>
                  <a:gd name="T9" fmla="*/ 219 h 434"/>
                </a:gdLst>
                <a:ahLst/>
                <a:cxnLst>
                  <a:cxn ang="0">
                    <a:pos x="T0" y="T1"/>
                  </a:cxn>
                  <a:cxn ang="0">
                    <a:pos x="T2" y="T3"/>
                  </a:cxn>
                  <a:cxn ang="0">
                    <a:pos x="T4" y="T5"/>
                  </a:cxn>
                  <a:cxn ang="0">
                    <a:pos x="T6" y="T7"/>
                  </a:cxn>
                  <a:cxn ang="0">
                    <a:pos x="T8" y="T9"/>
                  </a:cxn>
                </a:cxnLst>
                <a:rect l="0" t="0" r="r" b="b"/>
                <a:pathLst>
                  <a:path w="526" h="434">
                    <a:moveTo>
                      <a:pt x="0" y="219"/>
                    </a:moveTo>
                    <a:cubicBezTo>
                      <a:pt x="140" y="346"/>
                      <a:pt x="324" y="426"/>
                      <a:pt x="526" y="434"/>
                    </a:cubicBezTo>
                    <a:cubicBezTo>
                      <a:pt x="526" y="124"/>
                      <a:pt x="526" y="124"/>
                      <a:pt x="526" y="124"/>
                    </a:cubicBezTo>
                    <a:cubicBezTo>
                      <a:pt x="409" y="117"/>
                      <a:pt x="303" y="71"/>
                      <a:pt x="220" y="0"/>
                    </a:cubicBezTo>
                    <a:lnTo>
                      <a:pt x="0"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8" name="Freeform 47"/>
              <p:cNvSpPr>
                <a:spLocks/>
              </p:cNvSpPr>
              <p:nvPr/>
            </p:nvSpPr>
            <p:spPr bwMode="auto">
              <a:xfrm>
                <a:off x="16887826" y="6069013"/>
                <a:ext cx="1974850" cy="1630363"/>
              </a:xfrm>
              <a:custGeom>
                <a:avLst/>
                <a:gdLst>
                  <a:gd name="T0" fmla="*/ 0 w 526"/>
                  <a:gd name="T1" fmla="*/ 124 h 434"/>
                  <a:gd name="T2" fmla="*/ 0 w 526"/>
                  <a:gd name="T3" fmla="*/ 434 h 434"/>
                  <a:gd name="T4" fmla="*/ 526 w 526"/>
                  <a:gd name="T5" fmla="*/ 219 h 434"/>
                  <a:gd name="T6" fmla="*/ 306 w 526"/>
                  <a:gd name="T7" fmla="*/ 0 h 434"/>
                  <a:gd name="T8" fmla="*/ 0 w 526"/>
                  <a:gd name="T9" fmla="*/ 124 h 434"/>
                </a:gdLst>
                <a:ahLst/>
                <a:cxnLst>
                  <a:cxn ang="0">
                    <a:pos x="T0" y="T1"/>
                  </a:cxn>
                  <a:cxn ang="0">
                    <a:pos x="T2" y="T3"/>
                  </a:cxn>
                  <a:cxn ang="0">
                    <a:pos x="T4" y="T5"/>
                  </a:cxn>
                  <a:cxn ang="0">
                    <a:pos x="T6" y="T7"/>
                  </a:cxn>
                  <a:cxn ang="0">
                    <a:pos x="T8" y="T9"/>
                  </a:cxn>
                </a:cxnLst>
                <a:rect l="0" t="0" r="r" b="b"/>
                <a:pathLst>
                  <a:path w="526" h="434">
                    <a:moveTo>
                      <a:pt x="0" y="124"/>
                    </a:moveTo>
                    <a:cubicBezTo>
                      <a:pt x="0" y="434"/>
                      <a:pt x="0" y="434"/>
                      <a:pt x="0" y="434"/>
                    </a:cubicBezTo>
                    <a:cubicBezTo>
                      <a:pt x="202" y="426"/>
                      <a:pt x="386" y="346"/>
                      <a:pt x="526" y="219"/>
                    </a:cubicBezTo>
                    <a:cubicBezTo>
                      <a:pt x="306" y="0"/>
                      <a:pt x="306" y="0"/>
                      <a:pt x="306" y="0"/>
                    </a:cubicBezTo>
                    <a:cubicBezTo>
                      <a:pt x="223" y="71"/>
                      <a:pt x="117" y="117"/>
                      <a:pt x="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9" name="Freeform 48"/>
              <p:cNvSpPr>
                <a:spLocks/>
              </p:cNvSpPr>
              <p:nvPr/>
            </p:nvSpPr>
            <p:spPr bwMode="auto">
              <a:xfrm>
                <a:off x="18205451" y="4752975"/>
                <a:ext cx="1668463" cy="1973263"/>
              </a:xfrm>
              <a:custGeom>
                <a:avLst/>
                <a:gdLst>
                  <a:gd name="T0" fmla="*/ 134 w 444"/>
                  <a:gd name="T1" fmla="*/ 0 h 525"/>
                  <a:gd name="T2" fmla="*/ 0 w 444"/>
                  <a:gd name="T3" fmla="*/ 306 h 525"/>
                  <a:gd name="T4" fmla="*/ 219 w 444"/>
                  <a:gd name="T5" fmla="*/ 525 h 525"/>
                  <a:gd name="T6" fmla="*/ 444 w 444"/>
                  <a:gd name="T7" fmla="*/ 0 h 525"/>
                  <a:gd name="T8" fmla="*/ 134 w 444"/>
                  <a:gd name="T9" fmla="*/ 0 h 525"/>
                </a:gdLst>
                <a:ahLst/>
                <a:cxnLst>
                  <a:cxn ang="0">
                    <a:pos x="T0" y="T1"/>
                  </a:cxn>
                  <a:cxn ang="0">
                    <a:pos x="T2" y="T3"/>
                  </a:cxn>
                  <a:cxn ang="0">
                    <a:pos x="T4" y="T5"/>
                  </a:cxn>
                  <a:cxn ang="0">
                    <a:pos x="T6" y="T7"/>
                  </a:cxn>
                  <a:cxn ang="0">
                    <a:pos x="T8" y="T9"/>
                  </a:cxn>
                </a:cxnLst>
                <a:rect l="0" t="0" r="r" b="b"/>
                <a:pathLst>
                  <a:path w="444" h="525">
                    <a:moveTo>
                      <a:pt x="134" y="0"/>
                    </a:moveTo>
                    <a:cubicBezTo>
                      <a:pt x="124" y="117"/>
                      <a:pt x="75" y="224"/>
                      <a:pt x="0" y="306"/>
                    </a:cubicBezTo>
                    <a:cubicBezTo>
                      <a:pt x="219" y="525"/>
                      <a:pt x="219" y="525"/>
                      <a:pt x="219" y="525"/>
                    </a:cubicBezTo>
                    <a:cubicBezTo>
                      <a:pt x="350" y="387"/>
                      <a:pt x="434" y="203"/>
                      <a:pt x="444"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50" name="Freeform 49"/>
              <p:cNvSpPr>
                <a:spLocks/>
              </p:cNvSpPr>
              <p:nvPr/>
            </p:nvSpPr>
            <p:spPr bwMode="auto">
              <a:xfrm>
                <a:off x="16887826" y="1489075"/>
                <a:ext cx="2016125" cy="1671638"/>
              </a:xfrm>
              <a:custGeom>
                <a:avLst/>
                <a:gdLst>
                  <a:gd name="T0" fmla="*/ 537 w 537"/>
                  <a:gd name="T1" fmla="*/ 226 h 445"/>
                  <a:gd name="T2" fmla="*/ 0 w 537"/>
                  <a:gd name="T3" fmla="*/ 0 h 445"/>
                  <a:gd name="T4" fmla="*/ 0 w 537"/>
                  <a:gd name="T5" fmla="*/ 310 h 445"/>
                  <a:gd name="T6" fmla="*/ 318 w 537"/>
                  <a:gd name="T7" fmla="*/ 445 h 445"/>
                  <a:gd name="T8" fmla="*/ 537 w 537"/>
                  <a:gd name="T9" fmla="*/ 226 h 445"/>
                </a:gdLst>
                <a:ahLst/>
                <a:cxnLst>
                  <a:cxn ang="0">
                    <a:pos x="T0" y="T1"/>
                  </a:cxn>
                  <a:cxn ang="0">
                    <a:pos x="T2" y="T3"/>
                  </a:cxn>
                  <a:cxn ang="0">
                    <a:pos x="T4" y="T5"/>
                  </a:cxn>
                  <a:cxn ang="0">
                    <a:pos x="T6" y="T7"/>
                  </a:cxn>
                  <a:cxn ang="0">
                    <a:pos x="T8" y="T9"/>
                  </a:cxn>
                </a:cxnLst>
                <a:rect l="0" t="0" r="r" b="b"/>
                <a:pathLst>
                  <a:path w="537" h="445">
                    <a:moveTo>
                      <a:pt x="537" y="226"/>
                    </a:moveTo>
                    <a:cubicBezTo>
                      <a:pt x="396" y="92"/>
                      <a:pt x="208" y="8"/>
                      <a:pt x="0" y="0"/>
                    </a:cubicBezTo>
                    <a:cubicBezTo>
                      <a:pt x="0" y="310"/>
                      <a:pt x="0" y="310"/>
                      <a:pt x="0" y="310"/>
                    </a:cubicBezTo>
                    <a:cubicBezTo>
                      <a:pt x="122" y="317"/>
                      <a:pt x="233" y="367"/>
                      <a:pt x="318" y="445"/>
                    </a:cubicBezTo>
                    <a:lnTo>
                      <a:pt x="537"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51" name="Freeform 50"/>
              <p:cNvSpPr>
                <a:spLocks/>
              </p:cNvSpPr>
              <p:nvPr/>
            </p:nvSpPr>
            <p:spPr bwMode="auto">
              <a:xfrm>
                <a:off x="18243551" y="2503488"/>
                <a:ext cx="827088" cy="822325"/>
              </a:xfrm>
              <a:custGeom>
                <a:avLst/>
                <a:gdLst>
                  <a:gd name="T0" fmla="*/ 220 w 220"/>
                  <a:gd name="T1" fmla="*/ 219 h 219"/>
                  <a:gd name="T2" fmla="*/ 220 w 220"/>
                  <a:gd name="T3" fmla="*/ 0 h 219"/>
                  <a:gd name="T4" fmla="*/ 0 w 220"/>
                  <a:gd name="T5" fmla="*/ 219 h 219"/>
                  <a:gd name="T6" fmla="*/ 220 w 220"/>
                  <a:gd name="T7" fmla="*/ 219 h 219"/>
                </a:gdLst>
                <a:ahLst/>
                <a:cxnLst>
                  <a:cxn ang="0">
                    <a:pos x="T0" y="T1"/>
                  </a:cxn>
                  <a:cxn ang="0">
                    <a:pos x="T2" y="T3"/>
                  </a:cxn>
                  <a:cxn ang="0">
                    <a:pos x="T4" y="T5"/>
                  </a:cxn>
                  <a:cxn ang="0">
                    <a:pos x="T6" y="T7"/>
                  </a:cxn>
                </a:cxnLst>
                <a:rect l="0" t="0" r="r" b="b"/>
                <a:pathLst>
                  <a:path w="220" h="219">
                    <a:moveTo>
                      <a:pt x="220" y="219"/>
                    </a:moveTo>
                    <a:cubicBezTo>
                      <a:pt x="220" y="0"/>
                      <a:pt x="220" y="0"/>
                      <a:pt x="220" y="0"/>
                    </a:cubicBezTo>
                    <a:cubicBezTo>
                      <a:pt x="0" y="219"/>
                      <a:pt x="0" y="219"/>
                      <a:pt x="0" y="219"/>
                    </a:cubicBezTo>
                    <a:cubicBezTo>
                      <a:pt x="36" y="219"/>
                      <a:pt x="186" y="219"/>
                      <a:pt x="220" y="219"/>
                    </a:cubicBezTo>
                    <a:close/>
                  </a:path>
                </a:pathLst>
              </a:custGeom>
              <a:grpFill/>
              <a:ln w="952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grpSp>
        <p:sp>
          <p:nvSpPr>
            <p:cNvPr id="153" name="TextBox 152"/>
            <p:cNvSpPr txBox="1"/>
            <p:nvPr/>
          </p:nvSpPr>
          <p:spPr>
            <a:xfrm>
              <a:off x="2548303" y="5923060"/>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ETECT</a:t>
              </a:r>
            </a:p>
          </p:txBody>
        </p:sp>
        <p:sp>
          <p:nvSpPr>
            <p:cNvPr id="154" name="TextBox 153"/>
            <p:cNvSpPr txBox="1"/>
            <p:nvPr/>
          </p:nvSpPr>
          <p:spPr>
            <a:xfrm>
              <a:off x="3416977" y="5928277"/>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REVENT</a:t>
              </a:r>
            </a:p>
          </p:txBody>
        </p:sp>
        <p:grpSp>
          <p:nvGrpSpPr>
            <p:cNvPr id="16" name="Group 15"/>
            <p:cNvGrpSpPr/>
            <p:nvPr/>
          </p:nvGrpSpPr>
          <p:grpSpPr>
            <a:xfrm>
              <a:off x="2948491" y="5455688"/>
              <a:ext cx="386406" cy="385401"/>
              <a:chOff x="1678426" y="2924010"/>
              <a:chExt cx="361967" cy="361967"/>
            </a:xfrm>
            <a:solidFill>
              <a:srgbClr val="F8F8F8"/>
            </a:solidFill>
          </p:grpSpPr>
          <p:sp>
            <p:nvSpPr>
              <p:cNvPr id="6" name="Oval 5"/>
              <p:cNvSpPr/>
              <p:nvPr/>
            </p:nvSpPr>
            <p:spPr>
              <a:xfrm>
                <a:off x="1678426" y="2924010"/>
                <a:ext cx="361967" cy="361967"/>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79" name="Oval 78"/>
              <p:cNvSpPr/>
              <p:nvPr/>
            </p:nvSpPr>
            <p:spPr>
              <a:xfrm>
                <a:off x="1724734" y="2970318"/>
                <a:ext cx="269350" cy="269350"/>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4" name="Oval 103"/>
              <p:cNvSpPr/>
              <p:nvPr/>
            </p:nvSpPr>
            <p:spPr>
              <a:xfrm>
                <a:off x="1775031" y="3020613"/>
                <a:ext cx="168756" cy="168756"/>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6" name="Oval 105"/>
              <p:cNvSpPr/>
              <p:nvPr/>
            </p:nvSpPr>
            <p:spPr>
              <a:xfrm>
                <a:off x="1841121" y="3086705"/>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cxnSp>
            <p:nvCxnSpPr>
              <p:cNvPr id="10" name="Straight Connector 9"/>
              <p:cNvCxnSpPr>
                <a:stCxn id="6" idx="7"/>
                <a:endCxn id="106" idx="7"/>
              </p:cNvCxnSpPr>
              <p:nvPr/>
            </p:nvCxnSpPr>
            <p:spPr>
              <a:xfrm flipH="1">
                <a:off x="1872341" y="2977019"/>
                <a:ext cx="115043" cy="115042"/>
              </a:xfrm>
              <a:prstGeom prst="line">
                <a:avLst/>
              </a:prstGeom>
              <a:grpFill/>
              <a:ln w="19050">
                <a:solidFill>
                  <a:srgbClr val="005494"/>
                </a:solidFill>
              </a:ln>
              <a:effectLst/>
            </p:spPr>
            <p:style>
              <a:lnRef idx="2">
                <a:schemeClr val="accent1"/>
              </a:lnRef>
              <a:fillRef idx="0">
                <a:schemeClr val="accent1"/>
              </a:fillRef>
              <a:effectRef idx="1">
                <a:schemeClr val="accent1"/>
              </a:effectRef>
              <a:fontRef idx="minor">
                <a:schemeClr val="tx1"/>
              </a:fontRef>
            </p:style>
          </p:cxnSp>
          <p:sp>
            <p:nvSpPr>
              <p:cNvPr id="107" name="Oval 106"/>
              <p:cNvSpPr/>
              <p:nvPr/>
            </p:nvSpPr>
            <p:spPr>
              <a:xfrm>
                <a:off x="1835765" y="3213600"/>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8" name="Oval 107"/>
              <p:cNvSpPr/>
              <p:nvPr/>
            </p:nvSpPr>
            <p:spPr>
              <a:xfrm>
                <a:off x="1729802" y="3001106"/>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1" name="Oval 10"/>
              <p:cNvSpPr/>
              <p:nvPr/>
            </p:nvSpPr>
            <p:spPr>
              <a:xfrm>
                <a:off x="1911153" y="3133383"/>
                <a:ext cx="36576" cy="3657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grpSp>
        <p:sp>
          <p:nvSpPr>
            <p:cNvPr id="59" name="TextBox 58"/>
            <p:cNvSpPr txBox="1"/>
            <p:nvPr/>
          </p:nvSpPr>
          <p:spPr>
            <a:xfrm>
              <a:off x="2781067" y="3625992"/>
              <a:ext cx="1466423"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SUBSCRIPTION</a:t>
              </a:r>
            </a:p>
          </p:txBody>
        </p:sp>
        <p:sp>
          <p:nvSpPr>
            <p:cNvPr id="60" name="TextBox 59"/>
            <p:cNvSpPr txBox="1"/>
            <p:nvPr/>
          </p:nvSpPr>
          <p:spPr>
            <a:xfrm>
              <a:off x="1993301" y="3620081"/>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OPTIMIZE</a:t>
              </a:r>
            </a:p>
          </p:txBody>
        </p:sp>
        <p:sp>
          <p:nvSpPr>
            <p:cNvPr id="57" name="TextBox 56"/>
            <p:cNvSpPr txBox="1"/>
            <p:nvPr/>
          </p:nvSpPr>
          <p:spPr>
            <a:xfrm>
              <a:off x="9058819" y="2039548"/>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ATCHING</a:t>
              </a:r>
            </a:p>
          </p:txBody>
        </p:sp>
        <p:sp>
          <p:nvSpPr>
            <p:cNvPr id="58" name="TextBox 57"/>
            <p:cNvSpPr txBox="1"/>
            <p:nvPr/>
          </p:nvSpPr>
          <p:spPr>
            <a:xfrm>
              <a:off x="8226936" y="2518813"/>
              <a:ext cx="2183669" cy="329598"/>
            </a:xfrm>
            <a:prstGeom prst="rect">
              <a:avLst/>
            </a:prstGeom>
            <a:noFill/>
          </p:spPr>
          <p:txBody>
            <a:bodyPr wrap="square" rtlCol="0">
              <a:spAutoFit/>
            </a:bodyPr>
            <a:lstStyle/>
            <a:p>
              <a:pPr marL="0" marR="0" lvl="0" indent="0" algn="ctr" defTabSz="932418" rtl="0" eaLnBrk="1" fontAlgn="auto" latinLnBrk="0" hangingPunct="1">
                <a:lnSpc>
                  <a:spcPts val="1775"/>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CONFIG MONITORING</a:t>
              </a:r>
            </a:p>
          </p:txBody>
        </p:sp>
        <p:sp>
          <p:nvSpPr>
            <p:cNvPr id="77" name="TextBox 76"/>
            <p:cNvSpPr txBox="1"/>
            <p:nvPr/>
          </p:nvSpPr>
          <p:spPr>
            <a:xfrm>
              <a:off x="7552371" y="2026489"/>
              <a:ext cx="1432575"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ORCHESTRATION</a:t>
              </a:r>
            </a:p>
          </p:txBody>
        </p:sp>
        <p:sp>
          <p:nvSpPr>
            <p:cNvPr id="109" name="TextBox 108"/>
            <p:cNvSpPr txBox="1"/>
            <p:nvPr/>
          </p:nvSpPr>
          <p:spPr>
            <a:xfrm>
              <a:off x="3492852" y="2151646"/>
              <a:ext cx="1225825"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ACKAGING</a:t>
              </a:r>
            </a:p>
          </p:txBody>
        </p:sp>
        <p:sp>
          <p:nvSpPr>
            <p:cNvPr id="118" name="TextBox 117"/>
            <p:cNvSpPr txBox="1"/>
            <p:nvPr/>
          </p:nvSpPr>
          <p:spPr>
            <a:xfrm>
              <a:off x="1825116" y="2134646"/>
              <a:ext cx="1954713" cy="329599"/>
            </a:xfrm>
            <a:prstGeom prst="rect">
              <a:avLst/>
            </a:prstGeom>
            <a:noFill/>
          </p:spPr>
          <p:txBody>
            <a:bodyPr wrap="square" rtlCol="0">
              <a:spAutoFit/>
            </a:bodyPr>
            <a:lstStyle/>
            <a:p>
              <a:pPr marL="0" marR="0" lvl="0" indent="0" algn="ctr" defTabSz="932418" rtl="0" eaLnBrk="1" fontAlgn="auto" latinLnBrk="0" hangingPunct="1">
                <a:lnSpc>
                  <a:spcPts val="1775"/>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EVOPS TOOLING</a:t>
              </a:r>
            </a:p>
          </p:txBody>
        </p:sp>
        <p:sp>
          <p:nvSpPr>
            <p:cNvPr id="121" name="TextBox 120"/>
            <p:cNvSpPr txBox="1"/>
            <p:nvPr/>
          </p:nvSpPr>
          <p:spPr>
            <a:xfrm>
              <a:off x="2397654" y="4412449"/>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OLICY</a:t>
              </a:r>
            </a:p>
          </p:txBody>
        </p:sp>
        <p:grpSp>
          <p:nvGrpSpPr>
            <p:cNvPr id="123" name="Group 122"/>
            <p:cNvGrpSpPr/>
            <p:nvPr/>
          </p:nvGrpSpPr>
          <p:grpSpPr>
            <a:xfrm>
              <a:off x="2273682" y="3140323"/>
              <a:ext cx="444500" cy="422275"/>
              <a:chOff x="9228138" y="422275"/>
              <a:chExt cx="444500" cy="422275"/>
            </a:xfrm>
          </p:grpSpPr>
          <p:sp>
            <p:nvSpPr>
              <p:cNvPr id="124" name="Line 124"/>
              <p:cNvSpPr>
                <a:spLocks noChangeShapeType="1"/>
              </p:cNvSpPr>
              <p:nvPr/>
            </p:nvSpPr>
            <p:spPr bwMode="auto">
              <a:xfrm>
                <a:off x="9461501" y="531813"/>
                <a:ext cx="0" cy="204788"/>
              </a:xfrm>
              <a:prstGeom prst="line">
                <a:avLst/>
              </a:prstGeom>
              <a:noFill/>
              <a:ln w="25400" cap="flat">
                <a:solidFill>
                  <a:srgbClr val="003C6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7" name="Freeform 125"/>
              <p:cNvSpPr>
                <a:spLocks/>
              </p:cNvSpPr>
              <p:nvPr/>
            </p:nvSpPr>
            <p:spPr bwMode="auto">
              <a:xfrm>
                <a:off x="9250363" y="422275"/>
                <a:ext cx="422275" cy="422275"/>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40" y="130"/>
                      <a:pt x="53" y="134"/>
                      <a:pt x="67" y="134"/>
                    </a:cubicBezTo>
                    <a:cubicBezTo>
                      <a:pt x="104" y="134"/>
                      <a:pt x="134" y="104"/>
                      <a:pt x="134" y="67"/>
                    </a:cubicBezTo>
                    <a:cubicBezTo>
                      <a:pt x="134" y="30"/>
                      <a:pt x="104" y="0"/>
                      <a:pt x="67" y="0"/>
                    </a:cubicBezTo>
                    <a:cubicBezTo>
                      <a:pt x="30" y="0"/>
                      <a:pt x="0" y="30"/>
                      <a:pt x="0" y="67"/>
                    </a:cubicBezTo>
                    <a:cubicBezTo>
                      <a:pt x="0" y="80"/>
                      <a:pt x="3" y="92"/>
                      <a:pt x="9" y="102"/>
                    </a:cubicBez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8" name="Freeform 126"/>
              <p:cNvSpPr>
                <a:spLocks/>
              </p:cNvSpPr>
              <p:nvPr/>
            </p:nvSpPr>
            <p:spPr bwMode="auto">
              <a:xfrm>
                <a:off x="9228138" y="695325"/>
                <a:ext cx="76200" cy="57150"/>
              </a:xfrm>
              <a:custGeom>
                <a:avLst/>
                <a:gdLst>
                  <a:gd name="T0" fmla="*/ 48 w 48"/>
                  <a:gd name="T1" fmla="*/ 0 h 36"/>
                  <a:gd name="T2" fmla="*/ 36 w 48"/>
                  <a:gd name="T3" fmla="*/ 36 h 36"/>
                  <a:gd name="T4" fmla="*/ 0 w 48"/>
                  <a:gd name="T5" fmla="*/ 24 h 36"/>
                </a:gdLst>
                <a:ahLst/>
                <a:cxnLst>
                  <a:cxn ang="0">
                    <a:pos x="T0" y="T1"/>
                  </a:cxn>
                  <a:cxn ang="0">
                    <a:pos x="T2" y="T3"/>
                  </a:cxn>
                  <a:cxn ang="0">
                    <a:pos x="T4" y="T5"/>
                  </a:cxn>
                </a:cxnLst>
                <a:rect l="0" t="0" r="r" b="b"/>
                <a:pathLst>
                  <a:path w="48" h="36">
                    <a:moveTo>
                      <a:pt x="48" y="0"/>
                    </a:moveTo>
                    <a:lnTo>
                      <a:pt x="36" y="36"/>
                    </a:lnTo>
                    <a:lnTo>
                      <a:pt x="0" y="24"/>
                    </a:ln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Freeform 127"/>
              <p:cNvSpPr>
                <a:spLocks/>
              </p:cNvSpPr>
              <p:nvPr/>
            </p:nvSpPr>
            <p:spPr bwMode="auto">
              <a:xfrm>
                <a:off x="9404351" y="569913"/>
                <a:ext cx="114300" cy="128588"/>
              </a:xfrm>
              <a:custGeom>
                <a:avLst/>
                <a:gdLst>
                  <a:gd name="T0" fmla="*/ 0 w 36"/>
                  <a:gd name="T1" fmla="*/ 41 h 41"/>
                  <a:gd name="T2" fmla="*/ 26 w 36"/>
                  <a:gd name="T3" fmla="*/ 41 h 41"/>
                  <a:gd name="T4" fmla="*/ 36 w 36"/>
                  <a:gd name="T5" fmla="*/ 31 h 41"/>
                  <a:gd name="T6" fmla="*/ 26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6" y="41"/>
                      <a:pt x="26" y="41"/>
                      <a:pt x="26" y="41"/>
                    </a:cubicBezTo>
                    <a:cubicBezTo>
                      <a:pt x="31" y="41"/>
                      <a:pt x="36" y="37"/>
                      <a:pt x="36" y="31"/>
                    </a:cubicBezTo>
                    <a:cubicBezTo>
                      <a:pt x="36" y="25"/>
                      <a:pt x="31" y="20"/>
                      <a:pt x="26"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4" name="Freeform 57"/>
            <p:cNvSpPr>
              <a:spLocks noEditPoints="1"/>
            </p:cNvSpPr>
            <p:nvPr/>
          </p:nvSpPr>
          <p:spPr bwMode="auto">
            <a:xfrm>
              <a:off x="3397059" y="3192712"/>
              <a:ext cx="368300" cy="368300"/>
            </a:xfrm>
            <a:custGeom>
              <a:avLst/>
              <a:gdLst>
                <a:gd name="T0" fmla="*/ 95 w 117"/>
                <a:gd name="T1" fmla="*/ 5 h 117"/>
                <a:gd name="T2" fmla="*/ 0 w 117"/>
                <a:gd name="T3" fmla="*/ 100 h 117"/>
                <a:gd name="T4" fmla="*/ 0 w 117"/>
                <a:gd name="T5" fmla="*/ 117 h 117"/>
                <a:gd name="T6" fmla="*/ 17 w 117"/>
                <a:gd name="T7" fmla="*/ 117 h 117"/>
                <a:gd name="T8" fmla="*/ 112 w 117"/>
                <a:gd name="T9" fmla="*/ 22 h 117"/>
                <a:gd name="T10" fmla="*/ 112 w 117"/>
                <a:gd name="T11" fmla="*/ 5 h 117"/>
                <a:gd name="T12" fmla="*/ 95 w 117"/>
                <a:gd name="T13" fmla="*/ 5 h 117"/>
                <a:gd name="T14" fmla="*/ 96 w 117"/>
                <a:gd name="T15" fmla="*/ 27 h 117"/>
                <a:gd name="T16" fmla="*/ 22 w 117"/>
                <a:gd name="T17" fmla="*/ 101 h 117"/>
                <a:gd name="T18" fmla="*/ 16 w 117"/>
                <a:gd name="T19" fmla="*/ 96 h 117"/>
                <a:gd name="T20" fmla="*/ 90 w 117"/>
                <a:gd name="T21" fmla="*/ 22 h 117"/>
                <a:gd name="T22" fmla="*/ 96 w 117"/>
                <a:gd name="T23" fmla="*/ 27 h 117"/>
                <a:gd name="T24" fmla="*/ 8 w 117"/>
                <a:gd name="T25" fmla="*/ 109 h 117"/>
                <a:gd name="T26" fmla="*/ 8 w 117"/>
                <a:gd name="T27" fmla="*/ 104 h 117"/>
                <a:gd name="T28" fmla="*/ 10 w 117"/>
                <a:gd name="T29" fmla="*/ 102 h 117"/>
                <a:gd name="T30" fmla="*/ 16 w 117"/>
                <a:gd name="T31" fmla="*/ 107 h 117"/>
                <a:gd name="T32" fmla="*/ 13 w 117"/>
                <a:gd name="T33" fmla="*/ 109 h 117"/>
                <a:gd name="T34" fmla="*/ 8 w 117"/>
                <a:gd name="T35" fmla="*/ 109 h 117"/>
                <a:gd name="T36" fmla="*/ 107 w 117"/>
                <a:gd name="T37" fmla="*/ 16 h 117"/>
                <a:gd name="T38" fmla="*/ 102 w 117"/>
                <a:gd name="T39" fmla="*/ 21 h 117"/>
                <a:gd name="T40" fmla="*/ 96 w 117"/>
                <a:gd name="T41" fmla="*/ 16 h 117"/>
                <a:gd name="T42" fmla="*/ 101 w 117"/>
                <a:gd name="T43" fmla="*/ 11 h 117"/>
                <a:gd name="T44" fmla="*/ 107 w 117"/>
                <a:gd name="T45" fmla="*/ 11 h 117"/>
                <a:gd name="T46" fmla="*/ 107 w 117"/>
                <a:gd name="T47"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95" y="5"/>
                  </a:moveTo>
                  <a:cubicBezTo>
                    <a:pt x="0" y="100"/>
                    <a:pt x="0" y="100"/>
                    <a:pt x="0" y="100"/>
                  </a:cubicBezTo>
                  <a:cubicBezTo>
                    <a:pt x="0" y="117"/>
                    <a:pt x="0" y="117"/>
                    <a:pt x="0" y="117"/>
                  </a:cubicBezTo>
                  <a:cubicBezTo>
                    <a:pt x="17" y="117"/>
                    <a:pt x="17" y="117"/>
                    <a:pt x="17" y="117"/>
                  </a:cubicBezTo>
                  <a:cubicBezTo>
                    <a:pt x="112" y="22"/>
                    <a:pt x="112" y="22"/>
                    <a:pt x="112" y="22"/>
                  </a:cubicBezTo>
                  <a:cubicBezTo>
                    <a:pt x="117" y="17"/>
                    <a:pt x="117" y="10"/>
                    <a:pt x="112" y="5"/>
                  </a:cubicBezTo>
                  <a:cubicBezTo>
                    <a:pt x="108" y="0"/>
                    <a:pt x="100" y="0"/>
                    <a:pt x="95" y="5"/>
                  </a:cubicBezTo>
                  <a:close/>
                  <a:moveTo>
                    <a:pt x="96" y="27"/>
                  </a:moveTo>
                  <a:cubicBezTo>
                    <a:pt x="22" y="101"/>
                    <a:pt x="22" y="101"/>
                    <a:pt x="22" y="101"/>
                  </a:cubicBezTo>
                  <a:cubicBezTo>
                    <a:pt x="20" y="99"/>
                    <a:pt x="18" y="97"/>
                    <a:pt x="16" y="96"/>
                  </a:cubicBezTo>
                  <a:cubicBezTo>
                    <a:pt x="90" y="22"/>
                    <a:pt x="90" y="22"/>
                    <a:pt x="90" y="22"/>
                  </a:cubicBezTo>
                  <a:cubicBezTo>
                    <a:pt x="93" y="22"/>
                    <a:pt x="95" y="25"/>
                    <a:pt x="96" y="27"/>
                  </a:cubicBezTo>
                  <a:close/>
                  <a:moveTo>
                    <a:pt x="8" y="109"/>
                  </a:moveTo>
                  <a:cubicBezTo>
                    <a:pt x="8" y="104"/>
                    <a:pt x="8" y="104"/>
                    <a:pt x="8" y="104"/>
                  </a:cubicBezTo>
                  <a:cubicBezTo>
                    <a:pt x="10" y="102"/>
                    <a:pt x="10" y="102"/>
                    <a:pt x="10" y="102"/>
                  </a:cubicBezTo>
                  <a:cubicBezTo>
                    <a:pt x="13" y="102"/>
                    <a:pt x="15" y="105"/>
                    <a:pt x="16" y="107"/>
                  </a:cubicBezTo>
                  <a:cubicBezTo>
                    <a:pt x="13" y="109"/>
                    <a:pt x="13" y="109"/>
                    <a:pt x="13" y="109"/>
                  </a:cubicBezTo>
                  <a:lnTo>
                    <a:pt x="8" y="109"/>
                  </a:lnTo>
                  <a:close/>
                  <a:moveTo>
                    <a:pt x="107" y="16"/>
                  </a:moveTo>
                  <a:cubicBezTo>
                    <a:pt x="102" y="21"/>
                    <a:pt x="102" y="21"/>
                    <a:pt x="102" y="21"/>
                  </a:cubicBezTo>
                  <a:cubicBezTo>
                    <a:pt x="100" y="19"/>
                    <a:pt x="98" y="17"/>
                    <a:pt x="96" y="16"/>
                  </a:cubicBezTo>
                  <a:cubicBezTo>
                    <a:pt x="101" y="11"/>
                    <a:pt x="101" y="11"/>
                    <a:pt x="101" y="11"/>
                  </a:cubicBezTo>
                  <a:cubicBezTo>
                    <a:pt x="102" y="9"/>
                    <a:pt x="105" y="9"/>
                    <a:pt x="107" y="11"/>
                  </a:cubicBezTo>
                  <a:cubicBezTo>
                    <a:pt x="108" y="12"/>
                    <a:pt x="108" y="15"/>
                    <a:pt x="107" y="16"/>
                  </a:cubicBezTo>
                  <a:close/>
                </a:path>
              </a:pathLst>
            </a:custGeom>
            <a:solidFill>
              <a:srgbClr val="003C6C"/>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35" name="Group 134"/>
            <p:cNvGrpSpPr/>
            <p:nvPr/>
          </p:nvGrpSpPr>
          <p:grpSpPr>
            <a:xfrm>
              <a:off x="2755853" y="4045563"/>
              <a:ext cx="309563" cy="360363"/>
              <a:chOff x="708026" y="5732463"/>
              <a:chExt cx="309563" cy="360363"/>
            </a:xfrm>
            <a:solidFill>
              <a:srgbClr val="003C6C"/>
            </a:solidFill>
          </p:grpSpPr>
          <p:sp>
            <p:nvSpPr>
              <p:cNvPr id="136" name="Freeform 61"/>
              <p:cNvSpPr>
                <a:spLocks noEditPoints="1"/>
              </p:cNvSpPr>
              <p:nvPr/>
            </p:nvSpPr>
            <p:spPr bwMode="auto">
              <a:xfrm>
                <a:off x="708026" y="5732463"/>
                <a:ext cx="309563" cy="360363"/>
              </a:xfrm>
              <a:custGeom>
                <a:avLst/>
                <a:gdLst>
                  <a:gd name="T0" fmla="*/ 76 w 96"/>
                  <a:gd name="T1" fmla="*/ 112 h 112"/>
                  <a:gd name="T2" fmla="*/ 20 w 96"/>
                  <a:gd name="T3" fmla="*/ 112 h 112"/>
                  <a:gd name="T4" fmla="*/ 0 w 96"/>
                  <a:gd name="T5" fmla="*/ 92 h 112"/>
                  <a:gd name="T6" fmla="*/ 0 w 96"/>
                  <a:gd name="T7" fmla="*/ 0 h 112"/>
                  <a:gd name="T8" fmla="*/ 88 w 96"/>
                  <a:gd name="T9" fmla="*/ 0 h 112"/>
                  <a:gd name="T10" fmla="*/ 88 w 96"/>
                  <a:gd name="T11" fmla="*/ 88 h 112"/>
                  <a:gd name="T12" fmla="*/ 80 w 96"/>
                  <a:gd name="T13" fmla="*/ 88 h 112"/>
                  <a:gd name="T14" fmla="*/ 80 w 96"/>
                  <a:gd name="T15" fmla="*/ 8 h 112"/>
                  <a:gd name="T16" fmla="*/ 8 w 96"/>
                  <a:gd name="T17" fmla="*/ 8 h 112"/>
                  <a:gd name="T18" fmla="*/ 8 w 96"/>
                  <a:gd name="T19" fmla="*/ 92 h 112"/>
                  <a:gd name="T20" fmla="*/ 20 w 96"/>
                  <a:gd name="T21" fmla="*/ 104 h 112"/>
                  <a:gd name="T22" fmla="*/ 32 w 96"/>
                  <a:gd name="T23" fmla="*/ 92 h 112"/>
                  <a:gd name="T24" fmla="*/ 32 w 96"/>
                  <a:gd name="T25" fmla="*/ 88 h 112"/>
                  <a:gd name="T26" fmla="*/ 96 w 96"/>
                  <a:gd name="T27" fmla="*/ 88 h 112"/>
                  <a:gd name="T28" fmla="*/ 96 w 96"/>
                  <a:gd name="T29" fmla="*/ 92 h 112"/>
                  <a:gd name="T30" fmla="*/ 76 w 96"/>
                  <a:gd name="T31" fmla="*/ 112 h 112"/>
                  <a:gd name="T32" fmla="*/ 36 w 96"/>
                  <a:gd name="T33" fmla="*/ 104 h 112"/>
                  <a:gd name="T34" fmla="*/ 76 w 96"/>
                  <a:gd name="T35" fmla="*/ 104 h 112"/>
                  <a:gd name="T36" fmla="*/ 87 w 96"/>
                  <a:gd name="T37" fmla="*/ 96 h 112"/>
                  <a:gd name="T38" fmla="*/ 39 w 96"/>
                  <a:gd name="T39" fmla="*/ 96 h 112"/>
                  <a:gd name="T40" fmla="*/ 36 w 96"/>
                  <a:gd name="T41"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2">
                    <a:moveTo>
                      <a:pt x="76" y="112"/>
                    </a:moveTo>
                    <a:cubicBezTo>
                      <a:pt x="20" y="112"/>
                      <a:pt x="20" y="112"/>
                      <a:pt x="20" y="112"/>
                    </a:cubicBezTo>
                    <a:cubicBezTo>
                      <a:pt x="9" y="112"/>
                      <a:pt x="0" y="103"/>
                      <a:pt x="0" y="92"/>
                    </a:cubicBezTo>
                    <a:cubicBezTo>
                      <a:pt x="0" y="0"/>
                      <a:pt x="0" y="0"/>
                      <a:pt x="0" y="0"/>
                    </a:cubicBezTo>
                    <a:cubicBezTo>
                      <a:pt x="88" y="0"/>
                      <a:pt x="88" y="0"/>
                      <a:pt x="88" y="0"/>
                    </a:cubicBezTo>
                    <a:cubicBezTo>
                      <a:pt x="88" y="88"/>
                      <a:pt x="88" y="88"/>
                      <a:pt x="88" y="88"/>
                    </a:cubicBezTo>
                    <a:cubicBezTo>
                      <a:pt x="80" y="88"/>
                      <a:pt x="80" y="88"/>
                      <a:pt x="80" y="88"/>
                    </a:cubicBezTo>
                    <a:cubicBezTo>
                      <a:pt x="80" y="8"/>
                      <a:pt x="80" y="8"/>
                      <a:pt x="80" y="8"/>
                    </a:cubicBezTo>
                    <a:cubicBezTo>
                      <a:pt x="8" y="8"/>
                      <a:pt x="8" y="8"/>
                      <a:pt x="8" y="8"/>
                    </a:cubicBezTo>
                    <a:cubicBezTo>
                      <a:pt x="8" y="92"/>
                      <a:pt x="8" y="92"/>
                      <a:pt x="8" y="92"/>
                    </a:cubicBezTo>
                    <a:cubicBezTo>
                      <a:pt x="8" y="99"/>
                      <a:pt x="13" y="104"/>
                      <a:pt x="20" y="104"/>
                    </a:cubicBezTo>
                    <a:cubicBezTo>
                      <a:pt x="26" y="104"/>
                      <a:pt x="32" y="99"/>
                      <a:pt x="32" y="92"/>
                    </a:cubicBezTo>
                    <a:cubicBezTo>
                      <a:pt x="32" y="88"/>
                      <a:pt x="32" y="88"/>
                      <a:pt x="32" y="88"/>
                    </a:cubicBezTo>
                    <a:cubicBezTo>
                      <a:pt x="96" y="88"/>
                      <a:pt x="96" y="88"/>
                      <a:pt x="96" y="88"/>
                    </a:cubicBezTo>
                    <a:cubicBezTo>
                      <a:pt x="96" y="92"/>
                      <a:pt x="96" y="92"/>
                      <a:pt x="96" y="92"/>
                    </a:cubicBezTo>
                    <a:cubicBezTo>
                      <a:pt x="96" y="103"/>
                      <a:pt x="87" y="112"/>
                      <a:pt x="76" y="112"/>
                    </a:cubicBezTo>
                    <a:close/>
                    <a:moveTo>
                      <a:pt x="36" y="104"/>
                    </a:moveTo>
                    <a:cubicBezTo>
                      <a:pt x="76" y="104"/>
                      <a:pt x="76" y="104"/>
                      <a:pt x="76" y="104"/>
                    </a:cubicBezTo>
                    <a:cubicBezTo>
                      <a:pt x="81" y="104"/>
                      <a:pt x="85" y="101"/>
                      <a:pt x="87" y="96"/>
                    </a:cubicBezTo>
                    <a:cubicBezTo>
                      <a:pt x="39" y="96"/>
                      <a:pt x="39" y="96"/>
                      <a:pt x="39" y="96"/>
                    </a:cubicBezTo>
                    <a:cubicBezTo>
                      <a:pt x="39" y="99"/>
                      <a:pt x="37" y="102"/>
                      <a:pt x="3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Rectangle 62"/>
              <p:cNvSpPr>
                <a:spLocks noChangeArrowheads="1"/>
              </p:cNvSpPr>
              <p:nvPr/>
            </p:nvSpPr>
            <p:spPr bwMode="auto">
              <a:xfrm>
                <a:off x="760414" y="5964238"/>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Rectangle 63"/>
              <p:cNvSpPr>
                <a:spLocks noChangeArrowheads="1"/>
              </p:cNvSpPr>
              <p:nvPr/>
            </p:nvSpPr>
            <p:spPr bwMode="auto">
              <a:xfrm>
                <a:off x="811214" y="5964238"/>
                <a:ext cx="1285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0" name="Rectangle 64"/>
              <p:cNvSpPr>
                <a:spLocks noChangeArrowheads="1"/>
              </p:cNvSpPr>
              <p:nvPr/>
            </p:nvSpPr>
            <p:spPr bwMode="auto">
              <a:xfrm>
                <a:off x="760414" y="5886451"/>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1" name="Rectangle 65"/>
              <p:cNvSpPr>
                <a:spLocks noChangeArrowheads="1"/>
              </p:cNvSpPr>
              <p:nvPr/>
            </p:nvSpPr>
            <p:spPr bwMode="auto">
              <a:xfrm>
                <a:off x="811214" y="5886451"/>
                <a:ext cx="1285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2" name="Rectangle 66"/>
              <p:cNvSpPr>
                <a:spLocks noChangeArrowheads="1"/>
              </p:cNvSpPr>
              <p:nvPr/>
            </p:nvSpPr>
            <p:spPr bwMode="auto">
              <a:xfrm>
                <a:off x="760414" y="5808663"/>
                <a:ext cx="25400"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Rectangle 67"/>
              <p:cNvSpPr>
                <a:spLocks noChangeArrowheads="1"/>
              </p:cNvSpPr>
              <p:nvPr/>
            </p:nvSpPr>
            <p:spPr bwMode="auto">
              <a:xfrm>
                <a:off x="811214" y="5808663"/>
                <a:ext cx="12858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0" name="Group 29"/>
            <p:cNvGrpSpPr/>
            <p:nvPr/>
          </p:nvGrpSpPr>
          <p:grpSpPr>
            <a:xfrm>
              <a:off x="3816873" y="5517841"/>
              <a:ext cx="285750" cy="300038"/>
              <a:chOff x="5291152" y="5364009"/>
              <a:chExt cx="285750" cy="300038"/>
            </a:xfrm>
          </p:grpSpPr>
          <p:sp>
            <p:nvSpPr>
              <p:cNvPr id="156" name="Freeform 36"/>
              <p:cNvSpPr>
                <a:spLocks/>
              </p:cNvSpPr>
              <p:nvPr/>
            </p:nvSpPr>
            <p:spPr bwMode="auto">
              <a:xfrm>
                <a:off x="5291152" y="5364009"/>
                <a:ext cx="285750" cy="300038"/>
              </a:xfrm>
              <a:custGeom>
                <a:avLst/>
                <a:gdLst>
                  <a:gd name="T0" fmla="*/ 89 w 89"/>
                  <a:gd name="T1" fmla="*/ 37 h 93"/>
                  <a:gd name="T2" fmla="*/ 44 w 89"/>
                  <a:gd name="T3" fmla="*/ 93 h 93"/>
                  <a:gd name="T4" fmla="*/ 0 w 89"/>
                  <a:gd name="T5" fmla="*/ 37 h 93"/>
                  <a:gd name="T6" fmla="*/ 0 w 89"/>
                  <a:gd name="T7" fmla="*/ 0 h 93"/>
                  <a:gd name="T8" fmla="*/ 21 w 89"/>
                  <a:gd name="T9" fmla="*/ 6 h 93"/>
                  <a:gd name="T10" fmla="*/ 44 w 89"/>
                  <a:gd name="T11" fmla="*/ 0 h 93"/>
                  <a:gd name="T12" fmla="*/ 67 w 89"/>
                  <a:gd name="T13" fmla="*/ 6 h 93"/>
                  <a:gd name="T14" fmla="*/ 89 w 89"/>
                  <a:gd name="T15" fmla="*/ 0 h 93"/>
                  <a:gd name="T16" fmla="*/ 89 w 89"/>
                  <a:gd name="T1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3">
                    <a:moveTo>
                      <a:pt x="89" y="37"/>
                    </a:moveTo>
                    <a:cubicBezTo>
                      <a:pt x="89" y="76"/>
                      <a:pt x="44" y="93"/>
                      <a:pt x="44" y="93"/>
                    </a:cubicBezTo>
                    <a:cubicBezTo>
                      <a:pt x="44" y="93"/>
                      <a:pt x="0" y="76"/>
                      <a:pt x="0" y="37"/>
                    </a:cubicBezTo>
                    <a:cubicBezTo>
                      <a:pt x="0" y="28"/>
                      <a:pt x="0" y="0"/>
                      <a:pt x="0" y="0"/>
                    </a:cubicBezTo>
                    <a:cubicBezTo>
                      <a:pt x="0" y="0"/>
                      <a:pt x="10" y="6"/>
                      <a:pt x="21" y="6"/>
                    </a:cubicBezTo>
                    <a:cubicBezTo>
                      <a:pt x="32" y="6"/>
                      <a:pt x="44" y="0"/>
                      <a:pt x="44" y="0"/>
                    </a:cubicBezTo>
                    <a:cubicBezTo>
                      <a:pt x="44" y="0"/>
                      <a:pt x="55" y="6"/>
                      <a:pt x="67" y="6"/>
                    </a:cubicBezTo>
                    <a:cubicBezTo>
                      <a:pt x="79" y="6"/>
                      <a:pt x="89" y="0"/>
                      <a:pt x="89" y="0"/>
                    </a:cubicBezTo>
                    <a:cubicBezTo>
                      <a:pt x="89" y="0"/>
                      <a:pt x="89" y="27"/>
                      <a:pt x="89" y="37"/>
                    </a:cubicBezTo>
                    <a:close/>
                  </a:path>
                </a:pathLst>
              </a:custGeom>
              <a:solidFill>
                <a:srgbClr val="FFFFFF"/>
              </a:solidFill>
              <a:ln w="26988" cap="flat">
                <a:solidFill>
                  <a:srgbClr val="005AA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163"/>
              <p:cNvSpPr>
                <a:spLocks/>
              </p:cNvSpPr>
              <p:nvPr/>
            </p:nvSpPr>
            <p:spPr bwMode="auto">
              <a:xfrm>
                <a:off x="5407833" y="5451432"/>
                <a:ext cx="52388" cy="90488"/>
              </a:xfrm>
              <a:custGeom>
                <a:avLst/>
                <a:gdLst>
                  <a:gd name="T0" fmla="*/ 8 w 16"/>
                  <a:gd name="T1" fmla="*/ 0 h 28"/>
                  <a:gd name="T2" fmla="*/ 0 w 16"/>
                  <a:gd name="T3" fmla="*/ 8 h 28"/>
                  <a:gd name="T4" fmla="*/ 4 w 16"/>
                  <a:gd name="T5" fmla="*/ 15 h 28"/>
                  <a:gd name="T6" fmla="*/ 4 w 16"/>
                  <a:gd name="T7" fmla="*/ 28 h 28"/>
                  <a:gd name="T8" fmla="*/ 12 w 16"/>
                  <a:gd name="T9" fmla="*/ 28 h 28"/>
                  <a:gd name="T10" fmla="*/ 12 w 16"/>
                  <a:gd name="T11" fmla="*/ 15 h 28"/>
                  <a:gd name="T12" fmla="*/ 16 w 16"/>
                  <a:gd name="T13" fmla="*/ 8 h 28"/>
                  <a:gd name="T14" fmla="*/ 8 w 16"/>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8" y="0"/>
                    </a:moveTo>
                    <a:cubicBezTo>
                      <a:pt x="4" y="0"/>
                      <a:pt x="0" y="3"/>
                      <a:pt x="0" y="8"/>
                    </a:cubicBezTo>
                    <a:cubicBezTo>
                      <a:pt x="0" y="11"/>
                      <a:pt x="2" y="13"/>
                      <a:pt x="4" y="15"/>
                    </a:cubicBezTo>
                    <a:cubicBezTo>
                      <a:pt x="4" y="28"/>
                      <a:pt x="4" y="28"/>
                      <a:pt x="4" y="28"/>
                    </a:cubicBezTo>
                    <a:cubicBezTo>
                      <a:pt x="12" y="28"/>
                      <a:pt x="12" y="28"/>
                      <a:pt x="12" y="28"/>
                    </a:cubicBezTo>
                    <a:cubicBezTo>
                      <a:pt x="12" y="15"/>
                      <a:pt x="12" y="15"/>
                      <a:pt x="12" y="15"/>
                    </a:cubicBezTo>
                    <a:cubicBezTo>
                      <a:pt x="14" y="13"/>
                      <a:pt x="16" y="11"/>
                      <a:pt x="16" y="8"/>
                    </a:cubicBezTo>
                    <a:cubicBezTo>
                      <a:pt x="16" y="3"/>
                      <a:pt x="13" y="0"/>
                      <a:pt x="8" y="0"/>
                    </a:cubicBezTo>
                    <a:close/>
                  </a:path>
                </a:pathLst>
              </a:custGeom>
              <a:solidFill>
                <a:srgbClr val="005AA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9" name="Group 28"/>
            <p:cNvGrpSpPr/>
            <p:nvPr/>
          </p:nvGrpSpPr>
          <p:grpSpPr>
            <a:xfrm>
              <a:off x="2670710" y="1683029"/>
              <a:ext cx="285751" cy="412751"/>
              <a:chOff x="1304925" y="3287713"/>
              <a:chExt cx="285751" cy="412751"/>
            </a:xfrm>
            <a:solidFill>
              <a:srgbClr val="A22C01"/>
            </a:solidFill>
          </p:grpSpPr>
          <p:sp>
            <p:nvSpPr>
              <p:cNvPr id="20" name="Rectangle 14"/>
              <p:cNvSpPr>
                <a:spLocks noChangeArrowheads="1"/>
              </p:cNvSpPr>
              <p:nvPr/>
            </p:nvSpPr>
            <p:spPr bwMode="auto">
              <a:xfrm>
                <a:off x="1304925" y="3495676"/>
                <a:ext cx="1317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15"/>
              <p:cNvSpPr>
                <a:spLocks noEditPoints="1"/>
              </p:cNvSpPr>
              <p:nvPr/>
            </p:nvSpPr>
            <p:spPr bwMode="auto">
              <a:xfrm>
                <a:off x="1338263" y="3287713"/>
                <a:ext cx="68263" cy="96838"/>
              </a:xfrm>
              <a:custGeom>
                <a:avLst/>
                <a:gdLst>
                  <a:gd name="T0" fmla="*/ 20 w 43"/>
                  <a:gd name="T1" fmla="*/ 61 h 61"/>
                  <a:gd name="T2" fmla="*/ 0 w 43"/>
                  <a:gd name="T3" fmla="*/ 39 h 61"/>
                  <a:gd name="T4" fmla="*/ 0 w 43"/>
                  <a:gd name="T5" fmla="*/ 0 h 61"/>
                  <a:gd name="T6" fmla="*/ 43 w 43"/>
                  <a:gd name="T7" fmla="*/ 0 h 61"/>
                  <a:gd name="T8" fmla="*/ 43 w 43"/>
                  <a:gd name="T9" fmla="*/ 39 h 61"/>
                  <a:gd name="T10" fmla="*/ 20 w 43"/>
                  <a:gd name="T11" fmla="*/ 61 h 61"/>
                  <a:gd name="T12" fmla="*/ 12 w 43"/>
                  <a:gd name="T13" fmla="*/ 35 h 61"/>
                  <a:gd name="T14" fmla="*/ 20 w 43"/>
                  <a:gd name="T15" fmla="*/ 43 h 61"/>
                  <a:gd name="T16" fmla="*/ 31 w 43"/>
                  <a:gd name="T17" fmla="*/ 33 h 61"/>
                  <a:gd name="T18" fmla="*/ 31 w 43"/>
                  <a:gd name="T19" fmla="*/ 12 h 61"/>
                  <a:gd name="T20" fmla="*/ 12 w 43"/>
                  <a:gd name="T21" fmla="*/ 12 h 61"/>
                  <a:gd name="T22" fmla="*/ 12 w 43"/>
                  <a:gd name="T23"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61">
                    <a:moveTo>
                      <a:pt x="20" y="61"/>
                    </a:moveTo>
                    <a:lnTo>
                      <a:pt x="0" y="39"/>
                    </a:lnTo>
                    <a:lnTo>
                      <a:pt x="0" y="0"/>
                    </a:lnTo>
                    <a:lnTo>
                      <a:pt x="43" y="0"/>
                    </a:lnTo>
                    <a:lnTo>
                      <a:pt x="43" y="39"/>
                    </a:lnTo>
                    <a:lnTo>
                      <a:pt x="20" y="61"/>
                    </a:lnTo>
                    <a:close/>
                    <a:moveTo>
                      <a:pt x="12" y="35"/>
                    </a:moveTo>
                    <a:lnTo>
                      <a:pt x="20" y="43"/>
                    </a:lnTo>
                    <a:lnTo>
                      <a:pt x="31" y="33"/>
                    </a:lnTo>
                    <a:lnTo>
                      <a:pt x="31" y="12"/>
                    </a:lnTo>
                    <a:lnTo>
                      <a:pt x="12" y="12"/>
                    </a:lnTo>
                    <a:lnTo>
                      <a:pt x="12"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Rectangle 16"/>
              <p:cNvSpPr>
                <a:spLocks noChangeArrowheads="1"/>
              </p:cNvSpPr>
              <p:nvPr/>
            </p:nvSpPr>
            <p:spPr bwMode="auto">
              <a:xfrm>
                <a:off x="1360488" y="3371851"/>
                <a:ext cx="20638" cy="133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17"/>
              <p:cNvSpPr>
                <a:spLocks/>
              </p:cNvSpPr>
              <p:nvPr/>
            </p:nvSpPr>
            <p:spPr bwMode="auto">
              <a:xfrm>
                <a:off x="1335088" y="3505201"/>
                <a:ext cx="74613" cy="195263"/>
              </a:xfrm>
              <a:custGeom>
                <a:avLst/>
                <a:gdLst>
                  <a:gd name="T0" fmla="*/ 11 w 23"/>
                  <a:gd name="T1" fmla="*/ 60 h 60"/>
                  <a:gd name="T2" fmla="*/ 0 w 23"/>
                  <a:gd name="T3" fmla="*/ 48 h 60"/>
                  <a:gd name="T4" fmla="*/ 0 w 23"/>
                  <a:gd name="T5" fmla="*/ 0 h 60"/>
                  <a:gd name="T6" fmla="*/ 6 w 23"/>
                  <a:gd name="T7" fmla="*/ 0 h 60"/>
                  <a:gd name="T8" fmla="*/ 6 w 23"/>
                  <a:gd name="T9" fmla="*/ 48 h 60"/>
                  <a:gd name="T10" fmla="*/ 11 w 23"/>
                  <a:gd name="T11" fmla="*/ 54 h 60"/>
                  <a:gd name="T12" fmla="*/ 17 w 23"/>
                  <a:gd name="T13" fmla="*/ 48 h 60"/>
                  <a:gd name="T14" fmla="*/ 17 w 23"/>
                  <a:gd name="T15" fmla="*/ 0 h 60"/>
                  <a:gd name="T16" fmla="*/ 23 w 23"/>
                  <a:gd name="T17" fmla="*/ 0 h 60"/>
                  <a:gd name="T18" fmla="*/ 23 w 23"/>
                  <a:gd name="T19" fmla="*/ 48 h 60"/>
                  <a:gd name="T20" fmla="*/ 11 w 23"/>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60">
                    <a:moveTo>
                      <a:pt x="11" y="60"/>
                    </a:moveTo>
                    <a:cubicBezTo>
                      <a:pt x="5" y="60"/>
                      <a:pt x="0" y="55"/>
                      <a:pt x="0" y="48"/>
                    </a:cubicBezTo>
                    <a:cubicBezTo>
                      <a:pt x="0" y="0"/>
                      <a:pt x="0" y="0"/>
                      <a:pt x="0" y="0"/>
                    </a:cubicBezTo>
                    <a:cubicBezTo>
                      <a:pt x="6" y="0"/>
                      <a:pt x="6" y="0"/>
                      <a:pt x="6" y="0"/>
                    </a:cubicBezTo>
                    <a:cubicBezTo>
                      <a:pt x="6" y="48"/>
                      <a:pt x="6" y="48"/>
                      <a:pt x="6" y="48"/>
                    </a:cubicBezTo>
                    <a:cubicBezTo>
                      <a:pt x="6" y="51"/>
                      <a:pt x="8" y="54"/>
                      <a:pt x="11" y="54"/>
                    </a:cubicBezTo>
                    <a:cubicBezTo>
                      <a:pt x="14" y="54"/>
                      <a:pt x="17" y="51"/>
                      <a:pt x="17" y="48"/>
                    </a:cubicBezTo>
                    <a:cubicBezTo>
                      <a:pt x="17" y="0"/>
                      <a:pt x="17" y="0"/>
                      <a:pt x="17" y="0"/>
                    </a:cubicBezTo>
                    <a:cubicBezTo>
                      <a:pt x="23" y="0"/>
                      <a:pt x="23" y="0"/>
                      <a:pt x="23" y="0"/>
                    </a:cubicBezTo>
                    <a:cubicBezTo>
                      <a:pt x="23" y="48"/>
                      <a:pt x="23" y="48"/>
                      <a:pt x="23" y="48"/>
                    </a:cubicBezTo>
                    <a:cubicBezTo>
                      <a:pt x="23" y="55"/>
                      <a:pt x="18" y="60"/>
                      <a:pt x="1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Freeform 18"/>
              <p:cNvSpPr>
                <a:spLocks noEditPoints="1"/>
              </p:cNvSpPr>
              <p:nvPr/>
            </p:nvSpPr>
            <p:spPr bwMode="auto">
              <a:xfrm>
                <a:off x="1443038" y="3287713"/>
                <a:ext cx="147638" cy="412750"/>
              </a:xfrm>
              <a:custGeom>
                <a:avLst/>
                <a:gdLst>
                  <a:gd name="T0" fmla="*/ 22 w 45"/>
                  <a:gd name="T1" fmla="*/ 127 h 127"/>
                  <a:gd name="T2" fmla="*/ 11 w 45"/>
                  <a:gd name="T3" fmla="*/ 115 h 127"/>
                  <a:gd name="T4" fmla="*/ 11 w 45"/>
                  <a:gd name="T5" fmla="*/ 42 h 127"/>
                  <a:gd name="T6" fmla="*/ 0 w 45"/>
                  <a:gd name="T7" fmla="*/ 22 h 127"/>
                  <a:gd name="T8" fmla="*/ 22 w 45"/>
                  <a:gd name="T9" fmla="*/ 0 h 127"/>
                  <a:gd name="T10" fmla="*/ 45 w 45"/>
                  <a:gd name="T11" fmla="*/ 22 h 127"/>
                  <a:gd name="T12" fmla="*/ 34 w 45"/>
                  <a:gd name="T13" fmla="*/ 42 h 127"/>
                  <a:gd name="T14" fmla="*/ 34 w 45"/>
                  <a:gd name="T15" fmla="*/ 115 h 127"/>
                  <a:gd name="T16" fmla="*/ 22 w 45"/>
                  <a:gd name="T17" fmla="*/ 127 h 127"/>
                  <a:gd name="T18" fmla="*/ 22 w 45"/>
                  <a:gd name="T19" fmla="*/ 6 h 127"/>
                  <a:gd name="T20" fmla="*/ 6 w 45"/>
                  <a:gd name="T21" fmla="*/ 22 h 127"/>
                  <a:gd name="T22" fmla="*/ 15 w 45"/>
                  <a:gd name="T23" fmla="*/ 37 h 127"/>
                  <a:gd name="T24" fmla="*/ 17 w 45"/>
                  <a:gd name="T25" fmla="*/ 38 h 127"/>
                  <a:gd name="T26" fmla="*/ 17 w 45"/>
                  <a:gd name="T27" fmla="*/ 115 h 127"/>
                  <a:gd name="T28" fmla="*/ 22 w 45"/>
                  <a:gd name="T29" fmla="*/ 121 h 127"/>
                  <a:gd name="T30" fmla="*/ 28 w 45"/>
                  <a:gd name="T31" fmla="*/ 115 h 127"/>
                  <a:gd name="T32" fmla="*/ 28 w 45"/>
                  <a:gd name="T33" fmla="*/ 38 h 127"/>
                  <a:gd name="T34" fmla="*/ 29 w 45"/>
                  <a:gd name="T35" fmla="*/ 37 h 127"/>
                  <a:gd name="T36" fmla="*/ 39 w 45"/>
                  <a:gd name="T37" fmla="*/ 22 h 127"/>
                  <a:gd name="T38" fmla="*/ 22 w 45"/>
                  <a:gd name="T39" fmla="*/ 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127">
                    <a:moveTo>
                      <a:pt x="22" y="127"/>
                    </a:moveTo>
                    <a:cubicBezTo>
                      <a:pt x="16" y="127"/>
                      <a:pt x="11" y="122"/>
                      <a:pt x="11" y="115"/>
                    </a:cubicBezTo>
                    <a:cubicBezTo>
                      <a:pt x="11" y="42"/>
                      <a:pt x="11" y="42"/>
                      <a:pt x="11" y="42"/>
                    </a:cubicBezTo>
                    <a:cubicBezTo>
                      <a:pt x="4" y="38"/>
                      <a:pt x="0" y="30"/>
                      <a:pt x="0" y="22"/>
                    </a:cubicBezTo>
                    <a:cubicBezTo>
                      <a:pt x="0" y="10"/>
                      <a:pt x="10" y="0"/>
                      <a:pt x="22" y="0"/>
                    </a:cubicBezTo>
                    <a:cubicBezTo>
                      <a:pt x="35" y="0"/>
                      <a:pt x="45" y="10"/>
                      <a:pt x="45" y="22"/>
                    </a:cubicBezTo>
                    <a:cubicBezTo>
                      <a:pt x="45" y="30"/>
                      <a:pt x="40" y="38"/>
                      <a:pt x="34" y="42"/>
                    </a:cubicBezTo>
                    <a:cubicBezTo>
                      <a:pt x="34" y="115"/>
                      <a:pt x="34" y="115"/>
                      <a:pt x="34" y="115"/>
                    </a:cubicBezTo>
                    <a:cubicBezTo>
                      <a:pt x="34" y="122"/>
                      <a:pt x="29" y="127"/>
                      <a:pt x="22" y="127"/>
                    </a:cubicBezTo>
                    <a:close/>
                    <a:moveTo>
                      <a:pt x="22" y="6"/>
                    </a:moveTo>
                    <a:cubicBezTo>
                      <a:pt x="13" y="6"/>
                      <a:pt x="6" y="13"/>
                      <a:pt x="6" y="22"/>
                    </a:cubicBezTo>
                    <a:cubicBezTo>
                      <a:pt x="6" y="29"/>
                      <a:pt x="10" y="34"/>
                      <a:pt x="15" y="37"/>
                    </a:cubicBezTo>
                    <a:cubicBezTo>
                      <a:pt x="17" y="38"/>
                      <a:pt x="17" y="38"/>
                      <a:pt x="17" y="38"/>
                    </a:cubicBezTo>
                    <a:cubicBezTo>
                      <a:pt x="17" y="115"/>
                      <a:pt x="17" y="115"/>
                      <a:pt x="17" y="115"/>
                    </a:cubicBezTo>
                    <a:cubicBezTo>
                      <a:pt x="17" y="118"/>
                      <a:pt x="19" y="121"/>
                      <a:pt x="22" y="121"/>
                    </a:cubicBezTo>
                    <a:cubicBezTo>
                      <a:pt x="25" y="121"/>
                      <a:pt x="28" y="118"/>
                      <a:pt x="28" y="115"/>
                    </a:cubicBezTo>
                    <a:cubicBezTo>
                      <a:pt x="28" y="38"/>
                      <a:pt x="28" y="38"/>
                      <a:pt x="28" y="38"/>
                    </a:cubicBezTo>
                    <a:cubicBezTo>
                      <a:pt x="29" y="37"/>
                      <a:pt x="29" y="37"/>
                      <a:pt x="29" y="37"/>
                    </a:cubicBezTo>
                    <a:cubicBezTo>
                      <a:pt x="35" y="34"/>
                      <a:pt x="39" y="29"/>
                      <a:pt x="39" y="22"/>
                    </a:cubicBezTo>
                    <a:cubicBezTo>
                      <a:pt x="39" y="13"/>
                      <a:pt x="31" y="6"/>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Freeform 19"/>
              <p:cNvSpPr>
                <a:spLocks/>
              </p:cNvSpPr>
              <p:nvPr/>
            </p:nvSpPr>
            <p:spPr bwMode="auto">
              <a:xfrm>
                <a:off x="1504950" y="3297238"/>
                <a:ext cx="20638" cy="68263"/>
              </a:xfrm>
              <a:custGeom>
                <a:avLst/>
                <a:gdLst>
                  <a:gd name="T0" fmla="*/ 3 w 6"/>
                  <a:gd name="T1" fmla="*/ 21 h 21"/>
                  <a:gd name="T2" fmla="*/ 0 w 6"/>
                  <a:gd name="T3" fmla="*/ 18 h 21"/>
                  <a:gd name="T4" fmla="*/ 0 w 6"/>
                  <a:gd name="T5" fmla="*/ 3 h 21"/>
                  <a:gd name="T6" fmla="*/ 3 w 6"/>
                  <a:gd name="T7" fmla="*/ 0 h 21"/>
                  <a:gd name="T8" fmla="*/ 6 w 6"/>
                  <a:gd name="T9" fmla="*/ 3 h 21"/>
                  <a:gd name="T10" fmla="*/ 6 w 6"/>
                  <a:gd name="T11" fmla="*/ 18 h 21"/>
                  <a:gd name="T12" fmla="*/ 3 w 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 h="21">
                    <a:moveTo>
                      <a:pt x="3" y="21"/>
                    </a:moveTo>
                    <a:cubicBezTo>
                      <a:pt x="2" y="21"/>
                      <a:pt x="0" y="19"/>
                      <a:pt x="0" y="18"/>
                    </a:cubicBezTo>
                    <a:cubicBezTo>
                      <a:pt x="0" y="3"/>
                      <a:pt x="0" y="3"/>
                      <a:pt x="0" y="3"/>
                    </a:cubicBezTo>
                    <a:cubicBezTo>
                      <a:pt x="0" y="1"/>
                      <a:pt x="2" y="0"/>
                      <a:pt x="3" y="0"/>
                    </a:cubicBezTo>
                    <a:cubicBezTo>
                      <a:pt x="5" y="0"/>
                      <a:pt x="6" y="1"/>
                      <a:pt x="6" y="3"/>
                    </a:cubicBezTo>
                    <a:cubicBezTo>
                      <a:pt x="6" y="18"/>
                      <a:pt x="6" y="18"/>
                      <a:pt x="6" y="18"/>
                    </a:cubicBezTo>
                    <a:cubicBezTo>
                      <a:pt x="6" y="19"/>
                      <a:pt x="5" y="21"/>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60" name="Freeform 89"/>
            <p:cNvSpPr>
              <a:spLocks noEditPoints="1"/>
            </p:cNvSpPr>
            <p:nvPr/>
          </p:nvSpPr>
          <p:spPr bwMode="auto">
            <a:xfrm>
              <a:off x="3913041" y="1710823"/>
              <a:ext cx="375729" cy="375729"/>
            </a:xfrm>
            <a:custGeom>
              <a:avLst/>
              <a:gdLst>
                <a:gd name="T0" fmla="*/ 180 w 270"/>
                <a:gd name="T1" fmla="*/ 0 h 270"/>
                <a:gd name="T2" fmla="*/ 0 w 270"/>
                <a:gd name="T3" fmla="*/ 0 h 270"/>
                <a:gd name="T4" fmla="*/ 0 w 270"/>
                <a:gd name="T5" fmla="*/ 182 h 270"/>
                <a:gd name="T6" fmla="*/ 89 w 270"/>
                <a:gd name="T7" fmla="*/ 270 h 270"/>
                <a:gd name="T8" fmla="*/ 270 w 270"/>
                <a:gd name="T9" fmla="*/ 270 h 270"/>
                <a:gd name="T10" fmla="*/ 270 w 270"/>
                <a:gd name="T11" fmla="*/ 89 h 270"/>
                <a:gd name="T12" fmla="*/ 180 w 270"/>
                <a:gd name="T13" fmla="*/ 0 h 270"/>
                <a:gd name="T14" fmla="*/ 242 w 270"/>
                <a:gd name="T15" fmla="*/ 85 h 270"/>
                <a:gd name="T16" fmla="*/ 180 w 270"/>
                <a:gd name="T17" fmla="*/ 85 h 270"/>
                <a:gd name="T18" fmla="*/ 155 w 270"/>
                <a:gd name="T19" fmla="*/ 59 h 270"/>
                <a:gd name="T20" fmla="*/ 216 w 270"/>
                <a:gd name="T21" fmla="*/ 59 h 270"/>
                <a:gd name="T22" fmla="*/ 242 w 270"/>
                <a:gd name="T23" fmla="*/ 85 h 270"/>
                <a:gd name="T24" fmla="*/ 174 w 270"/>
                <a:gd name="T25" fmla="*/ 16 h 270"/>
                <a:gd name="T26" fmla="*/ 200 w 270"/>
                <a:gd name="T27" fmla="*/ 44 h 270"/>
                <a:gd name="T28" fmla="*/ 139 w 270"/>
                <a:gd name="T29" fmla="*/ 44 h 270"/>
                <a:gd name="T30" fmla="*/ 113 w 270"/>
                <a:gd name="T31" fmla="*/ 16 h 270"/>
                <a:gd name="T32" fmla="*/ 174 w 270"/>
                <a:gd name="T33" fmla="*/ 16 h 270"/>
                <a:gd name="T34" fmla="*/ 85 w 270"/>
                <a:gd name="T35" fmla="*/ 244 h 270"/>
                <a:gd name="T36" fmla="*/ 16 w 270"/>
                <a:gd name="T37" fmla="*/ 175 h 270"/>
                <a:gd name="T38" fmla="*/ 16 w 270"/>
                <a:gd name="T39" fmla="*/ 28 h 270"/>
                <a:gd name="T40" fmla="*/ 85 w 270"/>
                <a:gd name="T41" fmla="*/ 97 h 270"/>
                <a:gd name="T42" fmla="*/ 85 w 270"/>
                <a:gd name="T43" fmla="*/ 244 h 270"/>
                <a:gd name="T44" fmla="*/ 28 w 270"/>
                <a:gd name="T45" fmla="*/ 16 h 270"/>
                <a:gd name="T46" fmla="*/ 89 w 270"/>
                <a:gd name="T47" fmla="*/ 16 h 270"/>
                <a:gd name="T48" fmla="*/ 159 w 270"/>
                <a:gd name="T49" fmla="*/ 85 h 270"/>
                <a:gd name="T50" fmla="*/ 95 w 270"/>
                <a:gd name="T51" fmla="*/ 85 h 270"/>
                <a:gd name="T52" fmla="*/ 28 w 270"/>
                <a:gd name="T53" fmla="*/ 16 h 270"/>
                <a:gd name="T54" fmla="*/ 254 w 270"/>
                <a:gd name="T55" fmla="*/ 254 h 270"/>
                <a:gd name="T56" fmla="*/ 101 w 270"/>
                <a:gd name="T57" fmla="*/ 254 h 270"/>
                <a:gd name="T58" fmla="*/ 101 w 270"/>
                <a:gd name="T59" fmla="*/ 101 h 270"/>
                <a:gd name="T60" fmla="*/ 254 w 270"/>
                <a:gd name="T61" fmla="*/ 101 h 270"/>
                <a:gd name="T62" fmla="*/ 254 w 270"/>
                <a:gd name="T63" fmla="*/ 2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270">
                  <a:moveTo>
                    <a:pt x="180" y="0"/>
                  </a:moveTo>
                  <a:lnTo>
                    <a:pt x="0" y="0"/>
                  </a:lnTo>
                  <a:lnTo>
                    <a:pt x="0" y="182"/>
                  </a:lnTo>
                  <a:lnTo>
                    <a:pt x="89" y="270"/>
                  </a:lnTo>
                  <a:lnTo>
                    <a:pt x="270" y="270"/>
                  </a:lnTo>
                  <a:lnTo>
                    <a:pt x="270" y="89"/>
                  </a:lnTo>
                  <a:lnTo>
                    <a:pt x="180" y="0"/>
                  </a:lnTo>
                  <a:close/>
                  <a:moveTo>
                    <a:pt x="242" y="85"/>
                  </a:moveTo>
                  <a:lnTo>
                    <a:pt x="180" y="85"/>
                  </a:lnTo>
                  <a:lnTo>
                    <a:pt x="155" y="59"/>
                  </a:lnTo>
                  <a:lnTo>
                    <a:pt x="216" y="59"/>
                  </a:lnTo>
                  <a:lnTo>
                    <a:pt x="242" y="85"/>
                  </a:lnTo>
                  <a:close/>
                  <a:moveTo>
                    <a:pt x="174" y="16"/>
                  </a:moveTo>
                  <a:lnTo>
                    <a:pt x="200" y="44"/>
                  </a:lnTo>
                  <a:lnTo>
                    <a:pt x="139" y="44"/>
                  </a:lnTo>
                  <a:lnTo>
                    <a:pt x="113" y="16"/>
                  </a:lnTo>
                  <a:lnTo>
                    <a:pt x="174" y="16"/>
                  </a:lnTo>
                  <a:close/>
                  <a:moveTo>
                    <a:pt x="85" y="244"/>
                  </a:moveTo>
                  <a:lnTo>
                    <a:pt x="16" y="175"/>
                  </a:lnTo>
                  <a:lnTo>
                    <a:pt x="16" y="28"/>
                  </a:lnTo>
                  <a:lnTo>
                    <a:pt x="85" y="97"/>
                  </a:lnTo>
                  <a:lnTo>
                    <a:pt x="85" y="244"/>
                  </a:lnTo>
                  <a:close/>
                  <a:moveTo>
                    <a:pt x="28" y="16"/>
                  </a:moveTo>
                  <a:lnTo>
                    <a:pt x="89" y="16"/>
                  </a:lnTo>
                  <a:lnTo>
                    <a:pt x="159" y="85"/>
                  </a:lnTo>
                  <a:lnTo>
                    <a:pt x="95" y="85"/>
                  </a:lnTo>
                  <a:lnTo>
                    <a:pt x="28" y="16"/>
                  </a:lnTo>
                  <a:close/>
                  <a:moveTo>
                    <a:pt x="254" y="254"/>
                  </a:moveTo>
                  <a:lnTo>
                    <a:pt x="101" y="254"/>
                  </a:lnTo>
                  <a:lnTo>
                    <a:pt x="101" y="101"/>
                  </a:lnTo>
                  <a:lnTo>
                    <a:pt x="254" y="101"/>
                  </a:lnTo>
                  <a:lnTo>
                    <a:pt x="254" y="254"/>
                  </a:lnTo>
                  <a:close/>
                </a:path>
              </a:pathLst>
            </a:custGeom>
            <a:solidFill>
              <a:srgbClr val="A22C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61" name="Group 160"/>
            <p:cNvGrpSpPr/>
            <p:nvPr/>
          </p:nvGrpSpPr>
          <p:grpSpPr>
            <a:xfrm>
              <a:off x="8123371" y="1573626"/>
              <a:ext cx="309563" cy="388938"/>
              <a:chOff x="11798301" y="284163"/>
              <a:chExt cx="309563" cy="388938"/>
            </a:xfrm>
          </p:grpSpPr>
          <p:sp>
            <p:nvSpPr>
              <p:cNvPr id="162" name="Freeform 7"/>
              <p:cNvSpPr>
                <a:spLocks/>
              </p:cNvSpPr>
              <p:nvPr/>
            </p:nvSpPr>
            <p:spPr bwMode="auto">
              <a:xfrm>
                <a:off x="11952289" y="336551"/>
                <a:ext cx="155575" cy="298450"/>
              </a:xfrm>
              <a:custGeom>
                <a:avLst/>
                <a:gdLst>
                  <a:gd name="T0" fmla="*/ 17 w 48"/>
                  <a:gd name="T1" fmla="*/ 0 h 93"/>
                  <a:gd name="T2" fmla="*/ 48 w 48"/>
                  <a:gd name="T3" fmla="*/ 45 h 93"/>
                  <a:gd name="T4" fmla="*/ 0 w 48"/>
                  <a:gd name="T5" fmla="*/ 93 h 93"/>
                </a:gdLst>
                <a:ahLst/>
                <a:cxnLst>
                  <a:cxn ang="0">
                    <a:pos x="T0" y="T1"/>
                  </a:cxn>
                  <a:cxn ang="0">
                    <a:pos x="T2" y="T3"/>
                  </a:cxn>
                  <a:cxn ang="0">
                    <a:pos x="T4" y="T5"/>
                  </a:cxn>
                </a:cxnLst>
                <a:rect l="0" t="0" r="r" b="b"/>
                <a:pathLst>
                  <a:path w="48" h="93">
                    <a:moveTo>
                      <a:pt x="17" y="0"/>
                    </a:moveTo>
                    <a:cubicBezTo>
                      <a:pt x="35" y="6"/>
                      <a:pt x="48" y="24"/>
                      <a:pt x="48" y="45"/>
                    </a:cubicBezTo>
                    <a:cubicBezTo>
                      <a:pt x="48" y="71"/>
                      <a:pt x="27" y="93"/>
                      <a:pt x="0" y="93"/>
                    </a:cubicBez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8"/>
              <p:cNvSpPr>
                <a:spLocks/>
              </p:cNvSpPr>
              <p:nvPr/>
            </p:nvSpPr>
            <p:spPr bwMode="auto">
              <a:xfrm>
                <a:off x="11798301" y="323851"/>
                <a:ext cx="153988" cy="301625"/>
              </a:xfrm>
              <a:custGeom>
                <a:avLst/>
                <a:gdLst>
                  <a:gd name="T0" fmla="*/ 31 w 48"/>
                  <a:gd name="T1" fmla="*/ 94 h 94"/>
                  <a:gd name="T2" fmla="*/ 0 w 48"/>
                  <a:gd name="T3" fmla="*/ 49 h 94"/>
                  <a:gd name="T4" fmla="*/ 48 w 48"/>
                  <a:gd name="T5" fmla="*/ 0 h 94"/>
                </a:gdLst>
                <a:ahLst/>
                <a:cxnLst>
                  <a:cxn ang="0">
                    <a:pos x="T0" y="T1"/>
                  </a:cxn>
                  <a:cxn ang="0">
                    <a:pos x="T2" y="T3"/>
                  </a:cxn>
                  <a:cxn ang="0">
                    <a:pos x="T4" y="T5"/>
                  </a:cxn>
                </a:cxnLst>
                <a:rect l="0" t="0" r="r" b="b"/>
                <a:pathLst>
                  <a:path w="48" h="94">
                    <a:moveTo>
                      <a:pt x="31" y="94"/>
                    </a:moveTo>
                    <a:cubicBezTo>
                      <a:pt x="13" y="87"/>
                      <a:pt x="0" y="69"/>
                      <a:pt x="0" y="49"/>
                    </a:cubicBezTo>
                    <a:cubicBezTo>
                      <a:pt x="0" y="22"/>
                      <a:pt x="21" y="0"/>
                      <a:pt x="48" y="0"/>
                    </a:cubicBez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Line 9"/>
              <p:cNvSpPr>
                <a:spLocks noChangeShapeType="1"/>
              </p:cNvSpPr>
              <p:nvPr/>
            </p:nvSpPr>
            <p:spPr bwMode="auto">
              <a:xfrm>
                <a:off x="11952289" y="452438"/>
                <a:ext cx="0"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 name="Freeform 10"/>
              <p:cNvSpPr>
                <a:spLocks/>
              </p:cNvSpPr>
              <p:nvPr/>
            </p:nvSpPr>
            <p:spPr bwMode="auto">
              <a:xfrm>
                <a:off x="11933239" y="284163"/>
                <a:ext cx="39688" cy="80963"/>
              </a:xfrm>
              <a:custGeom>
                <a:avLst/>
                <a:gdLst>
                  <a:gd name="T0" fmla="*/ 0 w 25"/>
                  <a:gd name="T1" fmla="*/ 51 h 51"/>
                  <a:gd name="T2" fmla="*/ 25 w 25"/>
                  <a:gd name="T3" fmla="*/ 25 h 51"/>
                  <a:gd name="T4" fmla="*/ 0 w 25"/>
                  <a:gd name="T5" fmla="*/ 0 h 51"/>
                </a:gdLst>
                <a:ahLst/>
                <a:cxnLst>
                  <a:cxn ang="0">
                    <a:pos x="T0" y="T1"/>
                  </a:cxn>
                  <a:cxn ang="0">
                    <a:pos x="T2" y="T3"/>
                  </a:cxn>
                  <a:cxn ang="0">
                    <a:pos x="T4" y="T5"/>
                  </a:cxn>
                </a:cxnLst>
                <a:rect l="0" t="0" r="r" b="b"/>
                <a:pathLst>
                  <a:path w="25" h="51">
                    <a:moveTo>
                      <a:pt x="0" y="51"/>
                    </a:moveTo>
                    <a:lnTo>
                      <a:pt x="25" y="25"/>
                    </a:lnTo>
                    <a:lnTo>
                      <a:pt x="0" y="0"/>
                    </a:ln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 name="Line 11"/>
              <p:cNvSpPr>
                <a:spLocks noChangeShapeType="1"/>
              </p:cNvSpPr>
              <p:nvPr/>
            </p:nvSpPr>
            <p:spPr bwMode="auto">
              <a:xfrm>
                <a:off x="11952289" y="323851"/>
                <a:ext cx="20638"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Freeform 12"/>
              <p:cNvSpPr>
                <a:spLocks/>
              </p:cNvSpPr>
              <p:nvPr/>
            </p:nvSpPr>
            <p:spPr bwMode="auto">
              <a:xfrm>
                <a:off x="11933239" y="593726"/>
                <a:ext cx="39688" cy="79375"/>
              </a:xfrm>
              <a:custGeom>
                <a:avLst/>
                <a:gdLst>
                  <a:gd name="T0" fmla="*/ 25 w 25"/>
                  <a:gd name="T1" fmla="*/ 0 h 50"/>
                  <a:gd name="T2" fmla="*/ 0 w 25"/>
                  <a:gd name="T3" fmla="*/ 26 h 50"/>
                  <a:gd name="T4" fmla="*/ 25 w 25"/>
                  <a:gd name="T5" fmla="*/ 50 h 50"/>
                </a:gdLst>
                <a:ahLst/>
                <a:cxnLst>
                  <a:cxn ang="0">
                    <a:pos x="T0" y="T1"/>
                  </a:cxn>
                  <a:cxn ang="0">
                    <a:pos x="T2" y="T3"/>
                  </a:cxn>
                  <a:cxn ang="0">
                    <a:pos x="T4" y="T5"/>
                  </a:cxn>
                </a:cxnLst>
                <a:rect l="0" t="0" r="r" b="b"/>
                <a:pathLst>
                  <a:path w="25" h="50">
                    <a:moveTo>
                      <a:pt x="25" y="0"/>
                    </a:moveTo>
                    <a:lnTo>
                      <a:pt x="0" y="26"/>
                    </a:lnTo>
                    <a:lnTo>
                      <a:pt x="25" y="50"/>
                    </a:ln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 name="Line 13"/>
              <p:cNvSpPr>
                <a:spLocks noChangeShapeType="1"/>
              </p:cNvSpPr>
              <p:nvPr/>
            </p:nvSpPr>
            <p:spPr bwMode="auto">
              <a:xfrm flipH="1">
                <a:off x="11933239" y="635001"/>
                <a:ext cx="19050"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0" name="Group 39"/>
            <p:cNvGrpSpPr/>
            <p:nvPr/>
          </p:nvGrpSpPr>
          <p:grpSpPr>
            <a:xfrm>
              <a:off x="9357182" y="1678826"/>
              <a:ext cx="336550" cy="347663"/>
              <a:chOff x="1933575" y="3711575"/>
              <a:chExt cx="336550" cy="347663"/>
            </a:xfrm>
            <a:solidFill>
              <a:srgbClr val="D83B01"/>
            </a:solidFill>
          </p:grpSpPr>
          <p:sp>
            <p:nvSpPr>
              <p:cNvPr id="34" name="Freeform 24"/>
              <p:cNvSpPr>
                <a:spLocks/>
              </p:cNvSpPr>
              <p:nvPr/>
            </p:nvSpPr>
            <p:spPr bwMode="auto">
              <a:xfrm>
                <a:off x="2032000" y="3852863"/>
                <a:ext cx="107950" cy="104775"/>
              </a:xfrm>
              <a:custGeom>
                <a:avLst/>
                <a:gdLst>
                  <a:gd name="T0" fmla="*/ 59 w 68"/>
                  <a:gd name="T1" fmla="*/ 66 h 66"/>
                  <a:gd name="T2" fmla="*/ 0 w 68"/>
                  <a:gd name="T3" fmla="*/ 8 h 66"/>
                  <a:gd name="T4" fmla="*/ 10 w 68"/>
                  <a:gd name="T5" fmla="*/ 0 h 66"/>
                  <a:gd name="T6" fmla="*/ 68 w 68"/>
                  <a:gd name="T7" fmla="*/ 58 h 66"/>
                  <a:gd name="T8" fmla="*/ 59 w 68"/>
                  <a:gd name="T9" fmla="*/ 66 h 66"/>
                </a:gdLst>
                <a:ahLst/>
                <a:cxnLst>
                  <a:cxn ang="0">
                    <a:pos x="T0" y="T1"/>
                  </a:cxn>
                  <a:cxn ang="0">
                    <a:pos x="T2" y="T3"/>
                  </a:cxn>
                  <a:cxn ang="0">
                    <a:pos x="T4" y="T5"/>
                  </a:cxn>
                  <a:cxn ang="0">
                    <a:pos x="T6" y="T7"/>
                  </a:cxn>
                  <a:cxn ang="0">
                    <a:pos x="T8" y="T9"/>
                  </a:cxn>
                </a:cxnLst>
                <a:rect l="0" t="0" r="r" b="b"/>
                <a:pathLst>
                  <a:path w="68" h="66">
                    <a:moveTo>
                      <a:pt x="59" y="66"/>
                    </a:moveTo>
                    <a:lnTo>
                      <a:pt x="0" y="8"/>
                    </a:lnTo>
                    <a:lnTo>
                      <a:pt x="10" y="0"/>
                    </a:lnTo>
                    <a:lnTo>
                      <a:pt x="68" y="58"/>
                    </a:lnTo>
                    <a:lnTo>
                      <a:pt x="5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25"/>
              <p:cNvSpPr>
                <a:spLocks noEditPoints="1"/>
              </p:cNvSpPr>
              <p:nvPr/>
            </p:nvSpPr>
            <p:spPr bwMode="auto">
              <a:xfrm>
                <a:off x="2171700" y="3724275"/>
                <a:ext cx="95250" cy="95250"/>
              </a:xfrm>
              <a:custGeom>
                <a:avLst/>
                <a:gdLst>
                  <a:gd name="T0" fmla="*/ 0 w 60"/>
                  <a:gd name="T1" fmla="*/ 60 h 60"/>
                  <a:gd name="T2" fmla="*/ 0 w 60"/>
                  <a:gd name="T3" fmla="*/ 29 h 60"/>
                  <a:gd name="T4" fmla="*/ 29 w 60"/>
                  <a:gd name="T5" fmla="*/ 0 h 60"/>
                  <a:gd name="T6" fmla="*/ 60 w 60"/>
                  <a:gd name="T7" fmla="*/ 31 h 60"/>
                  <a:gd name="T8" fmla="*/ 31 w 60"/>
                  <a:gd name="T9" fmla="*/ 60 h 60"/>
                  <a:gd name="T10" fmla="*/ 0 w 60"/>
                  <a:gd name="T11" fmla="*/ 60 h 60"/>
                  <a:gd name="T12" fmla="*/ 13 w 60"/>
                  <a:gd name="T13" fmla="*/ 33 h 60"/>
                  <a:gd name="T14" fmla="*/ 13 w 60"/>
                  <a:gd name="T15" fmla="*/ 48 h 60"/>
                  <a:gd name="T16" fmla="*/ 27 w 60"/>
                  <a:gd name="T17" fmla="*/ 48 h 60"/>
                  <a:gd name="T18" fmla="*/ 41 w 60"/>
                  <a:gd name="T19" fmla="*/ 31 h 60"/>
                  <a:gd name="T20" fmla="*/ 29 w 60"/>
                  <a:gd name="T21" fmla="*/ 19 h 60"/>
                  <a:gd name="T22" fmla="*/ 13 w 60"/>
                  <a:gd name="T23" fmla="*/ 3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60">
                    <a:moveTo>
                      <a:pt x="0" y="60"/>
                    </a:moveTo>
                    <a:lnTo>
                      <a:pt x="0" y="29"/>
                    </a:lnTo>
                    <a:lnTo>
                      <a:pt x="29" y="0"/>
                    </a:lnTo>
                    <a:lnTo>
                      <a:pt x="60" y="31"/>
                    </a:lnTo>
                    <a:lnTo>
                      <a:pt x="31" y="60"/>
                    </a:lnTo>
                    <a:lnTo>
                      <a:pt x="0" y="60"/>
                    </a:lnTo>
                    <a:close/>
                    <a:moveTo>
                      <a:pt x="13" y="33"/>
                    </a:moveTo>
                    <a:lnTo>
                      <a:pt x="13" y="48"/>
                    </a:lnTo>
                    <a:lnTo>
                      <a:pt x="27" y="48"/>
                    </a:lnTo>
                    <a:lnTo>
                      <a:pt x="41" y="31"/>
                    </a:lnTo>
                    <a:lnTo>
                      <a:pt x="29" y="19"/>
                    </a:lnTo>
                    <a:lnTo>
                      <a:pt x="1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26"/>
              <p:cNvSpPr>
                <a:spLocks/>
              </p:cNvSpPr>
              <p:nvPr/>
            </p:nvSpPr>
            <p:spPr bwMode="auto">
              <a:xfrm>
                <a:off x="2112963" y="3803650"/>
                <a:ext cx="76200" cy="74613"/>
              </a:xfrm>
              <a:custGeom>
                <a:avLst/>
                <a:gdLst>
                  <a:gd name="T0" fmla="*/ 8 w 48"/>
                  <a:gd name="T1" fmla="*/ 47 h 47"/>
                  <a:gd name="T2" fmla="*/ 0 w 48"/>
                  <a:gd name="T3" fmla="*/ 39 h 47"/>
                  <a:gd name="T4" fmla="*/ 39 w 48"/>
                  <a:gd name="T5" fmla="*/ 0 h 47"/>
                  <a:gd name="T6" fmla="*/ 48 w 48"/>
                  <a:gd name="T7" fmla="*/ 8 h 47"/>
                  <a:gd name="T8" fmla="*/ 8 w 48"/>
                  <a:gd name="T9" fmla="*/ 47 h 47"/>
                </a:gdLst>
                <a:ahLst/>
                <a:cxnLst>
                  <a:cxn ang="0">
                    <a:pos x="T0" y="T1"/>
                  </a:cxn>
                  <a:cxn ang="0">
                    <a:pos x="T2" y="T3"/>
                  </a:cxn>
                  <a:cxn ang="0">
                    <a:pos x="T4" y="T5"/>
                  </a:cxn>
                  <a:cxn ang="0">
                    <a:pos x="T6" y="T7"/>
                  </a:cxn>
                  <a:cxn ang="0">
                    <a:pos x="T8" y="T9"/>
                  </a:cxn>
                </a:cxnLst>
                <a:rect l="0" t="0" r="r" b="b"/>
                <a:pathLst>
                  <a:path w="48" h="47">
                    <a:moveTo>
                      <a:pt x="8" y="47"/>
                    </a:moveTo>
                    <a:lnTo>
                      <a:pt x="0" y="39"/>
                    </a:lnTo>
                    <a:lnTo>
                      <a:pt x="39" y="0"/>
                    </a:lnTo>
                    <a:lnTo>
                      <a:pt x="48" y="8"/>
                    </a:lnTo>
                    <a:lnTo>
                      <a:pt x="8"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27"/>
              <p:cNvSpPr>
                <a:spLocks/>
              </p:cNvSpPr>
              <p:nvPr/>
            </p:nvSpPr>
            <p:spPr bwMode="auto">
              <a:xfrm>
                <a:off x="1933575" y="3878263"/>
                <a:ext cx="179388" cy="180975"/>
              </a:xfrm>
              <a:custGeom>
                <a:avLst/>
                <a:gdLst>
                  <a:gd name="T0" fmla="*/ 4 w 55"/>
                  <a:gd name="T1" fmla="*/ 50 h 55"/>
                  <a:gd name="T2" fmla="*/ 4 w 55"/>
                  <a:gd name="T3" fmla="*/ 34 h 55"/>
                  <a:gd name="T4" fmla="*/ 39 w 55"/>
                  <a:gd name="T5" fmla="*/ 0 h 55"/>
                  <a:gd name="T6" fmla="*/ 43 w 55"/>
                  <a:gd name="T7" fmla="*/ 4 h 55"/>
                  <a:gd name="T8" fmla="*/ 9 w 55"/>
                  <a:gd name="T9" fmla="*/ 38 h 55"/>
                  <a:gd name="T10" fmla="*/ 9 w 55"/>
                  <a:gd name="T11" fmla="*/ 46 h 55"/>
                  <a:gd name="T12" fmla="*/ 16 w 55"/>
                  <a:gd name="T13" fmla="*/ 46 h 55"/>
                  <a:gd name="T14" fmla="*/ 51 w 55"/>
                  <a:gd name="T15" fmla="*/ 12 h 55"/>
                  <a:gd name="T16" fmla="*/ 55 w 55"/>
                  <a:gd name="T17" fmla="*/ 16 h 55"/>
                  <a:gd name="T18" fmla="*/ 21 w 55"/>
                  <a:gd name="T19" fmla="*/ 50 h 55"/>
                  <a:gd name="T20" fmla="*/ 4 w 55"/>
                  <a:gd name="T21" fmla="*/ 5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55">
                    <a:moveTo>
                      <a:pt x="4" y="50"/>
                    </a:moveTo>
                    <a:cubicBezTo>
                      <a:pt x="0" y="46"/>
                      <a:pt x="0" y="39"/>
                      <a:pt x="4" y="34"/>
                    </a:cubicBezTo>
                    <a:cubicBezTo>
                      <a:pt x="39" y="0"/>
                      <a:pt x="39" y="0"/>
                      <a:pt x="39" y="0"/>
                    </a:cubicBezTo>
                    <a:cubicBezTo>
                      <a:pt x="43" y="4"/>
                      <a:pt x="43" y="4"/>
                      <a:pt x="43" y="4"/>
                    </a:cubicBezTo>
                    <a:cubicBezTo>
                      <a:pt x="9" y="38"/>
                      <a:pt x="9" y="38"/>
                      <a:pt x="9" y="38"/>
                    </a:cubicBezTo>
                    <a:cubicBezTo>
                      <a:pt x="7" y="40"/>
                      <a:pt x="7" y="44"/>
                      <a:pt x="9" y="46"/>
                    </a:cubicBezTo>
                    <a:cubicBezTo>
                      <a:pt x="11" y="48"/>
                      <a:pt x="14" y="48"/>
                      <a:pt x="16" y="46"/>
                    </a:cubicBezTo>
                    <a:cubicBezTo>
                      <a:pt x="51" y="12"/>
                      <a:pt x="51" y="12"/>
                      <a:pt x="51" y="12"/>
                    </a:cubicBezTo>
                    <a:cubicBezTo>
                      <a:pt x="55" y="16"/>
                      <a:pt x="55" y="16"/>
                      <a:pt x="55" y="16"/>
                    </a:cubicBezTo>
                    <a:cubicBezTo>
                      <a:pt x="21" y="50"/>
                      <a:pt x="21" y="50"/>
                      <a:pt x="21" y="50"/>
                    </a:cubicBezTo>
                    <a:cubicBezTo>
                      <a:pt x="16" y="55"/>
                      <a:pt x="9" y="55"/>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28"/>
              <p:cNvSpPr>
                <a:spLocks noEditPoints="1"/>
              </p:cNvSpPr>
              <p:nvPr/>
            </p:nvSpPr>
            <p:spPr bwMode="auto">
              <a:xfrm>
                <a:off x="1933575" y="3711575"/>
                <a:ext cx="336550" cy="338138"/>
              </a:xfrm>
              <a:custGeom>
                <a:avLst/>
                <a:gdLst>
                  <a:gd name="T0" fmla="*/ 98 w 103"/>
                  <a:gd name="T1" fmla="*/ 98 h 103"/>
                  <a:gd name="T2" fmla="*/ 82 w 103"/>
                  <a:gd name="T3" fmla="*/ 98 h 103"/>
                  <a:gd name="T4" fmla="*/ 30 w 103"/>
                  <a:gd name="T5" fmla="*/ 46 h 103"/>
                  <a:gd name="T6" fmla="*/ 9 w 103"/>
                  <a:gd name="T7" fmla="*/ 40 h 103"/>
                  <a:gd name="T8" fmla="*/ 9 w 103"/>
                  <a:gd name="T9" fmla="*/ 9 h 103"/>
                  <a:gd name="T10" fmla="*/ 40 w 103"/>
                  <a:gd name="T11" fmla="*/ 9 h 103"/>
                  <a:gd name="T12" fmla="*/ 46 w 103"/>
                  <a:gd name="T13" fmla="*/ 30 h 103"/>
                  <a:gd name="T14" fmla="*/ 98 w 103"/>
                  <a:gd name="T15" fmla="*/ 82 h 103"/>
                  <a:gd name="T16" fmla="*/ 98 w 103"/>
                  <a:gd name="T17" fmla="*/ 98 h 103"/>
                  <a:gd name="T18" fmla="*/ 13 w 103"/>
                  <a:gd name="T19" fmla="*/ 13 h 103"/>
                  <a:gd name="T20" fmla="*/ 13 w 103"/>
                  <a:gd name="T21" fmla="*/ 36 h 103"/>
                  <a:gd name="T22" fmla="*/ 30 w 103"/>
                  <a:gd name="T23" fmla="*/ 40 h 103"/>
                  <a:gd name="T24" fmla="*/ 32 w 103"/>
                  <a:gd name="T25" fmla="*/ 39 h 103"/>
                  <a:gd name="T26" fmla="*/ 86 w 103"/>
                  <a:gd name="T27" fmla="*/ 94 h 103"/>
                  <a:gd name="T28" fmla="*/ 94 w 103"/>
                  <a:gd name="T29" fmla="*/ 94 h 103"/>
                  <a:gd name="T30" fmla="*/ 94 w 103"/>
                  <a:gd name="T31" fmla="*/ 86 h 103"/>
                  <a:gd name="T32" fmla="*/ 39 w 103"/>
                  <a:gd name="T33" fmla="*/ 32 h 103"/>
                  <a:gd name="T34" fmla="*/ 40 w 103"/>
                  <a:gd name="T35" fmla="*/ 30 h 103"/>
                  <a:gd name="T36" fmla="*/ 36 w 103"/>
                  <a:gd name="T37" fmla="*/ 13 h 103"/>
                  <a:gd name="T38" fmla="*/ 13 w 103"/>
                  <a:gd name="T39"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03">
                    <a:moveTo>
                      <a:pt x="98" y="98"/>
                    </a:moveTo>
                    <a:cubicBezTo>
                      <a:pt x="94" y="103"/>
                      <a:pt x="87" y="103"/>
                      <a:pt x="82" y="98"/>
                    </a:cubicBezTo>
                    <a:cubicBezTo>
                      <a:pt x="30" y="46"/>
                      <a:pt x="30" y="46"/>
                      <a:pt x="30" y="46"/>
                    </a:cubicBezTo>
                    <a:cubicBezTo>
                      <a:pt x="22" y="48"/>
                      <a:pt x="14" y="46"/>
                      <a:pt x="9" y="40"/>
                    </a:cubicBezTo>
                    <a:cubicBezTo>
                      <a:pt x="0" y="31"/>
                      <a:pt x="0" y="17"/>
                      <a:pt x="9" y="9"/>
                    </a:cubicBezTo>
                    <a:cubicBezTo>
                      <a:pt x="17" y="0"/>
                      <a:pt x="32" y="0"/>
                      <a:pt x="40" y="9"/>
                    </a:cubicBezTo>
                    <a:cubicBezTo>
                      <a:pt x="46" y="14"/>
                      <a:pt x="48" y="22"/>
                      <a:pt x="46" y="30"/>
                    </a:cubicBezTo>
                    <a:cubicBezTo>
                      <a:pt x="98" y="82"/>
                      <a:pt x="98" y="82"/>
                      <a:pt x="98" y="82"/>
                    </a:cubicBezTo>
                    <a:cubicBezTo>
                      <a:pt x="103" y="86"/>
                      <a:pt x="103" y="94"/>
                      <a:pt x="98" y="98"/>
                    </a:cubicBezTo>
                    <a:close/>
                    <a:moveTo>
                      <a:pt x="13" y="13"/>
                    </a:moveTo>
                    <a:cubicBezTo>
                      <a:pt x="7" y="19"/>
                      <a:pt x="7" y="30"/>
                      <a:pt x="13" y="36"/>
                    </a:cubicBezTo>
                    <a:cubicBezTo>
                      <a:pt x="17" y="40"/>
                      <a:pt x="24" y="42"/>
                      <a:pt x="30" y="40"/>
                    </a:cubicBezTo>
                    <a:cubicBezTo>
                      <a:pt x="32" y="39"/>
                      <a:pt x="32" y="39"/>
                      <a:pt x="32" y="39"/>
                    </a:cubicBezTo>
                    <a:cubicBezTo>
                      <a:pt x="86" y="94"/>
                      <a:pt x="86" y="94"/>
                      <a:pt x="86" y="94"/>
                    </a:cubicBezTo>
                    <a:cubicBezTo>
                      <a:pt x="89" y="96"/>
                      <a:pt x="92" y="96"/>
                      <a:pt x="94" y="94"/>
                    </a:cubicBezTo>
                    <a:cubicBezTo>
                      <a:pt x="96" y="92"/>
                      <a:pt x="96" y="88"/>
                      <a:pt x="94" y="86"/>
                    </a:cubicBezTo>
                    <a:cubicBezTo>
                      <a:pt x="39" y="32"/>
                      <a:pt x="39" y="32"/>
                      <a:pt x="39" y="32"/>
                    </a:cubicBezTo>
                    <a:cubicBezTo>
                      <a:pt x="40" y="30"/>
                      <a:pt x="40" y="30"/>
                      <a:pt x="40" y="30"/>
                    </a:cubicBezTo>
                    <a:cubicBezTo>
                      <a:pt x="42" y="24"/>
                      <a:pt x="40" y="17"/>
                      <a:pt x="36" y="13"/>
                    </a:cubicBezTo>
                    <a:cubicBezTo>
                      <a:pt x="30" y="6"/>
                      <a:pt x="19" y="6"/>
                      <a:pt x="1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29"/>
              <p:cNvSpPr>
                <a:spLocks/>
              </p:cNvSpPr>
              <p:nvPr/>
            </p:nvSpPr>
            <p:spPr bwMode="auto">
              <a:xfrm>
                <a:off x="1963738" y="3740150"/>
                <a:ext cx="58738" cy="57150"/>
              </a:xfrm>
              <a:custGeom>
                <a:avLst/>
                <a:gdLst>
                  <a:gd name="T0" fmla="*/ 16 w 18"/>
                  <a:gd name="T1" fmla="*/ 16 h 17"/>
                  <a:gd name="T2" fmla="*/ 12 w 18"/>
                  <a:gd name="T3" fmla="*/ 16 h 17"/>
                  <a:gd name="T4" fmla="*/ 2 w 18"/>
                  <a:gd name="T5" fmla="*/ 6 h 17"/>
                  <a:gd name="T6" fmla="*/ 2 w 18"/>
                  <a:gd name="T7" fmla="*/ 1 h 17"/>
                  <a:gd name="T8" fmla="*/ 6 w 18"/>
                  <a:gd name="T9" fmla="*/ 1 h 17"/>
                  <a:gd name="T10" fmla="*/ 16 w 18"/>
                  <a:gd name="T11" fmla="*/ 12 h 17"/>
                  <a:gd name="T12" fmla="*/ 16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6" y="16"/>
                    </a:moveTo>
                    <a:cubicBezTo>
                      <a:pt x="15" y="17"/>
                      <a:pt x="13" y="17"/>
                      <a:pt x="12" y="16"/>
                    </a:cubicBezTo>
                    <a:cubicBezTo>
                      <a:pt x="2" y="6"/>
                      <a:pt x="2" y="6"/>
                      <a:pt x="2" y="6"/>
                    </a:cubicBezTo>
                    <a:cubicBezTo>
                      <a:pt x="0" y="5"/>
                      <a:pt x="0" y="3"/>
                      <a:pt x="2" y="1"/>
                    </a:cubicBezTo>
                    <a:cubicBezTo>
                      <a:pt x="3" y="0"/>
                      <a:pt x="5" y="0"/>
                      <a:pt x="6" y="1"/>
                    </a:cubicBezTo>
                    <a:cubicBezTo>
                      <a:pt x="16" y="12"/>
                      <a:pt x="16" y="12"/>
                      <a:pt x="16" y="12"/>
                    </a:cubicBezTo>
                    <a:cubicBezTo>
                      <a:pt x="18" y="13"/>
                      <a:pt x="18" y="15"/>
                      <a:pt x="1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69" name="Group 168"/>
            <p:cNvGrpSpPr/>
            <p:nvPr/>
          </p:nvGrpSpPr>
          <p:grpSpPr>
            <a:xfrm>
              <a:off x="8129919" y="2491798"/>
              <a:ext cx="325571" cy="321763"/>
              <a:chOff x="10259435" y="4371397"/>
              <a:chExt cx="320819" cy="317067"/>
            </a:xfrm>
            <a:solidFill>
              <a:srgbClr val="D83B01"/>
            </a:solidFill>
          </p:grpSpPr>
          <p:sp>
            <p:nvSpPr>
              <p:cNvPr id="170" name="Freeform 760"/>
              <p:cNvSpPr>
                <a:spLocks noEditPoints="1"/>
              </p:cNvSpPr>
              <p:nvPr/>
            </p:nvSpPr>
            <p:spPr bwMode="auto">
              <a:xfrm>
                <a:off x="10259435" y="4371397"/>
                <a:ext cx="320819" cy="317067"/>
              </a:xfrm>
              <a:custGeom>
                <a:avLst/>
                <a:gdLst>
                  <a:gd name="T0" fmla="*/ 73 w 171"/>
                  <a:gd name="T1" fmla="*/ 27 h 169"/>
                  <a:gd name="T2" fmla="*/ 58 w 171"/>
                  <a:gd name="T3" fmla="*/ 35 h 169"/>
                  <a:gd name="T4" fmla="*/ 42 w 171"/>
                  <a:gd name="T5" fmla="*/ 44 h 169"/>
                  <a:gd name="T6" fmla="*/ 18 w 171"/>
                  <a:gd name="T7" fmla="*/ 60 h 169"/>
                  <a:gd name="T8" fmla="*/ 29 w 171"/>
                  <a:gd name="T9" fmla="*/ 73 h 169"/>
                  <a:gd name="T10" fmla="*/ 29 w 171"/>
                  <a:gd name="T11" fmla="*/ 98 h 169"/>
                  <a:gd name="T12" fmla="*/ 18 w 171"/>
                  <a:gd name="T13" fmla="*/ 110 h 169"/>
                  <a:gd name="T14" fmla="*/ 42 w 171"/>
                  <a:gd name="T15" fmla="*/ 125 h 169"/>
                  <a:gd name="T16" fmla="*/ 58 w 171"/>
                  <a:gd name="T17" fmla="*/ 134 h 169"/>
                  <a:gd name="T18" fmla="*/ 73 w 171"/>
                  <a:gd name="T19" fmla="*/ 142 h 169"/>
                  <a:gd name="T20" fmla="*/ 98 w 171"/>
                  <a:gd name="T21" fmla="*/ 156 h 169"/>
                  <a:gd name="T22" fmla="*/ 104 w 171"/>
                  <a:gd name="T23" fmla="*/ 140 h 169"/>
                  <a:gd name="T24" fmla="*/ 125 w 171"/>
                  <a:gd name="T25" fmla="*/ 127 h 169"/>
                  <a:gd name="T26" fmla="*/ 140 w 171"/>
                  <a:gd name="T27" fmla="*/ 131 h 169"/>
                  <a:gd name="T28" fmla="*/ 142 w 171"/>
                  <a:gd name="T29" fmla="*/ 102 h 169"/>
                  <a:gd name="T30" fmla="*/ 144 w 171"/>
                  <a:gd name="T31" fmla="*/ 85 h 169"/>
                  <a:gd name="T32" fmla="*/ 142 w 171"/>
                  <a:gd name="T33" fmla="*/ 67 h 169"/>
                  <a:gd name="T34" fmla="*/ 140 w 171"/>
                  <a:gd name="T35" fmla="*/ 38 h 169"/>
                  <a:gd name="T36" fmla="*/ 125 w 171"/>
                  <a:gd name="T37" fmla="*/ 42 h 169"/>
                  <a:gd name="T38" fmla="*/ 104 w 171"/>
                  <a:gd name="T39" fmla="*/ 29 h 169"/>
                  <a:gd name="T40" fmla="*/ 98 w 171"/>
                  <a:gd name="T41" fmla="*/ 13 h 169"/>
                  <a:gd name="T42" fmla="*/ 60 w 171"/>
                  <a:gd name="T43" fmla="*/ 0 h 169"/>
                  <a:gd name="T44" fmla="*/ 112 w 171"/>
                  <a:gd name="T45" fmla="*/ 19 h 169"/>
                  <a:gd name="T46" fmla="*/ 131 w 171"/>
                  <a:gd name="T47" fmla="*/ 29 h 169"/>
                  <a:gd name="T48" fmla="*/ 171 w 171"/>
                  <a:gd name="T49" fmla="*/ 65 h 169"/>
                  <a:gd name="T50" fmla="*/ 158 w 171"/>
                  <a:gd name="T51" fmla="*/ 85 h 169"/>
                  <a:gd name="T52" fmla="*/ 171 w 171"/>
                  <a:gd name="T53" fmla="*/ 104 h 169"/>
                  <a:gd name="T54" fmla="*/ 131 w 171"/>
                  <a:gd name="T55" fmla="*/ 140 h 169"/>
                  <a:gd name="T56" fmla="*/ 112 w 171"/>
                  <a:gd name="T57" fmla="*/ 152 h 169"/>
                  <a:gd name="T58" fmla="*/ 60 w 171"/>
                  <a:gd name="T59" fmla="*/ 169 h 169"/>
                  <a:gd name="T60" fmla="*/ 50 w 171"/>
                  <a:gd name="T61" fmla="*/ 146 h 169"/>
                  <a:gd name="T62" fmla="*/ 25 w 171"/>
                  <a:gd name="T63" fmla="*/ 150 h 169"/>
                  <a:gd name="T64" fmla="*/ 16 w 171"/>
                  <a:gd name="T65" fmla="*/ 96 h 169"/>
                  <a:gd name="T66" fmla="*/ 16 w 171"/>
                  <a:gd name="T67" fmla="*/ 75 h 169"/>
                  <a:gd name="T68" fmla="*/ 25 w 171"/>
                  <a:gd name="T69" fmla="*/ 21 h 169"/>
                  <a:gd name="T70" fmla="*/ 50 w 171"/>
                  <a:gd name="T71" fmla="*/ 23 h 169"/>
                  <a:gd name="T72" fmla="*/ 60 w 171"/>
                  <a:gd name="T7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169">
                    <a:moveTo>
                      <a:pt x="73" y="13"/>
                    </a:moveTo>
                    <a:lnTo>
                      <a:pt x="73" y="27"/>
                    </a:lnTo>
                    <a:lnTo>
                      <a:pt x="69" y="29"/>
                    </a:lnTo>
                    <a:lnTo>
                      <a:pt x="58" y="35"/>
                    </a:lnTo>
                    <a:lnTo>
                      <a:pt x="46" y="42"/>
                    </a:lnTo>
                    <a:lnTo>
                      <a:pt x="42" y="44"/>
                    </a:lnTo>
                    <a:lnTo>
                      <a:pt x="31" y="38"/>
                    </a:lnTo>
                    <a:lnTo>
                      <a:pt x="18" y="60"/>
                    </a:lnTo>
                    <a:lnTo>
                      <a:pt x="31" y="67"/>
                    </a:lnTo>
                    <a:lnTo>
                      <a:pt x="29" y="73"/>
                    </a:lnTo>
                    <a:lnTo>
                      <a:pt x="27" y="85"/>
                    </a:lnTo>
                    <a:lnTo>
                      <a:pt x="29" y="98"/>
                    </a:lnTo>
                    <a:lnTo>
                      <a:pt x="31" y="102"/>
                    </a:lnTo>
                    <a:lnTo>
                      <a:pt x="18" y="110"/>
                    </a:lnTo>
                    <a:lnTo>
                      <a:pt x="31" y="131"/>
                    </a:lnTo>
                    <a:lnTo>
                      <a:pt x="42" y="125"/>
                    </a:lnTo>
                    <a:lnTo>
                      <a:pt x="46" y="127"/>
                    </a:lnTo>
                    <a:lnTo>
                      <a:pt x="58" y="134"/>
                    </a:lnTo>
                    <a:lnTo>
                      <a:pt x="69" y="140"/>
                    </a:lnTo>
                    <a:lnTo>
                      <a:pt x="73" y="142"/>
                    </a:lnTo>
                    <a:lnTo>
                      <a:pt x="73" y="156"/>
                    </a:lnTo>
                    <a:lnTo>
                      <a:pt x="98" y="156"/>
                    </a:lnTo>
                    <a:lnTo>
                      <a:pt x="98" y="142"/>
                    </a:lnTo>
                    <a:lnTo>
                      <a:pt x="104" y="140"/>
                    </a:lnTo>
                    <a:lnTo>
                      <a:pt x="115" y="134"/>
                    </a:lnTo>
                    <a:lnTo>
                      <a:pt x="125" y="127"/>
                    </a:lnTo>
                    <a:lnTo>
                      <a:pt x="129" y="125"/>
                    </a:lnTo>
                    <a:lnTo>
                      <a:pt x="140" y="131"/>
                    </a:lnTo>
                    <a:lnTo>
                      <a:pt x="154" y="110"/>
                    </a:lnTo>
                    <a:lnTo>
                      <a:pt x="142" y="102"/>
                    </a:lnTo>
                    <a:lnTo>
                      <a:pt x="142" y="98"/>
                    </a:lnTo>
                    <a:lnTo>
                      <a:pt x="144" y="85"/>
                    </a:lnTo>
                    <a:lnTo>
                      <a:pt x="142" y="73"/>
                    </a:lnTo>
                    <a:lnTo>
                      <a:pt x="142" y="67"/>
                    </a:lnTo>
                    <a:lnTo>
                      <a:pt x="154" y="60"/>
                    </a:lnTo>
                    <a:lnTo>
                      <a:pt x="140" y="38"/>
                    </a:lnTo>
                    <a:lnTo>
                      <a:pt x="129" y="44"/>
                    </a:lnTo>
                    <a:lnTo>
                      <a:pt x="125" y="42"/>
                    </a:lnTo>
                    <a:lnTo>
                      <a:pt x="115" y="35"/>
                    </a:lnTo>
                    <a:lnTo>
                      <a:pt x="104" y="29"/>
                    </a:lnTo>
                    <a:lnTo>
                      <a:pt x="98" y="27"/>
                    </a:lnTo>
                    <a:lnTo>
                      <a:pt x="98" y="13"/>
                    </a:lnTo>
                    <a:lnTo>
                      <a:pt x="73" y="13"/>
                    </a:lnTo>
                    <a:close/>
                    <a:moveTo>
                      <a:pt x="60" y="0"/>
                    </a:moveTo>
                    <a:lnTo>
                      <a:pt x="112" y="0"/>
                    </a:lnTo>
                    <a:lnTo>
                      <a:pt x="112" y="19"/>
                    </a:lnTo>
                    <a:lnTo>
                      <a:pt x="121" y="23"/>
                    </a:lnTo>
                    <a:lnTo>
                      <a:pt x="131" y="29"/>
                    </a:lnTo>
                    <a:lnTo>
                      <a:pt x="146" y="21"/>
                    </a:lnTo>
                    <a:lnTo>
                      <a:pt x="171" y="65"/>
                    </a:lnTo>
                    <a:lnTo>
                      <a:pt x="156" y="75"/>
                    </a:lnTo>
                    <a:lnTo>
                      <a:pt x="158" y="85"/>
                    </a:lnTo>
                    <a:lnTo>
                      <a:pt x="156" y="96"/>
                    </a:lnTo>
                    <a:lnTo>
                      <a:pt x="171" y="104"/>
                    </a:lnTo>
                    <a:lnTo>
                      <a:pt x="146" y="150"/>
                    </a:lnTo>
                    <a:lnTo>
                      <a:pt x="131" y="140"/>
                    </a:lnTo>
                    <a:lnTo>
                      <a:pt x="121" y="146"/>
                    </a:lnTo>
                    <a:lnTo>
                      <a:pt x="112" y="152"/>
                    </a:lnTo>
                    <a:lnTo>
                      <a:pt x="112" y="169"/>
                    </a:lnTo>
                    <a:lnTo>
                      <a:pt x="60" y="169"/>
                    </a:lnTo>
                    <a:lnTo>
                      <a:pt x="60" y="152"/>
                    </a:lnTo>
                    <a:lnTo>
                      <a:pt x="50" y="146"/>
                    </a:lnTo>
                    <a:lnTo>
                      <a:pt x="41" y="140"/>
                    </a:lnTo>
                    <a:lnTo>
                      <a:pt x="25" y="150"/>
                    </a:lnTo>
                    <a:lnTo>
                      <a:pt x="0" y="104"/>
                    </a:lnTo>
                    <a:lnTo>
                      <a:pt x="16" y="96"/>
                    </a:lnTo>
                    <a:lnTo>
                      <a:pt x="16" y="85"/>
                    </a:lnTo>
                    <a:lnTo>
                      <a:pt x="16" y="75"/>
                    </a:lnTo>
                    <a:lnTo>
                      <a:pt x="0" y="65"/>
                    </a:lnTo>
                    <a:lnTo>
                      <a:pt x="25" y="21"/>
                    </a:lnTo>
                    <a:lnTo>
                      <a:pt x="41" y="29"/>
                    </a:lnTo>
                    <a:lnTo>
                      <a:pt x="50" y="23"/>
                    </a:lnTo>
                    <a:lnTo>
                      <a:pt x="60" y="19"/>
                    </a:lnTo>
                    <a:lnTo>
                      <a:pt x="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 name="Freeform 761"/>
              <p:cNvSpPr>
                <a:spLocks noEditPoints="1"/>
              </p:cNvSpPr>
              <p:nvPr/>
            </p:nvSpPr>
            <p:spPr bwMode="auto">
              <a:xfrm>
                <a:off x="10336356" y="4446442"/>
                <a:ext cx="168852" cy="170728"/>
              </a:xfrm>
              <a:custGeom>
                <a:avLst/>
                <a:gdLst>
                  <a:gd name="T0" fmla="*/ 46 w 90"/>
                  <a:gd name="T1" fmla="*/ 12 h 91"/>
                  <a:gd name="T2" fmla="*/ 28 w 90"/>
                  <a:gd name="T3" fmla="*/ 18 h 91"/>
                  <a:gd name="T4" fmla="*/ 17 w 90"/>
                  <a:gd name="T5" fmla="*/ 29 h 91"/>
                  <a:gd name="T6" fmla="*/ 13 w 90"/>
                  <a:gd name="T7" fmla="*/ 45 h 91"/>
                  <a:gd name="T8" fmla="*/ 17 w 90"/>
                  <a:gd name="T9" fmla="*/ 62 h 91"/>
                  <a:gd name="T10" fmla="*/ 28 w 90"/>
                  <a:gd name="T11" fmla="*/ 73 h 91"/>
                  <a:gd name="T12" fmla="*/ 46 w 90"/>
                  <a:gd name="T13" fmla="*/ 77 h 91"/>
                  <a:gd name="T14" fmla="*/ 61 w 90"/>
                  <a:gd name="T15" fmla="*/ 73 h 91"/>
                  <a:gd name="T16" fmla="*/ 73 w 90"/>
                  <a:gd name="T17" fmla="*/ 62 h 91"/>
                  <a:gd name="T18" fmla="*/ 76 w 90"/>
                  <a:gd name="T19" fmla="*/ 45 h 91"/>
                  <a:gd name="T20" fmla="*/ 73 w 90"/>
                  <a:gd name="T21" fmla="*/ 29 h 91"/>
                  <a:gd name="T22" fmla="*/ 61 w 90"/>
                  <a:gd name="T23" fmla="*/ 18 h 91"/>
                  <a:gd name="T24" fmla="*/ 46 w 90"/>
                  <a:gd name="T25" fmla="*/ 12 h 91"/>
                  <a:gd name="T26" fmla="*/ 46 w 90"/>
                  <a:gd name="T27" fmla="*/ 0 h 91"/>
                  <a:gd name="T28" fmla="*/ 63 w 90"/>
                  <a:gd name="T29" fmla="*/ 2 h 91"/>
                  <a:gd name="T30" fmla="*/ 76 w 90"/>
                  <a:gd name="T31" fmla="*/ 12 h 91"/>
                  <a:gd name="T32" fmla="*/ 86 w 90"/>
                  <a:gd name="T33" fmla="*/ 27 h 91"/>
                  <a:gd name="T34" fmla="*/ 90 w 90"/>
                  <a:gd name="T35" fmla="*/ 45 h 91"/>
                  <a:gd name="T36" fmla="*/ 86 w 90"/>
                  <a:gd name="T37" fmla="*/ 62 h 91"/>
                  <a:gd name="T38" fmla="*/ 76 w 90"/>
                  <a:gd name="T39" fmla="*/ 77 h 91"/>
                  <a:gd name="T40" fmla="*/ 63 w 90"/>
                  <a:gd name="T41" fmla="*/ 87 h 91"/>
                  <a:gd name="T42" fmla="*/ 46 w 90"/>
                  <a:gd name="T43" fmla="*/ 91 h 91"/>
                  <a:gd name="T44" fmla="*/ 26 w 90"/>
                  <a:gd name="T45" fmla="*/ 87 h 91"/>
                  <a:gd name="T46" fmla="*/ 13 w 90"/>
                  <a:gd name="T47" fmla="*/ 77 h 91"/>
                  <a:gd name="T48" fmla="*/ 3 w 90"/>
                  <a:gd name="T49" fmla="*/ 62 h 91"/>
                  <a:gd name="T50" fmla="*/ 0 w 90"/>
                  <a:gd name="T51" fmla="*/ 45 h 91"/>
                  <a:gd name="T52" fmla="*/ 3 w 90"/>
                  <a:gd name="T53" fmla="*/ 27 h 91"/>
                  <a:gd name="T54" fmla="*/ 13 w 90"/>
                  <a:gd name="T55" fmla="*/ 12 h 91"/>
                  <a:gd name="T56" fmla="*/ 26 w 90"/>
                  <a:gd name="T57" fmla="*/ 2 h 91"/>
                  <a:gd name="T58" fmla="*/ 46 w 90"/>
                  <a:gd name="T5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91">
                    <a:moveTo>
                      <a:pt x="46" y="12"/>
                    </a:moveTo>
                    <a:lnTo>
                      <a:pt x="28" y="18"/>
                    </a:lnTo>
                    <a:lnTo>
                      <a:pt x="17" y="29"/>
                    </a:lnTo>
                    <a:lnTo>
                      <a:pt x="13" y="45"/>
                    </a:lnTo>
                    <a:lnTo>
                      <a:pt x="17" y="62"/>
                    </a:lnTo>
                    <a:lnTo>
                      <a:pt x="28" y="73"/>
                    </a:lnTo>
                    <a:lnTo>
                      <a:pt x="46" y="77"/>
                    </a:lnTo>
                    <a:lnTo>
                      <a:pt x="61" y="73"/>
                    </a:lnTo>
                    <a:lnTo>
                      <a:pt x="73" y="62"/>
                    </a:lnTo>
                    <a:lnTo>
                      <a:pt x="76" y="45"/>
                    </a:lnTo>
                    <a:lnTo>
                      <a:pt x="73" y="29"/>
                    </a:lnTo>
                    <a:lnTo>
                      <a:pt x="61" y="18"/>
                    </a:lnTo>
                    <a:lnTo>
                      <a:pt x="46" y="12"/>
                    </a:lnTo>
                    <a:close/>
                    <a:moveTo>
                      <a:pt x="46" y="0"/>
                    </a:moveTo>
                    <a:lnTo>
                      <a:pt x="63" y="2"/>
                    </a:lnTo>
                    <a:lnTo>
                      <a:pt x="76" y="12"/>
                    </a:lnTo>
                    <a:lnTo>
                      <a:pt x="86" y="27"/>
                    </a:lnTo>
                    <a:lnTo>
                      <a:pt x="90" y="45"/>
                    </a:lnTo>
                    <a:lnTo>
                      <a:pt x="86" y="62"/>
                    </a:lnTo>
                    <a:lnTo>
                      <a:pt x="76" y="77"/>
                    </a:lnTo>
                    <a:lnTo>
                      <a:pt x="63" y="87"/>
                    </a:lnTo>
                    <a:lnTo>
                      <a:pt x="46" y="91"/>
                    </a:lnTo>
                    <a:lnTo>
                      <a:pt x="26" y="87"/>
                    </a:lnTo>
                    <a:lnTo>
                      <a:pt x="13" y="77"/>
                    </a:lnTo>
                    <a:lnTo>
                      <a:pt x="3" y="62"/>
                    </a:lnTo>
                    <a:lnTo>
                      <a:pt x="0" y="45"/>
                    </a:lnTo>
                    <a:lnTo>
                      <a:pt x="3" y="27"/>
                    </a:lnTo>
                    <a:lnTo>
                      <a:pt x="13" y="12"/>
                    </a:lnTo>
                    <a:lnTo>
                      <a:pt x="26" y="2"/>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2" name="Group 171"/>
            <p:cNvGrpSpPr/>
            <p:nvPr/>
          </p:nvGrpSpPr>
          <p:grpSpPr>
            <a:xfrm>
              <a:off x="8753894" y="3296285"/>
              <a:ext cx="411163" cy="231775"/>
              <a:chOff x="657226" y="1628776"/>
              <a:chExt cx="411163" cy="231775"/>
            </a:xfrm>
          </p:grpSpPr>
          <p:sp>
            <p:nvSpPr>
              <p:cNvPr id="173" name="Freeform 56"/>
              <p:cNvSpPr>
                <a:spLocks/>
              </p:cNvSpPr>
              <p:nvPr/>
            </p:nvSpPr>
            <p:spPr bwMode="auto">
              <a:xfrm>
                <a:off x="657226" y="1628776"/>
                <a:ext cx="398463" cy="166688"/>
              </a:xfrm>
              <a:custGeom>
                <a:avLst/>
                <a:gdLst>
                  <a:gd name="T0" fmla="*/ 0 w 251"/>
                  <a:gd name="T1" fmla="*/ 105 h 105"/>
                  <a:gd name="T2" fmla="*/ 73 w 251"/>
                  <a:gd name="T3" fmla="*/ 32 h 105"/>
                  <a:gd name="T4" fmla="*/ 146 w 251"/>
                  <a:gd name="T5" fmla="*/ 105 h 105"/>
                  <a:gd name="T6" fmla="*/ 251 w 251"/>
                  <a:gd name="T7" fmla="*/ 0 h 105"/>
                </a:gdLst>
                <a:ahLst/>
                <a:cxnLst>
                  <a:cxn ang="0">
                    <a:pos x="T0" y="T1"/>
                  </a:cxn>
                  <a:cxn ang="0">
                    <a:pos x="T2" y="T3"/>
                  </a:cxn>
                  <a:cxn ang="0">
                    <a:pos x="T4" y="T5"/>
                  </a:cxn>
                  <a:cxn ang="0">
                    <a:pos x="T6" y="T7"/>
                  </a:cxn>
                </a:cxnLst>
                <a:rect l="0" t="0" r="r" b="b"/>
                <a:pathLst>
                  <a:path w="251" h="105">
                    <a:moveTo>
                      <a:pt x="0" y="105"/>
                    </a:moveTo>
                    <a:lnTo>
                      <a:pt x="73" y="32"/>
                    </a:lnTo>
                    <a:lnTo>
                      <a:pt x="146" y="105"/>
                    </a:lnTo>
                    <a:lnTo>
                      <a:pt x="251" y="0"/>
                    </a:lnTo>
                  </a:path>
                </a:pathLst>
              </a:custGeom>
              <a:noFill/>
              <a:ln w="25400" cap="flat">
                <a:solidFill>
                  <a:srgbClr val="FE7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Line 57"/>
              <p:cNvSpPr>
                <a:spLocks noChangeShapeType="1"/>
              </p:cNvSpPr>
              <p:nvPr/>
            </p:nvSpPr>
            <p:spPr bwMode="auto">
              <a:xfrm>
                <a:off x="657226" y="1860551"/>
                <a:ext cx="411163" cy="0"/>
              </a:xfrm>
              <a:prstGeom prst="line">
                <a:avLst/>
              </a:prstGeom>
              <a:noFill/>
              <a:ln w="25400" cap="flat">
                <a:solidFill>
                  <a:srgbClr val="FE7F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58"/>
              <p:cNvSpPr>
                <a:spLocks/>
              </p:cNvSpPr>
              <p:nvPr/>
            </p:nvSpPr>
            <p:spPr bwMode="auto">
              <a:xfrm>
                <a:off x="977901" y="1628776"/>
                <a:ext cx="77788" cy="77788"/>
              </a:xfrm>
              <a:custGeom>
                <a:avLst/>
                <a:gdLst>
                  <a:gd name="T0" fmla="*/ 49 w 49"/>
                  <a:gd name="T1" fmla="*/ 49 h 49"/>
                  <a:gd name="T2" fmla="*/ 49 w 49"/>
                  <a:gd name="T3" fmla="*/ 0 h 49"/>
                  <a:gd name="T4" fmla="*/ 0 w 49"/>
                  <a:gd name="T5" fmla="*/ 0 h 49"/>
                </a:gdLst>
                <a:ahLst/>
                <a:cxnLst>
                  <a:cxn ang="0">
                    <a:pos x="T0" y="T1"/>
                  </a:cxn>
                  <a:cxn ang="0">
                    <a:pos x="T2" y="T3"/>
                  </a:cxn>
                  <a:cxn ang="0">
                    <a:pos x="T4" y="T5"/>
                  </a:cxn>
                </a:cxnLst>
                <a:rect l="0" t="0" r="r" b="b"/>
                <a:pathLst>
                  <a:path w="49" h="49">
                    <a:moveTo>
                      <a:pt x="49" y="49"/>
                    </a:moveTo>
                    <a:lnTo>
                      <a:pt x="49" y="0"/>
                    </a:lnTo>
                    <a:lnTo>
                      <a:pt x="0" y="0"/>
                    </a:lnTo>
                  </a:path>
                </a:pathLst>
              </a:custGeom>
              <a:noFill/>
              <a:ln w="25400" cap="flat">
                <a:solidFill>
                  <a:srgbClr val="FE7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6" name="Group 175"/>
            <p:cNvGrpSpPr/>
            <p:nvPr/>
          </p:nvGrpSpPr>
          <p:grpSpPr>
            <a:xfrm>
              <a:off x="9752356" y="3181985"/>
              <a:ext cx="477838" cy="395288"/>
              <a:chOff x="9494839" y="2960688"/>
              <a:chExt cx="477838" cy="395288"/>
            </a:xfrm>
            <a:solidFill>
              <a:srgbClr val="FE7F50"/>
            </a:solidFill>
          </p:grpSpPr>
          <p:sp>
            <p:nvSpPr>
              <p:cNvPr id="177" name="Freeform 168"/>
              <p:cNvSpPr>
                <a:spLocks noEditPoints="1"/>
              </p:cNvSpPr>
              <p:nvPr/>
            </p:nvSpPr>
            <p:spPr bwMode="auto">
              <a:xfrm>
                <a:off x="9494839" y="2960688"/>
                <a:ext cx="477838" cy="395288"/>
              </a:xfrm>
              <a:custGeom>
                <a:avLst/>
                <a:gdLst>
                  <a:gd name="T0" fmla="*/ 301 w 301"/>
                  <a:gd name="T1" fmla="*/ 249 h 249"/>
                  <a:gd name="T2" fmla="*/ 0 w 301"/>
                  <a:gd name="T3" fmla="*/ 249 h 249"/>
                  <a:gd name="T4" fmla="*/ 152 w 301"/>
                  <a:gd name="T5" fmla="*/ 0 h 249"/>
                  <a:gd name="T6" fmla="*/ 301 w 301"/>
                  <a:gd name="T7" fmla="*/ 249 h 249"/>
                  <a:gd name="T8" fmla="*/ 30 w 301"/>
                  <a:gd name="T9" fmla="*/ 233 h 249"/>
                  <a:gd name="T10" fmla="*/ 273 w 301"/>
                  <a:gd name="T11" fmla="*/ 233 h 249"/>
                  <a:gd name="T12" fmla="*/ 152 w 301"/>
                  <a:gd name="T13" fmla="*/ 32 h 249"/>
                  <a:gd name="T14" fmla="*/ 30 w 301"/>
                  <a:gd name="T15" fmla="*/ 233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49">
                    <a:moveTo>
                      <a:pt x="301" y="249"/>
                    </a:moveTo>
                    <a:lnTo>
                      <a:pt x="0" y="249"/>
                    </a:lnTo>
                    <a:lnTo>
                      <a:pt x="152" y="0"/>
                    </a:lnTo>
                    <a:lnTo>
                      <a:pt x="301" y="249"/>
                    </a:lnTo>
                    <a:close/>
                    <a:moveTo>
                      <a:pt x="30" y="233"/>
                    </a:moveTo>
                    <a:lnTo>
                      <a:pt x="273" y="233"/>
                    </a:lnTo>
                    <a:lnTo>
                      <a:pt x="152" y="32"/>
                    </a:lnTo>
                    <a:lnTo>
                      <a:pt x="30"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 name="Rectangle 169"/>
              <p:cNvSpPr>
                <a:spLocks noChangeArrowheads="1"/>
              </p:cNvSpPr>
              <p:nvPr/>
            </p:nvSpPr>
            <p:spPr bwMode="auto">
              <a:xfrm>
                <a:off x="9723439" y="3089276"/>
                <a:ext cx="2540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 name="Rectangle 170"/>
              <p:cNvSpPr>
                <a:spLocks noChangeArrowheads="1"/>
              </p:cNvSpPr>
              <p:nvPr/>
            </p:nvSpPr>
            <p:spPr bwMode="auto">
              <a:xfrm>
                <a:off x="9723439" y="3278188"/>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80" name="Freeform 777"/>
            <p:cNvSpPr>
              <a:spLocks noEditPoints="1"/>
            </p:cNvSpPr>
            <p:nvPr/>
          </p:nvSpPr>
          <p:spPr bwMode="auto">
            <a:xfrm rot="16200000">
              <a:off x="9370223" y="4180623"/>
              <a:ext cx="392208" cy="390305"/>
            </a:xfrm>
            <a:custGeom>
              <a:avLst/>
              <a:gdLst>
                <a:gd name="T0" fmla="*/ 141 w 206"/>
                <a:gd name="T1" fmla="*/ 13 h 205"/>
                <a:gd name="T2" fmla="*/ 121 w 206"/>
                <a:gd name="T3" fmla="*/ 17 h 205"/>
                <a:gd name="T4" fmla="*/ 104 w 206"/>
                <a:gd name="T5" fmla="*/ 27 h 205"/>
                <a:gd name="T6" fmla="*/ 93 w 206"/>
                <a:gd name="T7" fmla="*/ 44 h 205"/>
                <a:gd name="T8" fmla="*/ 89 w 206"/>
                <a:gd name="T9" fmla="*/ 63 h 205"/>
                <a:gd name="T10" fmla="*/ 93 w 206"/>
                <a:gd name="T11" fmla="*/ 84 h 205"/>
                <a:gd name="T12" fmla="*/ 104 w 206"/>
                <a:gd name="T13" fmla="*/ 102 h 205"/>
                <a:gd name="T14" fmla="*/ 121 w 206"/>
                <a:gd name="T15" fmla="*/ 111 h 205"/>
                <a:gd name="T16" fmla="*/ 141 w 206"/>
                <a:gd name="T17" fmla="*/ 115 h 205"/>
                <a:gd name="T18" fmla="*/ 162 w 206"/>
                <a:gd name="T19" fmla="*/ 111 h 205"/>
                <a:gd name="T20" fmla="*/ 177 w 206"/>
                <a:gd name="T21" fmla="*/ 102 h 205"/>
                <a:gd name="T22" fmla="*/ 189 w 206"/>
                <a:gd name="T23" fmla="*/ 84 h 205"/>
                <a:gd name="T24" fmla="*/ 192 w 206"/>
                <a:gd name="T25" fmla="*/ 63 h 205"/>
                <a:gd name="T26" fmla="*/ 189 w 206"/>
                <a:gd name="T27" fmla="*/ 44 h 205"/>
                <a:gd name="T28" fmla="*/ 177 w 206"/>
                <a:gd name="T29" fmla="*/ 27 h 205"/>
                <a:gd name="T30" fmla="*/ 162 w 206"/>
                <a:gd name="T31" fmla="*/ 17 h 205"/>
                <a:gd name="T32" fmla="*/ 141 w 206"/>
                <a:gd name="T33" fmla="*/ 13 h 205"/>
                <a:gd name="T34" fmla="*/ 141 w 206"/>
                <a:gd name="T35" fmla="*/ 0 h 205"/>
                <a:gd name="T36" fmla="*/ 166 w 206"/>
                <a:gd name="T37" fmla="*/ 4 h 205"/>
                <a:gd name="T38" fmla="*/ 187 w 206"/>
                <a:gd name="T39" fmla="*/ 19 h 205"/>
                <a:gd name="T40" fmla="*/ 200 w 206"/>
                <a:gd name="T41" fmla="*/ 38 h 205"/>
                <a:gd name="T42" fmla="*/ 206 w 206"/>
                <a:gd name="T43" fmla="*/ 63 h 205"/>
                <a:gd name="T44" fmla="*/ 200 w 206"/>
                <a:gd name="T45" fmla="*/ 90 h 205"/>
                <a:gd name="T46" fmla="*/ 187 w 206"/>
                <a:gd name="T47" fmla="*/ 109 h 205"/>
                <a:gd name="T48" fmla="*/ 166 w 206"/>
                <a:gd name="T49" fmla="*/ 123 h 205"/>
                <a:gd name="T50" fmla="*/ 141 w 206"/>
                <a:gd name="T51" fmla="*/ 129 h 205"/>
                <a:gd name="T52" fmla="*/ 119 w 206"/>
                <a:gd name="T53" fmla="*/ 125 h 205"/>
                <a:gd name="T54" fmla="*/ 100 w 206"/>
                <a:gd name="T55" fmla="*/ 115 h 205"/>
                <a:gd name="T56" fmla="*/ 10 w 206"/>
                <a:gd name="T57" fmla="*/ 205 h 205"/>
                <a:gd name="T58" fmla="*/ 0 w 206"/>
                <a:gd name="T59" fmla="*/ 196 h 205"/>
                <a:gd name="T60" fmla="*/ 91 w 206"/>
                <a:gd name="T61" fmla="*/ 106 h 205"/>
                <a:gd name="T62" fmla="*/ 81 w 206"/>
                <a:gd name="T63" fmla="*/ 86 h 205"/>
                <a:gd name="T64" fmla="*/ 77 w 206"/>
                <a:gd name="T65" fmla="*/ 63 h 205"/>
                <a:gd name="T66" fmla="*/ 81 w 206"/>
                <a:gd name="T67" fmla="*/ 38 h 205"/>
                <a:gd name="T68" fmla="*/ 95 w 206"/>
                <a:gd name="T69" fmla="*/ 19 h 205"/>
                <a:gd name="T70" fmla="*/ 116 w 206"/>
                <a:gd name="T71" fmla="*/ 4 h 205"/>
                <a:gd name="T72" fmla="*/ 141 w 206"/>
                <a:gd name="T7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05">
                  <a:moveTo>
                    <a:pt x="141" y="13"/>
                  </a:moveTo>
                  <a:lnTo>
                    <a:pt x="121" y="17"/>
                  </a:lnTo>
                  <a:lnTo>
                    <a:pt x="104" y="27"/>
                  </a:lnTo>
                  <a:lnTo>
                    <a:pt x="93" y="44"/>
                  </a:lnTo>
                  <a:lnTo>
                    <a:pt x="89" y="63"/>
                  </a:lnTo>
                  <a:lnTo>
                    <a:pt x="93" y="84"/>
                  </a:lnTo>
                  <a:lnTo>
                    <a:pt x="104" y="102"/>
                  </a:lnTo>
                  <a:lnTo>
                    <a:pt x="121" y="111"/>
                  </a:lnTo>
                  <a:lnTo>
                    <a:pt x="141" y="115"/>
                  </a:lnTo>
                  <a:lnTo>
                    <a:pt x="162" y="111"/>
                  </a:lnTo>
                  <a:lnTo>
                    <a:pt x="177" y="102"/>
                  </a:lnTo>
                  <a:lnTo>
                    <a:pt x="189" y="84"/>
                  </a:lnTo>
                  <a:lnTo>
                    <a:pt x="192" y="63"/>
                  </a:lnTo>
                  <a:lnTo>
                    <a:pt x="189" y="44"/>
                  </a:lnTo>
                  <a:lnTo>
                    <a:pt x="177" y="27"/>
                  </a:lnTo>
                  <a:lnTo>
                    <a:pt x="162" y="17"/>
                  </a:lnTo>
                  <a:lnTo>
                    <a:pt x="141" y="13"/>
                  </a:lnTo>
                  <a:close/>
                  <a:moveTo>
                    <a:pt x="141" y="0"/>
                  </a:moveTo>
                  <a:lnTo>
                    <a:pt x="166" y="4"/>
                  </a:lnTo>
                  <a:lnTo>
                    <a:pt x="187" y="19"/>
                  </a:lnTo>
                  <a:lnTo>
                    <a:pt x="200" y="38"/>
                  </a:lnTo>
                  <a:lnTo>
                    <a:pt x="206" y="63"/>
                  </a:lnTo>
                  <a:lnTo>
                    <a:pt x="200" y="90"/>
                  </a:lnTo>
                  <a:lnTo>
                    <a:pt x="187" y="109"/>
                  </a:lnTo>
                  <a:lnTo>
                    <a:pt x="166" y="123"/>
                  </a:lnTo>
                  <a:lnTo>
                    <a:pt x="141" y="129"/>
                  </a:lnTo>
                  <a:lnTo>
                    <a:pt x="119" y="125"/>
                  </a:lnTo>
                  <a:lnTo>
                    <a:pt x="100" y="115"/>
                  </a:lnTo>
                  <a:lnTo>
                    <a:pt x="10" y="205"/>
                  </a:lnTo>
                  <a:lnTo>
                    <a:pt x="0" y="196"/>
                  </a:lnTo>
                  <a:lnTo>
                    <a:pt x="91" y="106"/>
                  </a:lnTo>
                  <a:lnTo>
                    <a:pt x="81" y="86"/>
                  </a:lnTo>
                  <a:lnTo>
                    <a:pt x="77" y="63"/>
                  </a:lnTo>
                  <a:lnTo>
                    <a:pt x="81" y="38"/>
                  </a:lnTo>
                  <a:lnTo>
                    <a:pt x="95" y="19"/>
                  </a:lnTo>
                  <a:lnTo>
                    <a:pt x="116" y="4"/>
                  </a:lnTo>
                  <a:lnTo>
                    <a:pt x="141" y="0"/>
                  </a:lnTo>
                  <a:close/>
                </a:path>
              </a:pathLst>
            </a:custGeom>
            <a:solidFill>
              <a:srgbClr val="FE7F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 name="Freeform 48"/>
            <p:cNvSpPr>
              <a:spLocks noEditPoints="1"/>
            </p:cNvSpPr>
            <p:nvPr/>
          </p:nvSpPr>
          <p:spPr bwMode="auto">
            <a:xfrm>
              <a:off x="9276006" y="5379895"/>
              <a:ext cx="537847" cy="366203"/>
            </a:xfrm>
            <a:custGeom>
              <a:avLst/>
              <a:gdLst>
                <a:gd name="T0" fmla="*/ 91 w 122"/>
                <a:gd name="T1" fmla="*/ 82 h 82"/>
                <a:gd name="T2" fmla="*/ 25 w 122"/>
                <a:gd name="T3" fmla="*/ 82 h 82"/>
                <a:gd name="T4" fmla="*/ 0 w 122"/>
                <a:gd name="T5" fmla="*/ 57 h 82"/>
                <a:gd name="T6" fmla="*/ 25 w 122"/>
                <a:gd name="T7" fmla="*/ 32 h 82"/>
                <a:gd name="T8" fmla="*/ 28 w 122"/>
                <a:gd name="T9" fmla="*/ 32 h 82"/>
                <a:gd name="T10" fmla="*/ 61 w 122"/>
                <a:gd name="T11" fmla="*/ 0 h 82"/>
                <a:gd name="T12" fmla="*/ 92 w 122"/>
                <a:gd name="T13" fmla="*/ 20 h 82"/>
                <a:gd name="T14" fmla="*/ 122 w 122"/>
                <a:gd name="T15" fmla="*/ 51 h 82"/>
                <a:gd name="T16" fmla="*/ 91 w 122"/>
                <a:gd name="T17" fmla="*/ 82 h 82"/>
                <a:gd name="T18" fmla="*/ 25 w 122"/>
                <a:gd name="T19" fmla="*/ 34 h 82"/>
                <a:gd name="T20" fmla="*/ 2 w 122"/>
                <a:gd name="T21" fmla="*/ 57 h 82"/>
                <a:gd name="T22" fmla="*/ 25 w 122"/>
                <a:gd name="T23" fmla="*/ 80 h 82"/>
                <a:gd name="T24" fmla="*/ 91 w 122"/>
                <a:gd name="T25" fmla="*/ 80 h 82"/>
                <a:gd name="T26" fmla="*/ 120 w 122"/>
                <a:gd name="T27" fmla="*/ 51 h 82"/>
                <a:gd name="T28" fmla="*/ 91 w 122"/>
                <a:gd name="T29" fmla="*/ 22 h 82"/>
                <a:gd name="T30" fmla="*/ 90 w 122"/>
                <a:gd name="T31" fmla="*/ 22 h 82"/>
                <a:gd name="T32" fmla="*/ 90 w 122"/>
                <a:gd name="T33" fmla="*/ 21 h 82"/>
                <a:gd name="T34" fmla="*/ 61 w 122"/>
                <a:gd name="T35" fmla="*/ 2 h 82"/>
                <a:gd name="T36" fmla="*/ 30 w 122"/>
                <a:gd name="T37" fmla="*/ 33 h 82"/>
                <a:gd name="T38" fmla="*/ 30 w 122"/>
                <a:gd name="T39" fmla="*/ 34 h 82"/>
                <a:gd name="T40" fmla="*/ 29 w 122"/>
                <a:gd name="T41" fmla="*/ 34 h 82"/>
                <a:gd name="T42" fmla="*/ 25 w 122"/>
                <a:gd name="T43"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82">
                  <a:moveTo>
                    <a:pt x="91" y="82"/>
                  </a:moveTo>
                  <a:cubicBezTo>
                    <a:pt x="25" y="82"/>
                    <a:pt x="25" y="82"/>
                    <a:pt x="25" y="82"/>
                  </a:cubicBezTo>
                  <a:cubicBezTo>
                    <a:pt x="12" y="82"/>
                    <a:pt x="0" y="70"/>
                    <a:pt x="0" y="57"/>
                  </a:cubicBezTo>
                  <a:cubicBezTo>
                    <a:pt x="0" y="43"/>
                    <a:pt x="12" y="32"/>
                    <a:pt x="25" y="32"/>
                  </a:cubicBezTo>
                  <a:cubicBezTo>
                    <a:pt x="26" y="32"/>
                    <a:pt x="27" y="32"/>
                    <a:pt x="28" y="32"/>
                  </a:cubicBezTo>
                  <a:cubicBezTo>
                    <a:pt x="29" y="14"/>
                    <a:pt x="44" y="0"/>
                    <a:pt x="61" y="0"/>
                  </a:cubicBezTo>
                  <a:cubicBezTo>
                    <a:pt x="75" y="0"/>
                    <a:pt x="87" y="8"/>
                    <a:pt x="92" y="20"/>
                  </a:cubicBezTo>
                  <a:cubicBezTo>
                    <a:pt x="109" y="20"/>
                    <a:pt x="122" y="34"/>
                    <a:pt x="122" y="51"/>
                  </a:cubicBezTo>
                  <a:cubicBezTo>
                    <a:pt x="122" y="68"/>
                    <a:pt x="109" y="82"/>
                    <a:pt x="91" y="82"/>
                  </a:cubicBezTo>
                  <a:close/>
                  <a:moveTo>
                    <a:pt x="25" y="34"/>
                  </a:moveTo>
                  <a:cubicBezTo>
                    <a:pt x="13" y="34"/>
                    <a:pt x="2" y="44"/>
                    <a:pt x="2" y="57"/>
                  </a:cubicBezTo>
                  <a:cubicBezTo>
                    <a:pt x="2" y="69"/>
                    <a:pt x="13" y="80"/>
                    <a:pt x="25" y="80"/>
                  </a:cubicBezTo>
                  <a:cubicBezTo>
                    <a:pt x="91" y="80"/>
                    <a:pt x="91" y="80"/>
                    <a:pt x="91" y="80"/>
                  </a:cubicBezTo>
                  <a:cubicBezTo>
                    <a:pt x="107" y="80"/>
                    <a:pt x="120" y="67"/>
                    <a:pt x="120" y="51"/>
                  </a:cubicBezTo>
                  <a:cubicBezTo>
                    <a:pt x="120" y="35"/>
                    <a:pt x="107" y="22"/>
                    <a:pt x="91" y="22"/>
                  </a:cubicBezTo>
                  <a:cubicBezTo>
                    <a:pt x="90" y="22"/>
                    <a:pt x="90" y="22"/>
                    <a:pt x="90" y="22"/>
                  </a:cubicBezTo>
                  <a:cubicBezTo>
                    <a:pt x="90" y="21"/>
                    <a:pt x="90" y="21"/>
                    <a:pt x="90" y="21"/>
                  </a:cubicBezTo>
                  <a:cubicBezTo>
                    <a:pt x="85" y="9"/>
                    <a:pt x="74" y="2"/>
                    <a:pt x="61" y="2"/>
                  </a:cubicBezTo>
                  <a:cubicBezTo>
                    <a:pt x="44" y="2"/>
                    <a:pt x="30" y="16"/>
                    <a:pt x="30" y="33"/>
                  </a:cubicBezTo>
                  <a:cubicBezTo>
                    <a:pt x="30" y="34"/>
                    <a:pt x="30" y="34"/>
                    <a:pt x="30" y="34"/>
                  </a:cubicBezTo>
                  <a:cubicBezTo>
                    <a:pt x="29" y="34"/>
                    <a:pt x="29" y="34"/>
                    <a:pt x="29" y="34"/>
                  </a:cubicBezTo>
                  <a:cubicBezTo>
                    <a:pt x="28" y="34"/>
                    <a:pt x="27" y="34"/>
                    <a:pt x="25" y="34"/>
                  </a:cubicBezTo>
                  <a:close/>
                </a:path>
              </a:pathLst>
            </a:custGeom>
            <a:solidFill>
              <a:schemeClr val="accent2"/>
            </a:solidFill>
            <a:ln w="158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Arrow: Right 40"/>
            <p:cNvSpPr/>
            <p:nvPr/>
          </p:nvSpPr>
          <p:spPr bwMode="auto">
            <a:xfrm rot="5400000">
              <a:off x="9446643" y="5737518"/>
              <a:ext cx="196573" cy="202580"/>
            </a:xfrm>
            <a:prstGeom prst="rightArrow">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53" name="Straight Connector 52"/>
            <p:cNvCxnSpPr/>
            <p:nvPr/>
          </p:nvCxnSpPr>
          <p:spPr>
            <a:xfrm flipH="1">
              <a:off x="6652850" y="6296454"/>
              <a:ext cx="3384811" cy="0"/>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94" name="Straight Connector 93"/>
            <p:cNvCxnSpPr/>
            <p:nvPr/>
          </p:nvCxnSpPr>
          <p:spPr>
            <a:xfrm flipH="1">
              <a:off x="7301472" y="2426972"/>
              <a:ext cx="3309886" cy="0"/>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95" name="Straight Connector 94"/>
            <p:cNvCxnSpPr/>
            <p:nvPr/>
          </p:nvCxnSpPr>
          <p:spPr>
            <a:xfrm flipH="1" flipV="1">
              <a:off x="8318022" y="3963939"/>
              <a:ext cx="2293335" cy="17952"/>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100" name="Straight Connector 99"/>
            <p:cNvCxnSpPr/>
            <p:nvPr/>
          </p:nvCxnSpPr>
          <p:spPr>
            <a:xfrm flipH="1">
              <a:off x="2339201" y="6296454"/>
              <a:ext cx="3379977"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cxnSp>
          <p:nvCxnSpPr>
            <p:cNvPr id="101" name="Straight Connector 100"/>
            <p:cNvCxnSpPr/>
            <p:nvPr/>
          </p:nvCxnSpPr>
          <p:spPr>
            <a:xfrm flipH="1">
              <a:off x="1907432" y="2477764"/>
              <a:ext cx="3290088"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cxnSp>
          <p:nvCxnSpPr>
            <p:cNvPr id="155" name="Straight Connector 154"/>
            <p:cNvCxnSpPr/>
            <p:nvPr/>
          </p:nvCxnSpPr>
          <p:spPr>
            <a:xfrm flipH="1">
              <a:off x="2011228" y="3923303"/>
              <a:ext cx="2156729"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gr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spTree>
    <p:extLst>
      <p:ext uri="{BB962C8B-B14F-4D97-AF65-F5344CB8AC3E}">
        <p14:creationId xmlns:p14="http://schemas.microsoft.com/office/powerpoint/2010/main" val="268621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grpId="1" nodeType="withEffect">
                                  <p:stCondLst>
                                    <p:cond delay="0"/>
                                  </p:stCondLst>
                                  <p:childTnLst>
                                    <p:animMotion origin="layout" path="M 0 -1.72038E-6 L 0 0.25012 " pathEditMode="relative" rAng="0" ptsTypes="AA">
                                      <p:cBhvr>
                                        <p:cTn id="9" dur="750" spd="-100000" fill="hold"/>
                                        <p:tgtEl>
                                          <p:spTgt spid="7"/>
                                        </p:tgtEl>
                                        <p:attrNameLst>
                                          <p:attrName>ppt_x</p:attrName>
                                          <p:attrName>ppt_y</p:attrName>
                                        </p:attrNameLst>
                                      </p:cBhvr>
                                      <p:rCtr x="0" y="12506"/>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22" presetClass="entr" presetSubtype="8" fill="hold" nodeType="with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wipe(left)">
                                      <p:cBhvr>
                                        <p:cTn id="16"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 with Azure</a:t>
            </a:r>
          </a:p>
        </p:txBody>
      </p:sp>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grpSp>
        <p:nvGrpSpPr>
          <p:cNvPr id="24" name="Group 23"/>
          <p:cNvGrpSpPr/>
          <p:nvPr/>
        </p:nvGrpSpPr>
        <p:grpSpPr>
          <a:xfrm>
            <a:off x="8713625" y="5529040"/>
            <a:ext cx="2795159" cy="1280590"/>
            <a:chOff x="8682339" y="5016132"/>
            <a:chExt cx="2795159" cy="1280590"/>
          </a:xfrm>
          <a:noFill/>
        </p:grpSpPr>
        <p:pic>
          <p:nvPicPr>
            <p:cNvPr id="9" name="Picture 8"/>
            <p:cNvPicPr>
              <a:picLocks noChangeAspect="1"/>
            </p:cNvPicPr>
            <p:nvPr/>
          </p:nvPicPr>
          <p:blipFill>
            <a:blip r:embed="rId4"/>
            <a:stretch>
              <a:fillRect/>
            </a:stretch>
          </p:blipFill>
          <p:spPr>
            <a:xfrm>
              <a:off x="10867471" y="5686695"/>
              <a:ext cx="610027" cy="610027"/>
            </a:xfrm>
            <a:prstGeom prst="rect">
              <a:avLst/>
            </a:prstGeom>
            <a:grpFill/>
          </p:spPr>
        </p:pic>
        <p:pic>
          <p:nvPicPr>
            <p:cNvPr id="13" name="Picture 12"/>
            <p:cNvPicPr>
              <a:picLocks noChangeAspect="1"/>
            </p:cNvPicPr>
            <p:nvPr/>
          </p:nvPicPr>
          <p:blipFill>
            <a:blip r:embed="rId5"/>
            <a:stretch>
              <a:fillRect/>
            </a:stretch>
          </p:blipFill>
          <p:spPr>
            <a:xfrm>
              <a:off x="10867471" y="5016132"/>
              <a:ext cx="610027" cy="610027"/>
            </a:xfrm>
            <a:prstGeom prst="rect">
              <a:avLst/>
            </a:prstGeom>
            <a:grpFill/>
          </p:spPr>
        </p:pic>
        <p:sp>
          <p:nvSpPr>
            <p:cNvPr id="131" name="TextBox 130"/>
            <p:cNvSpPr txBox="1"/>
            <p:nvPr/>
          </p:nvSpPr>
          <p:spPr>
            <a:xfrm>
              <a:off x="8682339" y="5079989"/>
              <a:ext cx="2553874" cy="1173120"/>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Protec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Backup</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Site Recovery</a:t>
              </a:r>
            </a:p>
          </p:txBody>
        </p:sp>
      </p:grpSp>
      <p:grpSp>
        <p:nvGrpSpPr>
          <p:cNvPr id="21" name="Group 20"/>
          <p:cNvGrpSpPr/>
          <p:nvPr/>
        </p:nvGrpSpPr>
        <p:grpSpPr>
          <a:xfrm>
            <a:off x="8732972" y="3425254"/>
            <a:ext cx="2833456" cy="1298896"/>
            <a:chOff x="8732466" y="3071900"/>
            <a:chExt cx="2833456" cy="1298896"/>
          </a:xfrm>
          <a:noFill/>
        </p:grpSpPr>
        <p:pic>
          <p:nvPicPr>
            <p:cNvPr id="17" name="Picture 16"/>
            <p:cNvPicPr>
              <a:picLocks noChangeAspect="1"/>
            </p:cNvPicPr>
            <p:nvPr/>
          </p:nvPicPr>
          <p:blipFill>
            <a:blip r:embed="rId6"/>
            <a:stretch>
              <a:fillRect/>
            </a:stretch>
          </p:blipFill>
          <p:spPr>
            <a:xfrm>
              <a:off x="10903383" y="3071900"/>
              <a:ext cx="662539" cy="662539"/>
            </a:xfrm>
            <a:prstGeom prst="rect">
              <a:avLst/>
            </a:prstGeom>
            <a:grpFill/>
          </p:spPr>
        </p:pic>
        <p:pic>
          <p:nvPicPr>
            <p:cNvPr id="18" name="Picture 17"/>
            <p:cNvPicPr>
              <a:picLocks noChangeAspect="1"/>
            </p:cNvPicPr>
            <p:nvPr/>
          </p:nvPicPr>
          <p:blipFill>
            <a:blip r:embed="rId7"/>
            <a:stretch>
              <a:fillRect/>
            </a:stretch>
          </p:blipFill>
          <p:spPr>
            <a:xfrm>
              <a:off x="10975614" y="3822962"/>
              <a:ext cx="547834" cy="547834"/>
            </a:xfrm>
            <a:prstGeom prst="rect">
              <a:avLst/>
            </a:prstGeom>
            <a:grpFill/>
          </p:spPr>
        </p:pic>
        <p:sp>
          <p:nvSpPr>
            <p:cNvPr id="157" name="TextBox 156"/>
            <p:cNvSpPr txBox="1"/>
            <p:nvPr/>
          </p:nvSpPr>
          <p:spPr>
            <a:xfrm>
              <a:off x="8732466" y="3107682"/>
              <a:ext cx="2174399" cy="1227897"/>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Monitor</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pp Insight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OMS Log Analytic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Monitoring</a:t>
              </a:r>
            </a:p>
          </p:txBody>
        </p:sp>
      </p:grpSp>
      <p:grpSp>
        <p:nvGrpSpPr>
          <p:cNvPr id="16" name="Group 15"/>
          <p:cNvGrpSpPr/>
          <p:nvPr/>
        </p:nvGrpSpPr>
        <p:grpSpPr>
          <a:xfrm>
            <a:off x="1014045" y="1455060"/>
            <a:ext cx="3524992" cy="1311076"/>
            <a:chOff x="1317269" y="1409030"/>
            <a:chExt cx="3524992" cy="1311076"/>
          </a:xfrm>
        </p:grpSpPr>
        <p:pic>
          <p:nvPicPr>
            <p:cNvPr id="2" name="Picture 1"/>
            <p:cNvPicPr>
              <a:picLocks noChangeAspect="1"/>
            </p:cNvPicPr>
            <p:nvPr/>
          </p:nvPicPr>
          <p:blipFill>
            <a:blip r:embed="rId8"/>
            <a:stretch>
              <a:fillRect/>
            </a:stretch>
          </p:blipFill>
          <p:spPr>
            <a:xfrm>
              <a:off x="1343608" y="1409030"/>
              <a:ext cx="551233" cy="551233"/>
            </a:xfrm>
            <a:prstGeom prst="rect">
              <a:avLst/>
            </a:prstGeom>
            <a:noFill/>
          </p:spPr>
        </p:pic>
        <p:pic>
          <p:nvPicPr>
            <p:cNvPr id="5" name="Picture 4"/>
            <p:cNvPicPr>
              <a:picLocks noChangeAspect="1"/>
            </p:cNvPicPr>
            <p:nvPr/>
          </p:nvPicPr>
          <p:blipFill>
            <a:blip r:embed="rId9"/>
            <a:stretch>
              <a:fillRect/>
            </a:stretch>
          </p:blipFill>
          <p:spPr>
            <a:xfrm>
              <a:off x="1317269" y="2092295"/>
              <a:ext cx="569669" cy="569669"/>
            </a:xfrm>
            <a:prstGeom prst="rect">
              <a:avLst/>
            </a:prstGeom>
            <a:noFill/>
          </p:spPr>
        </p:pic>
        <p:sp>
          <p:nvSpPr>
            <p:cNvPr id="8" name="TextBox 7"/>
            <p:cNvSpPr txBox="1"/>
            <p:nvPr/>
          </p:nvSpPr>
          <p:spPr>
            <a:xfrm>
              <a:off x="2062518" y="1449131"/>
              <a:ext cx="2779743" cy="1270975"/>
            </a:xfrm>
            <a:prstGeom prst="rect">
              <a:avLst/>
            </a:prstGeom>
            <a:noFill/>
          </p:spPr>
          <p:txBody>
            <a:bodyPr wrap="square" lIns="36000" tIns="0" rIns="0" bIns="0" rtlCol="0" anchor="ctr">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Build &amp; DevOp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Visual Studio Team Servic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t>
              </a:r>
              <a:r>
                <a:rPr kumimoji="0" lang="en-GB" sz="1600" b="0" i="0" u="none" strike="noStrike" kern="1200" cap="none" spc="0" normalizeH="0" baseline="0" noProof="0" err="1">
                  <a:ln>
                    <a:noFill/>
                  </a:ln>
                  <a:solidFill>
                    <a:srgbClr val="F8F8F8">
                      <a:lumMod val="25000"/>
                    </a:srgbClr>
                  </a:solidFill>
                  <a:effectLst/>
                  <a:uLnTx/>
                  <a:uFillTx/>
                  <a:latin typeface="Segoe UI"/>
                  <a:ea typeface="+mn-ea"/>
                  <a:cs typeface="+mn-cs"/>
                </a:rPr>
                <a:t>DevTest</a:t>
              </a: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 Labs</a:t>
              </a:r>
            </a:p>
          </p:txBody>
        </p:sp>
      </p:grpSp>
      <p:grpSp>
        <p:nvGrpSpPr>
          <p:cNvPr id="25" name="Group 24"/>
          <p:cNvGrpSpPr/>
          <p:nvPr/>
        </p:nvGrpSpPr>
        <p:grpSpPr>
          <a:xfrm>
            <a:off x="991686" y="5441478"/>
            <a:ext cx="3384256" cy="1407824"/>
            <a:chOff x="1294910" y="5545822"/>
            <a:chExt cx="3384256" cy="1407824"/>
          </a:xfrm>
          <a:noFill/>
        </p:grpSpPr>
        <p:pic>
          <p:nvPicPr>
            <p:cNvPr id="15" name="Picture 14"/>
            <p:cNvPicPr>
              <a:picLocks noChangeAspect="1"/>
            </p:cNvPicPr>
            <p:nvPr/>
          </p:nvPicPr>
          <p:blipFill>
            <a:blip r:embed="rId10"/>
            <a:stretch>
              <a:fillRect/>
            </a:stretch>
          </p:blipFill>
          <p:spPr>
            <a:xfrm>
              <a:off x="1294910" y="6305018"/>
              <a:ext cx="648628" cy="648628"/>
            </a:xfrm>
            <a:prstGeom prst="rect">
              <a:avLst/>
            </a:prstGeom>
            <a:grpFill/>
          </p:spPr>
        </p:pic>
        <p:sp>
          <p:nvSpPr>
            <p:cNvPr id="130" name="TextBox 129"/>
            <p:cNvSpPr txBox="1"/>
            <p:nvPr/>
          </p:nvSpPr>
          <p:spPr>
            <a:xfrm>
              <a:off x="2057060" y="5606170"/>
              <a:ext cx="2622106" cy="1244564"/>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Sec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i="0" u="none" strike="noStrike" kern="1200" cap="none" spc="0" normalizeH="0" baseline="0" noProof="0">
                  <a:ln>
                    <a:noFill/>
                  </a:ln>
                  <a:solidFill>
                    <a:srgbClr val="F8F8F8">
                      <a:lumMod val="25000"/>
                    </a:srgbClr>
                  </a:solidFill>
                  <a:effectLst/>
                  <a:uLnTx/>
                  <a:uFillTx/>
                  <a:latin typeface="Segoe UI"/>
                  <a:ea typeface="+mn-ea"/>
                  <a:cs typeface="+mn-cs"/>
                </a:rPr>
                <a:t>Azure Security Cent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Key-vaul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Network Security Groups</a:t>
              </a:r>
            </a:p>
          </p:txBody>
        </p:sp>
        <p:pic>
          <p:nvPicPr>
            <p:cNvPr id="19" name="Picture 18"/>
            <p:cNvPicPr>
              <a:picLocks noChangeAspect="1"/>
            </p:cNvPicPr>
            <p:nvPr/>
          </p:nvPicPr>
          <p:blipFill>
            <a:blip r:embed="rId11"/>
            <a:stretch>
              <a:fillRect/>
            </a:stretch>
          </p:blipFill>
          <p:spPr>
            <a:xfrm>
              <a:off x="1310498" y="5545822"/>
              <a:ext cx="617453" cy="617453"/>
            </a:xfrm>
            <a:prstGeom prst="rect">
              <a:avLst/>
            </a:prstGeom>
            <a:grpFill/>
          </p:spPr>
        </p:pic>
      </p:grpSp>
      <p:grpSp>
        <p:nvGrpSpPr>
          <p:cNvPr id="26" name="Group 25"/>
          <p:cNvGrpSpPr/>
          <p:nvPr/>
        </p:nvGrpSpPr>
        <p:grpSpPr>
          <a:xfrm>
            <a:off x="998050" y="3497262"/>
            <a:ext cx="2959410" cy="1339974"/>
            <a:chOff x="1301274" y="3641278"/>
            <a:chExt cx="2959410" cy="1339974"/>
          </a:xfrm>
        </p:grpSpPr>
        <p:sp>
          <p:nvSpPr>
            <p:cNvPr id="138" name="TextBox 137"/>
            <p:cNvSpPr txBox="1"/>
            <p:nvPr/>
          </p:nvSpPr>
          <p:spPr>
            <a:xfrm>
              <a:off x="2057060" y="3702873"/>
              <a:ext cx="2203624" cy="1199588"/>
            </a:xfrm>
            <a:prstGeom prst="rect">
              <a:avLst/>
            </a:prstGeom>
            <a:no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Gover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Billing Hub</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Resource Polici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dvisor</a:t>
              </a:r>
            </a:p>
          </p:txBody>
        </p:sp>
        <p:pic>
          <p:nvPicPr>
            <p:cNvPr id="4" name="Picture 3"/>
            <p:cNvPicPr>
              <a:picLocks noChangeAspect="1"/>
            </p:cNvPicPr>
            <p:nvPr/>
          </p:nvPicPr>
          <p:blipFill>
            <a:blip r:embed="rId12"/>
            <a:stretch>
              <a:fillRect/>
            </a:stretch>
          </p:blipFill>
          <p:spPr>
            <a:xfrm>
              <a:off x="1312022" y="4345742"/>
              <a:ext cx="614405" cy="635510"/>
            </a:xfrm>
            <a:prstGeom prst="rect">
              <a:avLst/>
            </a:prstGeom>
          </p:spPr>
        </p:pic>
        <p:pic>
          <p:nvPicPr>
            <p:cNvPr id="6" name="Picture 5"/>
            <p:cNvPicPr>
              <a:picLocks noChangeAspect="1"/>
            </p:cNvPicPr>
            <p:nvPr/>
          </p:nvPicPr>
          <p:blipFill>
            <a:blip r:embed="rId13"/>
            <a:stretch>
              <a:fillRect/>
            </a:stretch>
          </p:blipFill>
          <p:spPr>
            <a:xfrm>
              <a:off x="1301274" y="3641278"/>
              <a:ext cx="635900" cy="635900"/>
            </a:xfrm>
            <a:prstGeom prst="rect">
              <a:avLst/>
            </a:prstGeom>
          </p:spPr>
        </p:pic>
      </p:grpSp>
      <p:grpSp>
        <p:nvGrpSpPr>
          <p:cNvPr id="20" name="Group 19"/>
          <p:cNvGrpSpPr/>
          <p:nvPr/>
        </p:nvGrpSpPr>
        <p:grpSpPr>
          <a:xfrm>
            <a:off x="8651573" y="1381549"/>
            <a:ext cx="2849326" cy="1274982"/>
            <a:chOff x="8674607" y="1482047"/>
            <a:chExt cx="2849326" cy="1274982"/>
          </a:xfrm>
          <a:noFill/>
        </p:grpSpPr>
        <p:sp>
          <p:nvSpPr>
            <p:cNvPr id="158" name="TextBox 157"/>
            <p:cNvSpPr txBox="1"/>
            <p:nvPr/>
          </p:nvSpPr>
          <p:spPr>
            <a:xfrm>
              <a:off x="8674607" y="1548888"/>
              <a:ext cx="2813472" cy="1208141"/>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Config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utomatio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Desired State Config</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p:txBody>
        </p:sp>
        <p:pic>
          <p:nvPicPr>
            <p:cNvPr id="11" name="Picture 10"/>
            <p:cNvPicPr>
              <a:picLocks noChangeAspect="1"/>
            </p:cNvPicPr>
            <p:nvPr/>
          </p:nvPicPr>
          <p:blipFill>
            <a:blip r:embed="rId14"/>
            <a:stretch>
              <a:fillRect/>
            </a:stretch>
          </p:blipFill>
          <p:spPr>
            <a:xfrm>
              <a:off x="10999154" y="2184492"/>
              <a:ext cx="506852" cy="506852"/>
            </a:xfrm>
            <a:prstGeom prst="rect">
              <a:avLst/>
            </a:prstGeom>
            <a:grpFill/>
          </p:spPr>
        </p:pic>
        <p:pic>
          <p:nvPicPr>
            <p:cNvPr id="12" name="Picture 11"/>
            <p:cNvPicPr>
              <a:picLocks noChangeAspect="1"/>
            </p:cNvPicPr>
            <p:nvPr/>
          </p:nvPicPr>
          <p:blipFill>
            <a:blip r:embed="rId15"/>
            <a:stretch>
              <a:fillRect/>
            </a:stretch>
          </p:blipFill>
          <p:spPr>
            <a:xfrm>
              <a:off x="10945374" y="1482047"/>
              <a:ext cx="578559" cy="578559"/>
            </a:xfrm>
            <a:prstGeom prst="rect">
              <a:avLst/>
            </a:prstGeom>
            <a:grpFill/>
          </p:spPr>
        </p:pic>
      </p:grpSp>
    </p:spTree>
    <p:extLst>
      <p:ext uri="{BB962C8B-B14F-4D97-AF65-F5344CB8AC3E}">
        <p14:creationId xmlns:p14="http://schemas.microsoft.com/office/powerpoint/2010/main" val="402379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E907F-49E2-4189-92D3-40DE48A307E6}"/>
              </a:ext>
            </a:extLst>
          </p:cNvPr>
          <p:cNvSpPr>
            <a:spLocks noGrp="1"/>
          </p:cNvSpPr>
          <p:nvPr>
            <p:ph type="title"/>
          </p:nvPr>
        </p:nvSpPr>
        <p:spPr/>
        <p:txBody>
          <a:bodyPr/>
          <a:lstStyle/>
          <a:p>
            <a:r>
              <a:rPr lang="en-GB"/>
              <a:t>Complementary Services</a:t>
            </a:r>
          </a:p>
        </p:txBody>
      </p:sp>
      <p:grpSp>
        <p:nvGrpSpPr>
          <p:cNvPr id="50" name="Group 49">
            <a:extLst>
              <a:ext uri="{FF2B5EF4-FFF2-40B4-BE49-F238E27FC236}">
                <a16:creationId xmlns:a16="http://schemas.microsoft.com/office/drawing/2014/main" id="{CDC1412D-E255-469F-9372-DF2C2622FC2B}"/>
              </a:ext>
            </a:extLst>
          </p:cNvPr>
          <p:cNvGrpSpPr/>
          <p:nvPr/>
        </p:nvGrpSpPr>
        <p:grpSpPr>
          <a:xfrm>
            <a:off x="5176323" y="5439163"/>
            <a:ext cx="1617879" cy="1382478"/>
            <a:chOff x="2032718" y="1516619"/>
            <a:chExt cx="1617879" cy="1382478"/>
          </a:xfrm>
        </p:grpSpPr>
        <p:pic>
          <p:nvPicPr>
            <p:cNvPr id="7" name="Graphic 6">
              <a:extLst>
                <a:ext uri="{FF2B5EF4-FFF2-40B4-BE49-F238E27FC236}">
                  <a16:creationId xmlns:a16="http://schemas.microsoft.com/office/drawing/2014/main" id="{4CC67D2A-36CC-438F-B15D-BEFA399A82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98657" y="1516619"/>
              <a:ext cx="1240628" cy="1240628"/>
            </a:xfrm>
            <a:prstGeom prst="rect">
              <a:avLst/>
            </a:prstGeom>
          </p:spPr>
        </p:pic>
        <p:sp>
          <p:nvSpPr>
            <p:cNvPr id="45" name="TextBox 44">
              <a:extLst>
                <a:ext uri="{FF2B5EF4-FFF2-40B4-BE49-F238E27FC236}">
                  <a16:creationId xmlns:a16="http://schemas.microsoft.com/office/drawing/2014/main" id="{4AAEBC19-4645-49C7-9F15-1CDD139D9314}"/>
                </a:ext>
              </a:extLst>
            </p:cNvPr>
            <p:cNvSpPr txBox="1"/>
            <p:nvPr/>
          </p:nvSpPr>
          <p:spPr>
            <a:xfrm>
              <a:off x="2032718" y="2326633"/>
              <a:ext cx="161787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zure CDN</a:t>
              </a:r>
            </a:p>
          </p:txBody>
        </p:sp>
      </p:grpSp>
      <p:grpSp>
        <p:nvGrpSpPr>
          <p:cNvPr id="49" name="Group 48">
            <a:extLst>
              <a:ext uri="{FF2B5EF4-FFF2-40B4-BE49-F238E27FC236}">
                <a16:creationId xmlns:a16="http://schemas.microsoft.com/office/drawing/2014/main" id="{BC7D16A3-8D6F-4B28-8C5D-7C7939909DFA}"/>
              </a:ext>
            </a:extLst>
          </p:cNvPr>
          <p:cNvGrpSpPr/>
          <p:nvPr/>
        </p:nvGrpSpPr>
        <p:grpSpPr>
          <a:xfrm>
            <a:off x="9437234" y="2961831"/>
            <a:ext cx="1731179" cy="1354696"/>
            <a:chOff x="1658138" y="3383310"/>
            <a:chExt cx="1731179" cy="1354696"/>
          </a:xfrm>
        </p:grpSpPr>
        <p:pic>
          <p:nvPicPr>
            <p:cNvPr id="11" name="Graphic 10">
              <a:extLst>
                <a:ext uri="{FF2B5EF4-FFF2-40B4-BE49-F238E27FC236}">
                  <a16:creationId xmlns:a16="http://schemas.microsoft.com/office/drawing/2014/main" id="{5C3379BB-4BE1-42B0-BD46-D3A40C3132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69579" y="3383310"/>
              <a:ext cx="908298" cy="908298"/>
            </a:xfrm>
            <a:prstGeom prst="rect">
              <a:avLst/>
            </a:prstGeom>
          </p:spPr>
        </p:pic>
        <p:sp>
          <p:nvSpPr>
            <p:cNvPr id="46" name="TextBox 45">
              <a:extLst>
                <a:ext uri="{FF2B5EF4-FFF2-40B4-BE49-F238E27FC236}">
                  <a16:creationId xmlns:a16="http://schemas.microsoft.com/office/drawing/2014/main" id="{164A1D97-022D-42A7-BE58-53EFF329E985}"/>
                </a:ext>
              </a:extLst>
            </p:cNvPr>
            <p:cNvSpPr txBox="1"/>
            <p:nvPr/>
          </p:nvSpPr>
          <p:spPr>
            <a:xfrm>
              <a:off x="1658138" y="4165542"/>
              <a:ext cx="173117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err="1">
                  <a:gradFill>
                    <a:gsLst>
                      <a:gs pos="2917">
                        <a:schemeClr val="tx1"/>
                      </a:gs>
                      <a:gs pos="30000">
                        <a:schemeClr val="tx1"/>
                      </a:gs>
                    </a:gsLst>
                    <a:lin ang="5400000" scaled="0"/>
                  </a:gradFill>
                </a:rPr>
                <a:t>Redis</a:t>
              </a:r>
              <a:r>
                <a:rPr lang="en-GB" sz="2000">
                  <a:gradFill>
                    <a:gsLst>
                      <a:gs pos="2917">
                        <a:schemeClr val="tx1"/>
                      </a:gs>
                      <a:gs pos="30000">
                        <a:schemeClr val="tx1"/>
                      </a:gs>
                    </a:gsLst>
                    <a:lin ang="5400000" scaled="0"/>
                  </a:gradFill>
                </a:rPr>
                <a:t> Cache</a:t>
              </a:r>
            </a:p>
          </p:txBody>
        </p:sp>
      </p:grpSp>
      <p:grpSp>
        <p:nvGrpSpPr>
          <p:cNvPr id="48" name="Group 47">
            <a:extLst>
              <a:ext uri="{FF2B5EF4-FFF2-40B4-BE49-F238E27FC236}">
                <a16:creationId xmlns:a16="http://schemas.microsoft.com/office/drawing/2014/main" id="{5ED7B30F-DF04-43D8-883F-E5B0C05E1379}"/>
              </a:ext>
            </a:extLst>
          </p:cNvPr>
          <p:cNvGrpSpPr/>
          <p:nvPr/>
        </p:nvGrpSpPr>
        <p:grpSpPr>
          <a:xfrm>
            <a:off x="941064" y="2957298"/>
            <a:ext cx="1838901" cy="1617926"/>
            <a:chOff x="2339520" y="4720421"/>
            <a:chExt cx="1838901" cy="1617926"/>
          </a:xfrm>
        </p:grpSpPr>
        <p:pic>
          <p:nvPicPr>
            <p:cNvPr id="13" name="Graphic 12">
              <a:extLst>
                <a:ext uri="{FF2B5EF4-FFF2-40B4-BE49-F238E27FC236}">
                  <a16:creationId xmlns:a16="http://schemas.microsoft.com/office/drawing/2014/main" id="{E168D5B3-8FCD-43AC-A36D-8A936A9176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18971" y="4720421"/>
              <a:ext cx="1080000" cy="1080000"/>
            </a:xfrm>
            <a:prstGeom prst="rect">
              <a:avLst/>
            </a:prstGeom>
          </p:spPr>
        </p:pic>
        <p:sp>
          <p:nvSpPr>
            <p:cNvPr id="47" name="TextBox 46">
              <a:extLst>
                <a:ext uri="{FF2B5EF4-FFF2-40B4-BE49-F238E27FC236}">
                  <a16:creationId xmlns:a16="http://schemas.microsoft.com/office/drawing/2014/main" id="{988E7EC2-EEED-4042-B54D-D4D01AD64252}"/>
                </a:ext>
              </a:extLst>
            </p:cNvPr>
            <p:cNvSpPr txBox="1"/>
            <p:nvPr/>
          </p:nvSpPr>
          <p:spPr>
            <a:xfrm>
              <a:off x="2339520" y="5765883"/>
              <a:ext cx="1838901"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zure Search</a:t>
              </a:r>
            </a:p>
          </p:txBody>
        </p:sp>
      </p:grpSp>
      <p:grpSp>
        <p:nvGrpSpPr>
          <p:cNvPr id="57" name="Group 56">
            <a:extLst>
              <a:ext uri="{FF2B5EF4-FFF2-40B4-BE49-F238E27FC236}">
                <a16:creationId xmlns:a16="http://schemas.microsoft.com/office/drawing/2014/main" id="{99EB13F4-350B-461C-95FD-80DD221CCD6A}"/>
              </a:ext>
            </a:extLst>
          </p:cNvPr>
          <p:cNvGrpSpPr/>
          <p:nvPr/>
        </p:nvGrpSpPr>
        <p:grpSpPr>
          <a:xfrm>
            <a:off x="7859397" y="4670995"/>
            <a:ext cx="2124749" cy="1377767"/>
            <a:chOff x="5828749" y="5219380"/>
            <a:chExt cx="2124749" cy="1377767"/>
          </a:xfrm>
        </p:grpSpPr>
        <p:pic>
          <p:nvPicPr>
            <p:cNvPr id="17" name="Graphic 16">
              <a:extLst>
                <a:ext uri="{FF2B5EF4-FFF2-40B4-BE49-F238E27FC236}">
                  <a16:creationId xmlns:a16="http://schemas.microsoft.com/office/drawing/2014/main" id="{BBE9CD19-9A84-45F0-93EC-36199D346B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0316" y="5219380"/>
              <a:ext cx="901614" cy="901614"/>
            </a:xfrm>
            <a:prstGeom prst="rect">
              <a:avLst/>
            </a:prstGeom>
          </p:spPr>
        </p:pic>
        <p:sp>
          <p:nvSpPr>
            <p:cNvPr id="51" name="TextBox 50">
              <a:extLst>
                <a:ext uri="{FF2B5EF4-FFF2-40B4-BE49-F238E27FC236}">
                  <a16:creationId xmlns:a16="http://schemas.microsoft.com/office/drawing/2014/main" id="{C4E374F9-1F01-49FE-B5B6-4661B9C38E79}"/>
                </a:ext>
              </a:extLst>
            </p:cNvPr>
            <p:cNvSpPr txBox="1"/>
            <p:nvPr/>
          </p:nvSpPr>
          <p:spPr>
            <a:xfrm>
              <a:off x="5828749" y="6024683"/>
              <a:ext cx="212474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Traffic Manager</a:t>
              </a:r>
            </a:p>
          </p:txBody>
        </p:sp>
      </p:grpSp>
      <p:grpSp>
        <p:nvGrpSpPr>
          <p:cNvPr id="56" name="Group 55">
            <a:extLst>
              <a:ext uri="{FF2B5EF4-FFF2-40B4-BE49-F238E27FC236}">
                <a16:creationId xmlns:a16="http://schemas.microsoft.com/office/drawing/2014/main" id="{9296E991-5FB0-4C59-8CB1-7BDA33F5E652}"/>
              </a:ext>
            </a:extLst>
          </p:cNvPr>
          <p:cNvGrpSpPr/>
          <p:nvPr/>
        </p:nvGrpSpPr>
        <p:grpSpPr>
          <a:xfrm>
            <a:off x="2456189" y="4670995"/>
            <a:ext cx="1654940" cy="1922611"/>
            <a:chOff x="8739078" y="3564656"/>
            <a:chExt cx="1654940" cy="1922611"/>
          </a:xfrm>
        </p:grpSpPr>
        <p:pic>
          <p:nvPicPr>
            <p:cNvPr id="15" name="Graphic 14">
              <a:extLst>
                <a:ext uri="{FF2B5EF4-FFF2-40B4-BE49-F238E27FC236}">
                  <a16:creationId xmlns:a16="http://schemas.microsoft.com/office/drawing/2014/main" id="{97CAB6A1-231F-4BBC-83C9-5861AFCFCD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26549" y="3564656"/>
              <a:ext cx="1080000" cy="1080000"/>
            </a:xfrm>
            <a:prstGeom prst="rect">
              <a:avLst/>
            </a:prstGeom>
          </p:spPr>
        </p:pic>
        <p:sp>
          <p:nvSpPr>
            <p:cNvPr id="52" name="TextBox 51">
              <a:extLst>
                <a:ext uri="{FF2B5EF4-FFF2-40B4-BE49-F238E27FC236}">
                  <a16:creationId xmlns:a16="http://schemas.microsoft.com/office/drawing/2014/main" id="{EDB8391F-F86F-44F1-A86D-6176EB76B8B3}"/>
                </a:ext>
              </a:extLst>
            </p:cNvPr>
            <p:cNvSpPr txBox="1"/>
            <p:nvPr/>
          </p:nvSpPr>
          <p:spPr>
            <a:xfrm>
              <a:off x="8739078" y="4560860"/>
              <a:ext cx="1654940" cy="926407"/>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pplication</a:t>
              </a:r>
            </a:p>
            <a:p>
              <a:pPr algn="ctr">
                <a:lnSpc>
                  <a:spcPct val="90000"/>
                </a:lnSpc>
                <a:spcAft>
                  <a:spcPts val="600"/>
                </a:spcAft>
              </a:pPr>
              <a:r>
                <a:rPr lang="en-GB" sz="2000">
                  <a:gradFill>
                    <a:gsLst>
                      <a:gs pos="2917">
                        <a:schemeClr val="tx1"/>
                      </a:gs>
                      <a:gs pos="30000">
                        <a:schemeClr val="tx1"/>
                      </a:gs>
                    </a:gsLst>
                    <a:lin ang="5400000" scaled="0"/>
                  </a:gradFill>
                </a:rPr>
                <a:t>Insights</a:t>
              </a:r>
            </a:p>
          </p:txBody>
        </p:sp>
      </p:grpSp>
      <p:grpSp>
        <p:nvGrpSpPr>
          <p:cNvPr id="58" name="Group 57">
            <a:extLst>
              <a:ext uri="{FF2B5EF4-FFF2-40B4-BE49-F238E27FC236}">
                <a16:creationId xmlns:a16="http://schemas.microsoft.com/office/drawing/2014/main" id="{77D707DA-BEF4-4058-B4F5-B0B793EA702B}"/>
              </a:ext>
            </a:extLst>
          </p:cNvPr>
          <p:cNvGrpSpPr/>
          <p:nvPr/>
        </p:nvGrpSpPr>
        <p:grpSpPr>
          <a:xfrm>
            <a:off x="2984460" y="1258524"/>
            <a:ext cx="1299074" cy="1489005"/>
            <a:chOff x="9819539" y="672849"/>
            <a:chExt cx="1299074" cy="1489005"/>
          </a:xfrm>
        </p:grpSpPr>
        <p:pic>
          <p:nvPicPr>
            <p:cNvPr id="38" name="Graphic 37">
              <a:extLst>
                <a:ext uri="{FF2B5EF4-FFF2-40B4-BE49-F238E27FC236}">
                  <a16:creationId xmlns:a16="http://schemas.microsoft.com/office/drawing/2014/main" id="{FE626D03-EA45-4095-8705-9F6813F5FC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29076" y="672849"/>
              <a:ext cx="1080000" cy="1080000"/>
            </a:xfrm>
            <a:prstGeom prst="rect">
              <a:avLst/>
            </a:prstGeom>
          </p:spPr>
        </p:pic>
        <p:sp>
          <p:nvSpPr>
            <p:cNvPr id="53" name="TextBox 52">
              <a:extLst>
                <a:ext uri="{FF2B5EF4-FFF2-40B4-BE49-F238E27FC236}">
                  <a16:creationId xmlns:a16="http://schemas.microsoft.com/office/drawing/2014/main" id="{E0A26028-12EF-4127-807F-6C6A48806294}"/>
                </a:ext>
              </a:extLst>
            </p:cNvPr>
            <p:cNvSpPr txBox="1"/>
            <p:nvPr/>
          </p:nvSpPr>
          <p:spPr>
            <a:xfrm>
              <a:off x="9819539" y="1589390"/>
              <a:ext cx="1299074"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Xamarin</a:t>
              </a:r>
            </a:p>
          </p:txBody>
        </p:sp>
      </p:grpSp>
      <p:grpSp>
        <p:nvGrpSpPr>
          <p:cNvPr id="59" name="Group 58">
            <a:extLst>
              <a:ext uri="{FF2B5EF4-FFF2-40B4-BE49-F238E27FC236}">
                <a16:creationId xmlns:a16="http://schemas.microsoft.com/office/drawing/2014/main" id="{85F8EEF0-0806-4770-BBE2-AFDAAEBE2953}"/>
              </a:ext>
            </a:extLst>
          </p:cNvPr>
          <p:cNvGrpSpPr/>
          <p:nvPr/>
        </p:nvGrpSpPr>
        <p:grpSpPr>
          <a:xfrm>
            <a:off x="7484266" y="1258524"/>
            <a:ext cx="1952971" cy="1783462"/>
            <a:chOff x="7293922" y="1688394"/>
            <a:chExt cx="1952971" cy="1783462"/>
          </a:xfrm>
        </p:grpSpPr>
        <p:pic>
          <p:nvPicPr>
            <p:cNvPr id="19" name="Picture 18">
              <a:extLst>
                <a:ext uri="{FF2B5EF4-FFF2-40B4-BE49-F238E27FC236}">
                  <a16:creationId xmlns:a16="http://schemas.microsoft.com/office/drawing/2014/main" id="{6CD3B045-7ED0-48E8-BC44-5462653BEDC7}"/>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7730405" y="1688394"/>
              <a:ext cx="1080000" cy="1080000"/>
            </a:xfrm>
            <a:prstGeom prst="rect">
              <a:avLst/>
            </a:prstGeom>
          </p:spPr>
        </p:pic>
        <p:sp>
          <p:nvSpPr>
            <p:cNvPr id="54" name="TextBox 53">
              <a:extLst>
                <a:ext uri="{FF2B5EF4-FFF2-40B4-BE49-F238E27FC236}">
                  <a16:creationId xmlns:a16="http://schemas.microsoft.com/office/drawing/2014/main" id="{5E4AECC1-09A9-405F-AEB8-278996DE59A6}"/>
                </a:ext>
              </a:extLst>
            </p:cNvPr>
            <p:cNvSpPr txBox="1"/>
            <p:nvPr/>
          </p:nvSpPr>
          <p:spPr>
            <a:xfrm>
              <a:off x="7293922" y="2622393"/>
              <a:ext cx="1952971" cy="849463"/>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Visual Studio</a:t>
              </a:r>
              <a:br>
                <a:rPr lang="en-GB" sz="2000">
                  <a:gradFill>
                    <a:gsLst>
                      <a:gs pos="2917">
                        <a:schemeClr val="tx1"/>
                      </a:gs>
                      <a:gs pos="30000">
                        <a:schemeClr val="tx1"/>
                      </a:gs>
                    </a:gsLst>
                    <a:lin ang="5400000" scaled="0"/>
                  </a:gradFill>
                </a:rPr>
              </a:br>
              <a:r>
                <a:rPr lang="en-GB" sz="2000">
                  <a:gradFill>
                    <a:gsLst>
                      <a:gs pos="2917">
                        <a:schemeClr val="tx1"/>
                      </a:gs>
                      <a:gs pos="30000">
                        <a:schemeClr val="tx1"/>
                      </a:gs>
                    </a:gsLst>
                    <a:lin ang="5400000" scaled="0"/>
                  </a:gradFill>
                </a:rPr>
                <a:t>Team Services</a:t>
              </a:r>
            </a:p>
          </p:txBody>
        </p:sp>
      </p:grpSp>
      <p:sp>
        <p:nvSpPr>
          <p:cNvPr id="55" name="Oval 54">
            <a:extLst>
              <a:ext uri="{FF2B5EF4-FFF2-40B4-BE49-F238E27FC236}">
                <a16:creationId xmlns:a16="http://schemas.microsoft.com/office/drawing/2014/main" id="{8008144B-7A46-47C8-844A-08FEA36D7809}"/>
              </a:ext>
            </a:extLst>
          </p:cNvPr>
          <p:cNvSpPr/>
          <p:nvPr/>
        </p:nvSpPr>
        <p:spPr bwMode="auto">
          <a:xfrm>
            <a:off x="4487048" y="2430456"/>
            <a:ext cx="2690819" cy="269081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B301B86C-1168-4B7E-B50D-9120308F4A3E}"/>
              </a:ext>
            </a:extLst>
          </p:cNvPr>
          <p:cNvSpPr txBox="1"/>
          <p:nvPr/>
        </p:nvSpPr>
        <p:spPr>
          <a:xfrm>
            <a:off x="4842880" y="3932996"/>
            <a:ext cx="1881028" cy="926407"/>
          </a:xfrm>
          <a:prstGeom prst="rect">
            <a:avLst/>
          </a:prstGeom>
          <a:noFill/>
        </p:spPr>
        <p:txBody>
          <a:bodyPr wrap="none" lIns="182880" tIns="146304" rIns="182880" bIns="146304" rtlCol="0">
            <a:spAutoFit/>
          </a:bodyPr>
          <a:lstStyle/>
          <a:p>
            <a:pPr algn="ctr">
              <a:lnSpc>
                <a:spcPct val="90000"/>
              </a:lnSpc>
              <a:spcAft>
                <a:spcPts val="600"/>
              </a:spcAft>
            </a:pPr>
            <a:r>
              <a:rPr lang="en-GB" sz="2000">
                <a:solidFill>
                  <a:schemeClr val="bg1">
                    <a:lumMod val="75000"/>
                  </a:schemeClr>
                </a:solidFill>
              </a:rPr>
              <a:t>Azure Web &amp;</a:t>
            </a:r>
          </a:p>
          <a:p>
            <a:pPr algn="ctr">
              <a:lnSpc>
                <a:spcPct val="90000"/>
              </a:lnSpc>
              <a:spcAft>
                <a:spcPts val="600"/>
              </a:spcAft>
            </a:pPr>
            <a:r>
              <a:rPr lang="en-GB" sz="2000">
                <a:solidFill>
                  <a:schemeClr val="bg1">
                    <a:lumMod val="75000"/>
                  </a:schemeClr>
                </a:solidFill>
              </a:rPr>
              <a:t>Mobile Apps</a:t>
            </a:r>
          </a:p>
        </p:txBody>
      </p:sp>
      <p:pic>
        <p:nvPicPr>
          <p:cNvPr id="36" name="Graphic 35">
            <a:extLst>
              <a:ext uri="{FF2B5EF4-FFF2-40B4-BE49-F238E27FC236}">
                <a16:creationId xmlns:a16="http://schemas.microsoft.com/office/drawing/2014/main" id="{0040D9B4-95FC-4ED0-863D-69235E5F279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52889" y="2676636"/>
            <a:ext cx="832357" cy="832357"/>
          </a:xfrm>
          <a:prstGeom prst="rect">
            <a:avLst/>
          </a:prstGeom>
        </p:spPr>
      </p:pic>
      <p:pic>
        <p:nvPicPr>
          <p:cNvPr id="44" name="Graphic 43">
            <a:extLst>
              <a:ext uri="{FF2B5EF4-FFF2-40B4-BE49-F238E27FC236}">
                <a16:creationId xmlns:a16="http://schemas.microsoft.com/office/drawing/2014/main" id="{2DC4E01E-C5C1-42CD-9FAA-9B222651A56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060274" y="3259137"/>
            <a:ext cx="760085" cy="760085"/>
          </a:xfrm>
          <a:prstGeom prst="rect">
            <a:avLst/>
          </a:prstGeom>
        </p:spPr>
      </p:pic>
      <p:pic>
        <p:nvPicPr>
          <p:cNvPr id="24" name="Graphic 23">
            <a:extLst>
              <a:ext uri="{FF2B5EF4-FFF2-40B4-BE49-F238E27FC236}">
                <a16:creationId xmlns:a16="http://schemas.microsoft.com/office/drawing/2014/main" id="{C2FDB102-5D5B-44F7-8DA9-570573CC5B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73787" y="3061017"/>
            <a:ext cx="958205" cy="958205"/>
          </a:xfrm>
          <a:prstGeom prst="rect">
            <a:avLst/>
          </a:prstGeom>
        </p:spPr>
      </p:pic>
    </p:spTree>
    <p:extLst>
      <p:ext uri="{BB962C8B-B14F-4D97-AF65-F5344CB8AC3E}">
        <p14:creationId xmlns:p14="http://schemas.microsoft.com/office/powerpoint/2010/main" val="2014699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p:cTn id="7" dur="500" fill="hold"/>
                                        <p:tgtEl>
                                          <p:spTgt spid="58"/>
                                        </p:tgtEl>
                                        <p:attrNameLst>
                                          <p:attrName>ppt_w</p:attrName>
                                        </p:attrNameLst>
                                      </p:cBhvr>
                                      <p:tavLst>
                                        <p:tav tm="0">
                                          <p:val>
                                            <p:fltVal val="0"/>
                                          </p:val>
                                        </p:tav>
                                        <p:tav tm="100000">
                                          <p:val>
                                            <p:strVal val="#ppt_w"/>
                                          </p:val>
                                        </p:tav>
                                      </p:tavLst>
                                    </p:anim>
                                    <p:anim calcmode="lin" valueType="num">
                                      <p:cBhvr>
                                        <p:cTn id="8" dur="500" fill="hold"/>
                                        <p:tgtEl>
                                          <p:spTgt spid="58"/>
                                        </p:tgtEl>
                                        <p:attrNameLst>
                                          <p:attrName>ppt_h</p:attrName>
                                        </p:attrNameLst>
                                      </p:cBhvr>
                                      <p:tavLst>
                                        <p:tav tm="0">
                                          <p:val>
                                            <p:fltVal val="0"/>
                                          </p:val>
                                        </p:tav>
                                        <p:tav tm="100000">
                                          <p:val>
                                            <p:strVal val="#ppt_h"/>
                                          </p:val>
                                        </p:tav>
                                      </p:tavLst>
                                    </p:anim>
                                    <p:animEffect transition="in" filter="fade">
                                      <p:cBhvr>
                                        <p:cTn id="9" dur="500"/>
                                        <p:tgtEl>
                                          <p:spTgt spid="58"/>
                                        </p:tgtEl>
                                      </p:cBhvr>
                                    </p:animEffect>
                                    <p:anim calcmode="lin" valueType="num">
                                      <p:cBhvr>
                                        <p:cTn id="10" dur="500" fill="hold"/>
                                        <p:tgtEl>
                                          <p:spTgt spid="58"/>
                                        </p:tgtEl>
                                        <p:attrNameLst>
                                          <p:attrName>ppt_x</p:attrName>
                                        </p:attrNameLst>
                                      </p:cBhvr>
                                      <p:tavLst>
                                        <p:tav tm="0">
                                          <p:val>
                                            <p:fltVal val="0.5"/>
                                          </p:val>
                                        </p:tav>
                                        <p:tav tm="100000">
                                          <p:val>
                                            <p:strVal val="#ppt_x"/>
                                          </p:val>
                                        </p:tav>
                                      </p:tavLst>
                                    </p:anim>
                                    <p:anim calcmode="lin" valueType="num">
                                      <p:cBhvr>
                                        <p:cTn id="11" dur="500" fill="hold"/>
                                        <p:tgtEl>
                                          <p:spTgt spid="58"/>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53" presetClass="entr" presetSubtype="528"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p:cTn id="15" dur="500" fill="hold"/>
                                        <p:tgtEl>
                                          <p:spTgt spid="48"/>
                                        </p:tgtEl>
                                        <p:attrNameLst>
                                          <p:attrName>ppt_w</p:attrName>
                                        </p:attrNameLst>
                                      </p:cBhvr>
                                      <p:tavLst>
                                        <p:tav tm="0">
                                          <p:val>
                                            <p:fltVal val="0"/>
                                          </p:val>
                                        </p:tav>
                                        <p:tav tm="100000">
                                          <p:val>
                                            <p:strVal val="#ppt_w"/>
                                          </p:val>
                                        </p:tav>
                                      </p:tavLst>
                                    </p:anim>
                                    <p:anim calcmode="lin" valueType="num">
                                      <p:cBhvr>
                                        <p:cTn id="16" dur="500" fill="hold"/>
                                        <p:tgtEl>
                                          <p:spTgt spid="48"/>
                                        </p:tgtEl>
                                        <p:attrNameLst>
                                          <p:attrName>ppt_h</p:attrName>
                                        </p:attrNameLst>
                                      </p:cBhvr>
                                      <p:tavLst>
                                        <p:tav tm="0">
                                          <p:val>
                                            <p:fltVal val="0"/>
                                          </p:val>
                                        </p:tav>
                                        <p:tav tm="100000">
                                          <p:val>
                                            <p:strVal val="#ppt_h"/>
                                          </p:val>
                                        </p:tav>
                                      </p:tavLst>
                                    </p:anim>
                                    <p:animEffect transition="in" filter="fade">
                                      <p:cBhvr>
                                        <p:cTn id="17" dur="500"/>
                                        <p:tgtEl>
                                          <p:spTgt spid="48"/>
                                        </p:tgtEl>
                                      </p:cBhvr>
                                    </p:animEffect>
                                    <p:anim calcmode="lin" valueType="num">
                                      <p:cBhvr>
                                        <p:cTn id="18" dur="500" fill="hold"/>
                                        <p:tgtEl>
                                          <p:spTgt spid="48"/>
                                        </p:tgtEl>
                                        <p:attrNameLst>
                                          <p:attrName>ppt_x</p:attrName>
                                        </p:attrNameLst>
                                      </p:cBhvr>
                                      <p:tavLst>
                                        <p:tav tm="0">
                                          <p:val>
                                            <p:fltVal val="0.5"/>
                                          </p:val>
                                        </p:tav>
                                        <p:tav tm="100000">
                                          <p:val>
                                            <p:strVal val="#ppt_x"/>
                                          </p:val>
                                        </p:tav>
                                      </p:tavLst>
                                    </p:anim>
                                    <p:anim calcmode="lin" valueType="num">
                                      <p:cBhvr>
                                        <p:cTn id="19" dur="500" fill="hold"/>
                                        <p:tgtEl>
                                          <p:spTgt spid="48"/>
                                        </p:tgtEl>
                                        <p:attrNameLst>
                                          <p:attrName>ppt_y</p:attrName>
                                        </p:attrNameLst>
                                      </p:cBhvr>
                                      <p:tavLst>
                                        <p:tav tm="0">
                                          <p:val>
                                            <p:fltVal val="0.5"/>
                                          </p:val>
                                        </p:tav>
                                        <p:tav tm="100000">
                                          <p:val>
                                            <p:strVal val="#ppt_y"/>
                                          </p:val>
                                        </p:tav>
                                      </p:tavLst>
                                    </p:anim>
                                  </p:childTnLst>
                                </p:cTn>
                              </p:par>
                            </p:childTnLst>
                          </p:cTn>
                        </p:par>
                        <p:par>
                          <p:cTn id="20" fill="hold">
                            <p:stCondLst>
                              <p:cond delay="1000"/>
                            </p:stCondLst>
                            <p:childTnLst>
                              <p:par>
                                <p:cTn id="21" presetID="53" presetClass="entr" presetSubtype="528" fill="hold" nodeType="afterEffect">
                                  <p:stCondLst>
                                    <p:cond delay="0"/>
                                  </p:stCondLst>
                                  <p:childTnLst>
                                    <p:set>
                                      <p:cBhvr>
                                        <p:cTn id="22" dur="1" fill="hold">
                                          <p:stCondLst>
                                            <p:cond delay="0"/>
                                          </p:stCondLst>
                                        </p:cTn>
                                        <p:tgtEl>
                                          <p:spTgt spid="56"/>
                                        </p:tgtEl>
                                        <p:attrNameLst>
                                          <p:attrName>style.visibility</p:attrName>
                                        </p:attrNameLst>
                                      </p:cBhvr>
                                      <p:to>
                                        <p:strVal val="visible"/>
                                      </p:to>
                                    </p:set>
                                    <p:anim calcmode="lin" valueType="num">
                                      <p:cBhvr>
                                        <p:cTn id="23" dur="500" fill="hold"/>
                                        <p:tgtEl>
                                          <p:spTgt spid="56"/>
                                        </p:tgtEl>
                                        <p:attrNameLst>
                                          <p:attrName>ppt_w</p:attrName>
                                        </p:attrNameLst>
                                      </p:cBhvr>
                                      <p:tavLst>
                                        <p:tav tm="0">
                                          <p:val>
                                            <p:fltVal val="0"/>
                                          </p:val>
                                        </p:tav>
                                        <p:tav tm="100000">
                                          <p:val>
                                            <p:strVal val="#ppt_w"/>
                                          </p:val>
                                        </p:tav>
                                      </p:tavLst>
                                    </p:anim>
                                    <p:anim calcmode="lin" valueType="num">
                                      <p:cBhvr>
                                        <p:cTn id="24" dur="500" fill="hold"/>
                                        <p:tgtEl>
                                          <p:spTgt spid="56"/>
                                        </p:tgtEl>
                                        <p:attrNameLst>
                                          <p:attrName>ppt_h</p:attrName>
                                        </p:attrNameLst>
                                      </p:cBhvr>
                                      <p:tavLst>
                                        <p:tav tm="0">
                                          <p:val>
                                            <p:fltVal val="0"/>
                                          </p:val>
                                        </p:tav>
                                        <p:tav tm="100000">
                                          <p:val>
                                            <p:strVal val="#ppt_h"/>
                                          </p:val>
                                        </p:tav>
                                      </p:tavLst>
                                    </p:anim>
                                    <p:animEffect transition="in" filter="fade">
                                      <p:cBhvr>
                                        <p:cTn id="25" dur="500"/>
                                        <p:tgtEl>
                                          <p:spTgt spid="56"/>
                                        </p:tgtEl>
                                      </p:cBhvr>
                                    </p:animEffect>
                                    <p:anim calcmode="lin" valueType="num">
                                      <p:cBhvr>
                                        <p:cTn id="26" dur="500" fill="hold"/>
                                        <p:tgtEl>
                                          <p:spTgt spid="56"/>
                                        </p:tgtEl>
                                        <p:attrNameLst>
                                          <p:attrName>ppt_x</p:attrName>
                                        </p:attrNameLst>
                                      </p:cBhvr>
                                      <p:tavLst>
                                        <p:tav tm="0">
                                          <p:val>
                                            <p:fltVal val="0.5"/>
                                          </p:val>
                                        </p:tav>
                                        <p:tav tm="100000">
                                          <p:val>
                                            <p:strVal val="#ppt_x"/>
                                          </p:val>
                                        </p:tav>
                                      </p:tavLst>
                                    </p:anim>
                                    <p:anim calcmode="lin" valueType="num">
                                      <p:cBhvr>
                                        <p:cTn id="27" dur="500" fill="hold"/>
                                        <p:tgtEl>
                                          <p:spTgt spid="56"/>
                                        </p:tgtEl>
                                        <p:attrNameLst>
                                          <p:attrName>ppt_y</p:attrName>
                                        </p:attrNameLst>
                                      </p:cBhvr>
                                      <p:tavLst>
                                        <p:tav tm="0">
                                          <p:val>
                                            <p:fltVal val="0.5"/>
                                          </p:val>
                                        </p:tav>
                                        <p:tav tm="100000">
                                          <p:val>
                                            <p:strVal val="#ppt_y"/>
                                          </p:val>
                                        </p:tav>
                                      </p:tavLst>
                                    </p:anim>
                                  </p:childTnLst>
                                </p:cTn>
                              </p:par>
                            </p:childTnLst>
                          </p:cTn>
                        </p:par>
                        <p:par>
                          <p:cTn id="28" fill="hold">
                            <p:stCondLst>
                              <p:cond delay="1500"/>
                            </p:stCondLst>
                            <p:childTnLst>
                              <p:par>
                                <p:cTn id="29" presetID="53" presetClass="entr" presetSubtype="528"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p:cTn id="31" dur="500" fill="hold"/>
                                        <p:tgtEl>
                                          <p:spTgt spid="50"/>
                                        </p:tgtEl>
                                        <p:attrNameLst>
                                          <p:attrName>ppt_w</p:attrName>
                                        </p:attrNameLst>
                                      </p:cBhvr>
                                      <p:tavLst>
                                        <p:tav tm="0">
                                          <p:val>
                                            <p:fltVal val="0"/>
                                          </p:val>
                                        </p:tav>
                                        <p:tav tm="100000">
                                          <p:val>
                                            <p:strVal val="#ppt_w"/>
                                          </p:val>
                                        </p:tav>
                                      </p:tavLst>
                                    </p:anim>
                                    <p:anim calcmode="lin" valueType="num">
                                      <p:cBhvr>
                                        <p:cTn id="32" dur="500" fill="hold"/>
                                        <p:tgtEl>
                                          <p:spTgt spid="50"/>
                                        </p:tgtEl>
                                        <p:attrNameLst>
                                          <p:attrName>ppt_h</p:attrName>
                                        </p:attrNameLst>
                                      </p:cBhvr>
                                      <p:tavLst>
                                        <p:tav tm="0">
                                          <p:val>
                                            <p:fltVal val="0"/>
                                          </p:val>
                                        </p:tav>
                                        <p:tav tm="100000">
                                          <p:val>
                                            <p:strVal val="#ppt_h"/>
                                          </p:val>
                                        </p:tav>
                                      </p:tavLst>
                                    </p:anim>
                                    <p:animEffect transition="in" filter="fade">
                                      <p:cBhvr>
                                        <p:cTn id="33" dur="500"/>
                                        <p:tgtEl>
                                          <p:spTgt spid="50"/>
                                        </p:tgtEl>
                                      </p:cBhvr>
                                    </p:animEffect>
                                    <p:anim calcmode="lin" valueType="num">
                                      <p:cBhvr>
                                        <p:cTn id="34" dur="500" fill="hold"/>
                                        <p:tgtEl>
                                          <p:spTgt spid="50"/>
                                        </p:tgtEl>
                                        <p:attrNameLst>
                                          <p:attrName>ppt_x</p:attrName>
                                        </p:attrNameLst>
                                      </p:cBhvr>
                                      <p:tavLst>
                                        <p:tav tm="0">
                                          <p:val>
                                            <p:fltVal val="0.5"/>
                                          </p:val>
                                        </p:tav>
                                        <p:tav tm="100000">
                                          <p:val>
                                            <p:strVal val="#ppt_x"/>
                                          </p:val>
                                        </p:tav>
                                      </p:tavLst>
                                    </p:anim>
                                    <p:anim calcmode="lin" valueType="num">
                                      <p:cBhvr>
                                        <p:cTn id="35" dur="500" fill="hold"/>
                                        <p:tgtEl>
                                          <p:spTgt spid="50"/>
                                        </p:tgtEl>
                                        <p:attrNameLst>
                                          <p:attrName>ppt_y</p:attrName>
                                        </p:attrNameLst>
                                      </p:cBhvr>
                                      <p:tavLst>
                                        <p:tav tm="0">
                                          <p:val>
                                            <p:fltVal val="0.5"/>
                                          </p:val>
                                        </p:tav>
                                        <p:tav tm="100000">
                                          <p:val>
                                            <p:strVal val="#ppt_y"/>
                                          </p:val>
                                        </p:tav>
                                      </p:tavLst>
                                    </p:anim>
                                  </p:childTnLst>
                                </p:cTn>
                              </p:par>
                            </p:childTnLst>
                          </p:cTn>
                        </p:par>
                        <p:par>
                          <p:cTn id="36" fill="hold">
                            <p:stCondLst>
                              <p:cond delay="2000"/>
                            </p:stCondLst>
                            <p:childTnLst>
                              <p:par>
                                <p:cTn id="37" presetID="53" presetClass="entr" presetSubtype="528" fill="hold" nodeType="afterEffect">
                                  <p:stCondLst>
                                    <p:cond delay="0"/>
                                  </p:stCondLst>
                                  <p:childTnLst>
                                    <p:set>
                                      <p:cBhvr>
                                        <p:cTn id="38" dur="1" fill="hold">
                                          <p:stCondLst>
                                            <p:cond delay="0"/>
                                          </p:stCondLst>
                                        </p:cTn>
                                        <p:tgtEl>
                                          <p:spTgt spid="57"/>
                                        </p:tgtEl>
                                        <p:attrNameLst>
                                          <p:attrName>style.visibility</p:attrName>
                                        </p:attrNameLst>
                                      </p:cBhvr>
                                      <p:to>
                                        <p:strVal val="visible"/>
                                      </p:to>
                                    </p:set>
                                    <p:anim calcmode="lin" valueType="num">
                                      <p:cBhvr>
                                        <p:cTn id="39" dur="500" fill="hold"/>
                                        <p:tgtEl>
                                          <p:spTgt spid="57"/>
                                        </p:tgtEl>
                                        <p:attrNameLst>
                                          <p:attrName>ppt_w</p:attrName>
                                        </p:attrNameLst>
                                      </p:cBhvr>
                                      <p:tavLst>
                                        <p:tav tm="0">
                                          <p:val>
                                            <p:fltVal val="0"/>
                                          </p:val>
                                        </p:tav>
                                        <p:tav tm="100000">
                                          <p:val>
                                            <p:strVal val="#ppt_w"/>
                                          </p:val>
                                        </p:tav>
                                      </p:tavLst>
                                    </p:anim>
                                    <p:anim calcmode="lin" valueType="num">
                                      <p:cBhvr>
                                        <p:cTn id="40" dur="500" fill="hold"/>
                                        <p:tgtEl>
                                          <p:spTgt spid="57"/>
                                        </p:tgtEl>
                                        <p:attrNameLst>
                                          <p:attrName>ppt_h</p:attrName>
                                        </p:attrNameLst>
                                      </p:cBhvr>
                                      <p:tavLst>
                                        <p:tav tm="0">
                                          <p:val>
                                            <p:fltVal val="0"/>
                                          </p:val>
                                        </p:tav>
                                        <p:tav tm="100000">
                                          <p:val>
                                            <p:strVal val="#ppt_h"/>
                                          </p:val>
                                        </p:tav>
                                      </p:tavLst>
                                    </p:anim>
                                    <p:animEffect transition="in" filter="fade">
                                      <p:cBhvr>
                                        <p:cTn id="41" dur="500"/>
                                        <p:tgtEl>
                                          <p:spTgt spid="57"/>
                                        </p:tgtEl>
                                      </p:cBhvr>
                                    </p:animEffect>
                                    <p:anim calcmode="lin" valueType="num">
                                      <p:cBhvr>
                                        <p:cTn id="42" dur="500" fill="hold"/>
                                        <p:tgtEl>
                                          <p:spTgt spid="57"/>
                                        </p:tgtEl>
                                        <p:attrNameLst>
                                          <p:attrName>ppt_x</p:attrName>
                                        </p:attrNameLst>
                                      </p:cBhvr>
                                      <p:tavLst>
                                        <p:tav tm="0">
                                          <p:val>
                                            <p:fltVal val="0.5"/>
                                          </p:val>
                                        </p:tav>
                                        <p:tav tm="100000">
                                          <p:val>
                                            <p:strVal val="#ppt_x"/>
                                          </p:val>
                                        </p:tav>
                                      </p:tavLst>
                                    </p:anim>
                                    <p:anim calcmode="lin" valueType="num">
                                      <p:cBhvr>
                                        <p:cTn id="43" dur="500" fill="hold"/>
                                        <p:tgtEl>
                                          <p:spTgt spid="57"/>
                                        </p:tgtEl>
                                        <p:attrNameLst>
                                          <p:attrName>ppt_y</p:attrName>
                                        </p:attrNameLst>
                                      </p:cBhvr>
                                      <p:tavLst>
                                        <p:tav tm="0">
                                          <p:val>
                                            <p:fltVal val="0.5"/>
                                          </p:val>
                                        </p:tav>
                                        <p:tav tm="100000">
                                          <p:val>
                                            <p:strVal val="#ppt_y"/>
                                          </p:val>
                                        </p:tav>
                                      </p:tavLst>
                                    </p:anim>
                                  </p:childTnLst>
                                </p:cTn>
                              </p:par>
                            </p:childTnLst>
                          </p:cTn>
                        </p:par>
                        <p:par>
                          <p:cTn id="44" fill="hold">
                            <p:stCondLst>
                              <p:cond delay="2500"/>
                            </p:stCondLst>
                            <p:childTnLst>
                              <p:par>
                                <p:cTn id="45" presetID="53" presetClass="entr" presetSubtype="528" fill="hold" nodeType="after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p:cTn id="47" dur="500" fill="hold"/>
                                        <p:tgtEl>
                                          <p:spTgt spid="49"/>
                                        </p:tgtEl>
                                        <p:attrNameLst>
                                          <p:attrName>ppt_w</p:attrName>
                                        </p:attrNameLst>
                                      </p:cBhvr>
                                      <p:tavLst>
                                        <p:tav tm="0">
                                          <p:val>
                                            <p:fltVal val="0"/>
                                          </p:val>
                                        </p:tav>
                                        <p:tav tm="100000">
                                          <p:val>
                                            <p:strVal val="#ppt_w"/>
                                          </p:val>
                                        </p:tav>
                                      </p:tavLst>
                                    </p:anim>
                                    <p:anim calcmode="lin" valueType="num">
                                      <p:cBhvr>
                                        <p:cTn id="48" dur="500" fill="hold"/>
                                        <p:tgtEl>
                                          <p:spTgt spid="49"/>
                                        </p:tgtEl>
                                        <p:attrNameLst>
                                          <p:attrName>ppt_h</p:attrName>
                                        </p:attrNameLst>
                                      </p:cBhvr>
                                      <p:tavLst>
                                        <p:tav tm="0">
                                          <p:val>
                                            <p:fltVal val="0"/>
                                          </p:val>
                                        </p:tav>
                                        <p:tav tm="100000">
                                          <p:val>
                                            <p:strVal val="#ppt_h"/>
                                          </p:val>
                                        </p:tav>
                                      </p:tavLst>
                                    </p:anim>
                                    <p:animEffect transition="in" filter="fade">
                                      <p:cBhvr>
                                        <p:cTn id="49" dur="500"/>
                                        <p:tgtEl>
                                          <p:spTgt spid="49"/>
                                        </p:tgtEl>
                                      </p:cBhvr>
                                    </p:animEffect>
                                    <p:anim calcmode="lin" valueType="num">
                                      <p:cBhvr>
                                        <p:cTn id="50" dur="500" fill="hold"/>
                                        <p:tgtEl>
                                          <p:spTgt spid="49"/>
                                        </p:tgtEl>
                                        <p:attrNameLst>
                                          <p:attrName>ppt_x</p:attrName>
                                        </p:attrNameLst>
                                      </p:cBhvr>
                                      <p:tavLst>
                                        <p:tav tm="0">
                                          <p:val>
                                            <p:fltVal val="0.5"/>
                                          </p:val>
                                        </p:tav>
                                        <p:tav tm="100000">
                                          <p:val>
                                            <p:strVal val="#ppt_x"/>
                                          </p:val>
                                        </p:tav>
                                      </p:tavLst>
                                    </p:anim>
                                    <p:anim calcmode="lin" valueType="num">
                                      <p:cBhvr>
                                        <p:cTn id="51" dur="500" fill="hold"/>
                                        <p:tgtEl>
                                          <p:spTgt spid="49"/>
                                        </p:tgtEl>
                                        <p:attrNameLst>
                                          <p:attrName>ppt_y</p:attrName>
                                        </p:attrNameLst>
                                      </p:cBhvr>
                                      <p:tavLst>
                                        <p:tav tm="0">
                                          <p:val>
                                            <p:fltVal val="0.5"/>
                                          </p:val>
                                        </p:tav>
                                        <p:tav tm="100000">
                                          <p:val>
                                            <p:strVal val="#ppt_y"/>
                                          </p:val>
                                        </p:tav>
                                      </p:tavLst>
                                    </p:anim>
                                  </p:childTnLst>
                                </p:cTn>
                              </p:par>
                            </p:childTnLst>
                          </p:cTn>
                        </p:par>
                        <p:par>
                          <p:cTn id="52" fill="hold">
                            <p:stCondLst>
                              <p:cond delay="3000"/>
                            </p:stCondLst>
                            <p:childTnLst>
                              <p:par>
                                <p:cTn id="53" presetID="53" presetClass="entr" presetSubtype="528" fill="hold" nodeType="afterEffect">
                                  <p:stCondLst>
                                    <p:cond delay="0"/>
                                  </p:stCondLst>
                                  <p:childTnLst>
                                    <p:set>
                                      <p:cBhvr>
                                        <p:cTn id="54" dur="1" fill="hold">
                                          <p:stCondLst>
                                            <p:cond delay="0"/>
                                          </p:stCondLst>
                                        </p:cTn>
                                        <p:tgtEl>
                                          <p:spTgt spid="59"/>
                                        </p:tgtEl>
                                        <p:attrNameLst>
                                          <p:attrName>style.visibility</p:attrName>
                                        </p:attrNameLst>
                                      </p:cBhvr>
                                      <p:to>
                                        <p:strVal val="visible"/>
                                      </p:to>
                                    </p:set>
                                    <p:anim calcmode="lin" valueType="num">
                                      <p:cBhvr>
                                        <p:cTn id="55" dur="500" fill="hold"/>
                                        <p:tgtEl>
                                          <p:spTgt spid="59"/>
                                        </p:tgtEl>
                                        <p:attrNameLst>
                                          <p:attrName>ppt_w</p:attrName>
                                        </p:attrNameLst>
                                      </p:cBhvr>
                                      <p:tavLst>
                                        <p:tav tm="0">
                                          <p:val>
                                            <p:fltVal val="0"/>
                                          </p:val>
                                        </p:tav>
                                        <p:tav tm="100000">
                                          <p:val>
                                            <p:strVal val="#ppt_w"/>
                                          </p:val>
                                        </p:tav>
                                      </p:tavLst>
                                    </p:anim>
                                    <p:anim calcmode="lin" valueType="num">
                                      <p:cBhvr>
                                        <p:cTn id="56" dur="500" fill="hold"/>
                                        <p:tgtEl>
                                          <p:spTgt spid="59"/>
                                        </p:tgtEl>
                                        <p:attrNameLst>
                                          <p:attrName>ppt_h</p:attrName>
                                        </p:attrNameLst>
                                      </p:cBhvr>
                                      <p:tavLst>
                                        <p:tav tm="0">
                                          <p:val>
                                            <p:fltVal val="0"/>
                                          </p:val>
                                        </p:tav>
                                        <p:tav tm="100000">
                                          <p:val>
                                            <p:strVal val="#ppt_h"/>
                                          </p:val>
                                        </p:tav>
                                      </p:tavLst>
                                    </p:anim>
                                    <p:animEffect transition="in" filter="fade">
                                      <p:cBhvr>
                                        <p:cTn id="57" dur="500"/>
                                        <p:tgtEl>
                                          <p:spTgt spid="59"/>
                                        </p:tgtEl>
                                      </p:cBhvr>
                                    </p:animEffect>
                                    <p:anim calcmode="lin" valueType="num">
                                      <p:cBhvr>
                                        <p:cTn id="58" dur="500" fill="hold"/>
                                        <p:tgtEl>
                                          <p:spTgt spid="59"/>
                                        </p:tgtEl>
                                        <p:attrNameLst>
                                          <p:attrName>ppt_x</p:attrName>
                                        </p:attrNameLst>
                                      </p:cBhvr>
                                      <p:tavLst>
                                        <p:tav tm="0">
                                          <p:val>
                                            <p:fltVal val="0.5"/>
                                          </p:val>
                                        </p:tav>
                                        <p:tav tm="100000">
                                          <p:val>
                                            <p:strVal val="#ppt_x"/>
                                          </p:val>
                                        </p:tav>
                                      </p:tavLst>
                                    </p:anim>
                                    <p:anim calcmode="lin" valueType="num">
                                      <p:cBhvr>
                                        <p:cTn id="59" dur="500" fill="hold"/>
                                        <p:tgtEl>
                                          <p:spTgt spid="59"/>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C03192-24BE-44D5-AA53-60CC637FF780}"/>
              </a:ext>
            </a:extLst>
          </p:cNvPr>
          <p:cNvSpPr>
            <a:spLocks noGrp="1"/>
          </p:cNvSpPr>
          <p:nvPr>
            <p:ph type="title"/>
          </p:nvPr>
        </p:nvSpPr>
        <p:spPr/>
        <p:txBody>
          <a:bodyPr/>
          <a:lstStyle/>
          <a:p>
            <a:r>
              <a:rPr lang="en-GB"/>
              <a:t>Visual Studio Team Services</a:t>
            </a:r>
          </a:p>
        </p:txBody>
      </p:sp>
      <p:graphicFrame>
        <p:nvGraphicFramePr>
          <p:cNvPr id="4" name="Diagram 3">
            <a:extLst>
              <a:ext uri="{FF2B5EF4-FFF2-40B4-BE49-F238E27FC236}">
                <a16:creationId xmlns:a16="http://schemas.microsoft.com/office/drawing/2014/main" id="{129F0EAB-FC41-4EB6-808C-2E420F1368E3}"/>
              </a:ext>
            </a:extLst>
          </p:cNvPr>
          <p:cNvGraphicFramePr/>
          <p:nvPr>
            <p:extLst>
              <p:ext uri="{D42A27DB-BD31-4B8C-83A1-F6EECF244321}">
                <p14:modId xmlns:p14="http://schemas.microsoft.com/office/powerpoint/2010/main" val="1273981241"/>
              </p:ext>
            </p:extLst>
          </p:nvPr>
        </p:nvGraphicFramePr>
        <p:xfrm>
          <a:off x="2073929" y="1625054"/>
          <a:ext cx="8290983" cy="2312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3439BD32-EC60-481D-8069-983EB8F9EAA6}"/>
              </a:ext>
            </a:extLst>
          </p:cNvPr>
          <p:cNvGraphicFramePr/>
          <p:nvPr>
            <p:extLst>
              <p:ext uri="{D42A27DB-BD31-4B8C-83A1-F6EECF244321}">
                <p14:modId xmlns:p14="http://schemas.microsoft.com/office/powerpoint/2010/main" val="3904857186"/>
              </p:ext>
            </p:extLst>
          </p:nvPr>
        </p:nvGraphicFramePr>
        <p:xfrm>
          <a:off x="2073928" y="4568844"/>
          <a:ext cx="8290983" cy="23127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2" name="Arrow: Chevron 11">
            <a:extLst>
              <a:ext uri="{FF2B5EF4-FFF2-40B4-BE49-F238E27FC236}">
                <a16:creationId xmlns:a16="http://schemas.microsoft.com/office/drawing/2014/main" id="{8D39C575-B9C7-422C-A58B-C5FFAEAFFB41}"/>
              </a:ext>
            </a:extLst>
          </p:cNvPr>
          <p:cNvSpPr/>
          <p:nvPr/>
        </p:nvSpPr>
        <p:spPr bwMode="auto">
          <a:xfrm>
            <a:off x="3193902" y="4049677"/>
            <a:ext cx="6120680" cy="36004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2400" b="1">
                <a:gradFill>
                  <a:gsLst>
                    <a:gs pos="0">
                      <a:srgbClr val="FFFFFF"/>
                    </a:gs>
                    <a:gs pos="100000">
                      <a:srgbClr val="FFFFFF"/>
                    </a:gs>
                  </a:gsLst>
                  <a:lin ang="5400000" scaled="0"/>
                </a:gradFill>
                <a:ea typeface="Segoe UI" pitchFamily="34" charset="0"/>
                <a:cs typeface="Segoe UI" pitchFamily="34" charset="0"/>
              </a:rPr>
              <a:t>DevOps</a:t>
            </a:r>
          </a:p>
        </p:txBody>
      </p:sp>
      <p:pic>
        <p:nvPicPr>
          <p:cNvPr id="14" name="Graphic 13">
            <a:extLst>
              <a:ext uri="{FF2B5EF4-FFF2-40B4-BE49-F238E27FC236}">
                <a16:creationId xmlns:a16="http://schemas.microsoft.com/office/drawing/2014/main" id="{A66E8FB0-7261-4774-B09D-A1419A7921D0}"/>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35079" t="30780" r="40053" b="36427"/>
          <a:stretch/>
        </p:blipFill>
        <p:spPr>
          <a:xfrm>
            <a:off x="2198322" y="4674760"/>
            <a:ext cx="403341" cy="412906"/>
          </a:xfrm>
          <a:prstGeom prst="rect">
            <a:avLst/>
          </a:prstGeom>
        </p:spPr>
      </p:pic>
      <p:pic>
        <p:nvPicPr>
          <p:cNvPr id="18" name="Graphic 17">
            <a:extLst>
              <a:ext uri="{FF2B5EF4-FFF2-40B4-BE49-F238E27FC236}">
                <a16:creationId xmlns:a16="http://schemas.microsoft.com/office/drawing/2014/main" id="{16809C78-02B4-48C8-8A8D-9AC0619B92E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81984" y="1799395"/>
            <a:ext cx="360040" cy="360040"/>
          </a:xfrm>
          <a:prstGeom prst="rect">
            <a:avLst/>
          </a:prstGeom>
        </p:spPr>
      </p:pic>
      <p:pic>
        <p:nvPicPr>
          <p:cNvPr id="26" name="Graphic 25">
            <a:extLst>
              <a:ext uri="{FF2B5EF4-FFF2-40B4-BE49-F238E27FC236}">
                <a16:creationId xmlns:a16="http://schemas.microsoft.com/office/drawing/2014/main" id="{2320FBD6-78D8-4289-98D1-C3B83AD27B6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035007" y="1750828"/>
            <a:ext cx="391095" cy="408607"/>
          </a:xfrm>
          <a:prstGeom prst="rect">
            <a:avLst/>
          </a:prstGeom>
        </p:spPr>
      </p:pic>
      <p:pic>
        <p:nvPicPr>
          <p:cNvPr id="32" name="Graphic 31">
            <a:extLst>
              <a:ext uri="{FF2B5EF4-FFF2-40B4-BE49-F238E27FC236}">
                <a16:creationId xmlns:a16="http://schemas.microsoft.com/office/drawing/2014/main" id="{6AE2897D-0579-4D66-8413-1B59B298507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10125" y="4695876"/>
            <a:ext cx="360040" cy="360040"/>
          </a:xfrm>
          <a:prstGeom prst="rect">
            <a:avLst/>
          </a:prstGeom>
        </p:spPr>
      </p:pic>
      <p:pic>
        <p:nvPicPr>
          <p:cNvPr id="44" name="Graphic 43">
            <a:extLst>
              <a:ext uri="{FF2B5EF4-FFF2-40B4-BE49-F238E27FC236}">
                <a16:creationId xmlns:a16="http://schemas.microsoft.com/office/drawing/2014/main" id="{79DA593D-606B-49B3-BE71-14BA9D5DD3A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218555" y="1754598"/>
            <a:ext cx="404837" cy="404837"/>
          </a:xfrm>
          <a:prstGeom prst="rect">
            <a:avLst/>
          </a:prstGeom>
        </p:spPr>
      </p:pic>
      <p:pic>
        <p:nvPicPr>
          <p:cNvPr id="50" name="Graphic 49">
            <a:extLst>
              <a:ext uri="{FF2B5EF4-FFF2-40B4-BE49-F238E27FC236}">
                <a16:creationId xmlns:a16="http://schemas.microsoft.com/office/drawing/2014/main" id="{B8AC20D2-09D5-48BE-9F42-BC50BF295F0D}"/>
              </a:ext>
            </a:extLst>
          </p:cNvPr>
          <p:cNvPicPr>
            <a:picLocks noChangeAspect="1"/>
          </p:cNvPicPr>
          <p:nvPr/>
        </p:nvPicPr>
        <p:blipFill rotWithShape="1">
          <a:blip r:embed="rId23">
            <a:extLst>
              <a:ext uri="{96DAC541-7B7A-43D3-8B79-37D633B846F1}">
                <asvg:svgBlip xmlns:asvg="http://schemas.microsoft.com/office/drawing/2016/SVG/main" r:embed="rId24"/>
              </a:ext>
            </a:extLst>
          </a:blip>
          <a:srcRect l="32128" t="30182" r="31527" b="30360"/>
          <a:stretch/>
        </p:blipFill>
        <p:spPr>
          <a:xfrm>
            <a:off x="7987381" y="4649389"/>
            <a:ext cx="535111" cy="450977"/>
          </a:xfrm>
          <a:prstGeom prst="rect">
            <a:avLst/>
          </a:prstGeom>
        </p:spPr>
      </p:pic>
      <p:sp>
        <p:nvSpPr>
          <p:cNvPr id="51" name="TextBox 50">
            <a:extLst>
              <a:ext uri="{FF2B5EF4-FFF2-40B4-BE49-F238E27FC236}">
                <a16:creationId xmlns:a16="http://schemas.microsoft.com/office/drawing/2014/main" id="{6F180B3D-A01C-4E13-9DDA-193F8E43FEF5}"/>
              </a:ext>
            </a:extLst>
          </p:cNvPr>
          <p:cNvSpPr txBox="1"/>
          <p:nvPr/>
        </p:nvSpPr>
        <p:spPr>
          <a:xfrm>
            <a:off x="274639" y="1072501"/>
            <a:ext cx="7359066"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Software as a Service solution for end to end software delivery</a:t>
            </a:r>
          </a:p>
        </p:txBody>
      </p:sp>
    </p:spTree>
    <p:extLst>
      <p:ext uri="{BB962C8B-B14F-4D97-AF65-F5344CB8AC3E}">
        <p14:creationId xmlns:p14="http://schemas.microsoft.com/office/powerpoint/2010/main" val="1438474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graphicEl>
                                              <a:dgm id="{CBFD9B8F-A042-48AF-83E1-B073ECB6B84C}"/>
                                            </p:graphicEl>
                                          </p:spTgt>
                                        </p:tgtEl>
                                        <p:attrNameLst>
                                          <p:attrName>style.visibility</p:attrName>
                                        </p:attrNameLst>
                                      </p:cBhvr>
                                      <p:to>
                                        <p:strVal val="visible"/>
                                      </p:to>
                                    </p:set>
                                    <p:animEffect transition="in" filter="fade">
                                      <p:cBhvr>
                                        <p:cTn id="7" dur="1000"/>
                                        <p:tgtEl>
                                          <p:spTgt spid="4">
                                            <p:graphicEl>
                                              <a:dgm id="{CBFD9B8F-A042-48AF-83E1-B073ECB6B84C}"/>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0F0743B9-76B9-4417-96BA-4B29AAEFE2C0}"/>
                                            </p:graphicEl>
                                          </p:spTgt>
                                        </p:tgtEl>
                                        <p:attrNameLst>
                                          <p:attrName>style.visibility</p:attrName>
                                        </p:attrNameLst>
                                      </p:cBhvr>
                                      <p:to>
                                        <p:strVal val="visible"/>
                                      </p:to>
                                    </p:set>
                                    <p:animEffect transition="in" filter="fade">
                                      <p:cBhvr>
                                        <p:cTn id="10" dur="1000"/>
                                        <p:tgtEl>
                                          <p:spTgt spid="4">
                                            <p:graphicEl>
                                              <a:dgm id="{0F0743B9-76B9-4417-96BA-4B29AAEFE2C0}"/>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graphicEl>
                                              <a:dgm id="{E0BB3C78-FDAA-4658-807F-CA3B842D013A}"/>
                                            </p:graphicEl>
                                          </p:spTgt>
                                        </p:tgtEl>
                                        <p:attrNameLst>
                                          <p:attrName>style.visibility</p:attrName>
                                        </p:attrNameLst>
                                      </p:cBhvr>
                                      <p:to>
                                        <p:strVal val="visible"/>
                                      </p:to>
                                    </p:set>
                                    <p:animEffect transition="in" filter="fade">
                                      <p:cBhvr>
                                        <p:cTn id="13" dur="1000"/>
                                        <p:tgtEl>
                                          <p:spTgt spid="4">
                                            <p:graphicEl>
                                              <a:dgm id="{E0BB3C78-FDAA-4658-807F-CA3B842D013A}"/>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graphicEl>
                                              <a:dgm id="{599B9EDF-2BFD-4BEF-B552-CB5FD5EC597E}"/>
                                            </p:graphicEl>
                                          </p:spTgt>
                                        </p:tgtEl>
                                        <p:attrNameLst>
                                          <p:attrName>style.visibility</p:attrName>
                                        </p:attrNameLst>
                                      </p:cBhvr>
                                      <p:to>
                                        <p:strVal val="visible"/>
                                      </p:to>
                                    </p:set>
                                    <p:animEffect transition="in" filter="fade">
                                      <p:cBhvr>
                                        <p:cTn id="16" dur="1000"/>
                                        <p:tgtEl>
                                          <p:spTgt spid="4">
                                            <p:graphicEl>
                                              <a:dgm id="{599B9EDF-2BFD-4BEF-B552-CB5FD5EC597E}"/>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graphicEl>
                                              <a:dgm id="{26561F3C-0483-4170-A4DD-98DC09E93992}"/>
                                            </p:graphicEl>
                                          </p:spTgt>
                                        </p:tgtEl>
                                        <p:attrNameLst>
                                          <p:attrName>style.visibility</p:attrName>
                                        </p:attrNameLst>
                                      </p:cBhvr>
                                      <p:to>
                                        <p:strVal val="visible"/>
                                      </p:to>
                                    </p:set>
                                    <p:animEffect transition="in" filter="fade">
                                      <p:cBhvr>
                                        <p:cTn id="19" dur="1000"/>
                                        <p:tgtEl>
                                          <p:spTgt spid="4">
                                            <p:graphicEl>
                                              <a:dgm id="{26561F3C-0483-4170-A4DD-98DC09E93992}"/>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graphicEl>
                                              <a:dgm id="{3E649BBE-5438-4860-AA42-0BE953632007}"/>
                                            </p:graphicEl>
                                          </p:spTgt>
                                        </p:tgtEl>
                                        <p:attrNameLst>
                                          <p:attrName>style.visibility</p:attrName>
                                        </p:attrNameLst>
                                      </p:cBhvr>
                                      <p:to>
                                        <p:strVal val="visible"/>
                                      </p:to>
                                    </p:set>
                                    <p:animEffect transition="in" filter="fade">
                                      <p:cBhvr>
                                        <p:cTn id="22" dur="1000"/>
                                        <p:tgtEl>
                                          <p:spTgt spid="4">
                                            <p:graphicEl>
                                              <a:dgm id="{3E649BBE-5438-4860-AA42-0BE953632007}"/>
                                            </p:graphicEl>
                                          </p:spTgt>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5">
                                            <p:graphicEl>
                                              <a:dgm id="{CBFD9B8F-A042-48AF-83E1-B073ECB6B84C}"/>
                                            </p:graphicEl>
                                          </p:spTgt>
                                        </p:tgtEl>
                                        <p:attrNameLst>
                                          <p:attrName>style.visibility</p:attrName>
                                        </p:attrNameLst>
                                      </p:cBhvr>
                                      <p:to>
                                        <p:strVal val="visible"/>
                                      </p:to>
                                    </p:set>
                                    <p:animEffect transition="in" filter="fade">
                                      <p:cBhvr>
                                        <p:cTn id="26" dur="1000"/>
                                        <p:tgtEl>
                                          <p:spTgt spid="5">
                                            <p:graphicEl>
                                              <a:dgm id="{CBFD9B8F-A042-48AF-83E1-B073ECB6B84C}"/>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graphicEl>
                                              <a:dgm id="{ADEA36E0-64E6-4BEE-AD42-DAB37DC21EDD}"/>
                                            </p:graphicEl>
                                          </p:spTgt>
                                        </p:tgtEl>
                                        <p:attrNameLst>
                                          <p:attrName>style.visibility</p:attrName>
                                        </p:attrNameLst>
                                      </p:cBhvr>
                                      <p:to>
                                        <p:strVal val="visible"/>
                                      </p:to>
                                    </p:set>
                                    <p:animEffect transition="in" filter="fade">
                                      <p:cBhvr>
                                        <p:cTn id="29" dur="1000"/>
                                        <p:tgtEl>
                                          <p:spTgt spid="5">
                                            <p:graphicEl>
                                              <a:dgm id="{ADEA36E0-64E6-4BEE-AD42-DAB37DC21EDD}"/>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graphicEl>
                                              <a:dgm id="{0F0743B9-76B9-4417-96BA-4B29AAEFE2C0}"/>
                                            </p:graphicEl>
                                          </p:spTgt>
                                        </p:tgtEl>
                                        <p:attrNameLst>
                                          <p:attrName>style.visibility</p:attrName>
                                        </p:attrNameLst>
                                      </p:cBhvr>
                                      <p:to>
                                        <p:strVal val="visible"/>
                                      </p:to>
                                    </p:set>
                                    <p:animEffect transition="in" filter="fade">
                                      <p:cBhvr>
                                        <p:cTn id="32" dur="1000"/>
                                        <p:tgtEl>
                                          <p:spTgt spid="5">
                                            <p:graphicEl>
                                              <a:dgm id="{0F0743B9-76B9-4417-96BA-4B29AAEFE2C0}"/>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graphicEl>
                                              <a:dgm id="{599B9EDF-2BFD-4BEF-B552-CB5FD5EC597E}"/>
                                            </p:graphicEl>
                                          </p:spTgt>
                                        </p:tgtEl>
                                        <p:attrNameLst>
                                          <p:attrName>style.visibility</p:attrName>
                                        </p:attrNameLst>
                                      </p:cBhvr>
                                      <p:to>
                                        <p:strVal val="visible"/>
                                      </p:to>
                                    </p:set>
                                    <p:animEffect transition="in" filter="fade">
                                      <p:cBhvr>
                                        <p:cTn id="35" dur="1000"/>
                                        <p:tgtEl>
                                          <p:spTgt spid="5">
                                            <p:graphicEl>
                                              <a:dgm id="{599B9EDF-2BFD-4BEF-B552-CB5FD5EC597E}"/>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graphicEl>
                                              <a:dgm id="{F0F7EA4B-645E-4581-AD97-769433FA6554}"/>
                                            </p:graphicEl>
                                          </p:spTgt>
                                        </p:tgtEl>
                                        <p:attrNameLst>
                                          <p:attrName>style.visibility</p:attrName>
                                        </p:attrNameLst>
                                      </p:cBhvr>
                                      <p:to>
                                        <p:strVal val="visible"/>
                                      </p:to>
                                    </p:set>
                                    <p:animEffect transition="in" filter="fade">
                                      <p:cBhvr>
                                        <p:cTn id="38" dur="1000"/>
                                        <p:tgtEl>
                                          <p:spTgt spid="5">
                                            <p:graphicEl>
                                              <a:dgm id="{F0F7EA4B-645E-4581-AD97-769433FA6554}"/>
                                            </p:graphic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graphicEl>
                                              <a:dgm id="{26561F3C-0483-4170-A4DD-98DC09E93992}"/>
                                            </p:graphicEl>
                                          </p:spTgt>
                                        </p:tgtEl>
                                        <p:attrNameLst>
                                          <p:attrName>style.visibility</p:attrName>
                                        </p:attrNameLst>
                                      </p:cBhvr>
                                      <p:to>
                                        <p:strVal val="visible"/>
                                      </p:to>
                                    </p:set>
                                    <p:animEffect transition="in" filter="fade">
                                      <p:cBhvr>
                                        <p:cTn id="41" dur="1000"/>
                                        <p:tgtEl>
                                          <p:spTgt spid="5">
                                            <p:graphicEl>
                                              <a:dgm id="{26561F3C-0483-4170-A4DD-98DC09E93992}"/>
                                            </p:graphicEl>
                                          </p:spTgt>
                                        </p:tgtEl>
                                      </p:cBhvr>
                                    </p:animEffect>
                                  </p:childTnLst>
                                </p:cTn>
                              </p:par>
                            </p:childTnLst>
                          </p:cTn>
                        </p:par>
                        <p:par>
                          <p:cTn id="42" fill="hold">
                            <p:stCondLst>
                              <p:cond delay="2000"/>
                            </p:stCondLst>
                            <p:childTnLst>
                              <p:par>
                                <p:cTn id="43" presetID="10" presetClass="entr" presetSubtype="0"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AtOnce"/>
        </p:bldSub>
      </p:bldGraphic>
      <p:bldGraphic spid="5" grpId="0" uiExpand="1">
        <p:bldSub>
          <a:bldDgm bld="lvlAtOnce"/>
        </p:bldSub>
      </p:bldGraphic>
      <p:bldP spid="12"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494785" y="1337022"/>
            <a:ext cx="11449272" cy="410445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478999"/>
            <a:ext cx="4176544" cy="3816429"/>
          </a:xfrm>
        </p:spPr>
        <p:txBody>
          <a:bodyPr/>
          <a:lstStyle/>
          <a:p>
            <a:pPr marL="0" indent="0">
              <a:spcAft>
                <a:spcPts val="1800"/>
              </a:spcAft>
              <a:buNone/>
            </a:pPr>
            <a:r>
              <a:rPr lang="en-GB" sz="2000" b="1" dirty="0">
                <a:latin typeface="+mn-lt"/>
                <a:cs typeface="Segoe UI Light" panose="020B0502040204020203" pitchFamily="34" charset="0"/>
              </a:rPr>
              <a:t>Service Bus</a:t>
            </a:r>
            <a:br>
              <a:rPr lang="en-GB" sz="2000" b="1" dirty="0">
                <a:latin typeface="+mn-lt"/>
                <a:cs typeface="Segoe UI Light" panose="020B0502040204020203" pitchFamily="34" charset="0"/>
              </a:rPr>
            </a:br>
            <a:r>
              <a:rPr lang="en-GB" sz="2000" dirty="0">
                <a:cs typeface="Segoe UI Light" panose="020B0502040204020203" pitchFamily="34" charset="0"/>
              </a:rPr>
              <a:t>Decouple your architecture with reliable message queues and topics</a:t>
            </a:r>
            <a:br>
              <a:rPr lang="en-GB" sz="2000" dirty="0">
                <a:cs typeface="Segoe UI Light" panose="020B0502040204020203" pitchFamily="34" charset="0"/>
              </a:rPr>
            </a:br>
            <a:endParaRPr lang="en-GB" sz="2000" dirty="0">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Azure Storage Queue</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Lightweight REST based message queuing service</a:t>
            </a:r>
            <a:br>
              <a:rPr lang="en-GB" sz="2000" dirty="0">
                <a:solidFill>
                  <a:schemeClr val="tx1"/>
                </a:solidFill>
                <a:cs typeface="Segoe UI Light" panose="020B0502040204020203" pitchFamily="34" charset="0"/>
              </a:rPr>
            </a:br>
            <a:endParaRPr lang="en-GB" sz="2000" dirty="0">
              <a:solidFill>
                <a:schemeClr val="tx1"/>
              </a:solidFill>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Event Hub</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Hyperscale telemetry ingestion with real time &amp; batch processing</a:t>
            </a:r>
            <a:endParaRPr lang="en-GB" sz="2000" dirty="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dirty="0"/>
              <a:t>Azure Messaging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478999"/>
            <a:ext cx="4824536" cy="3788729"/>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err="1">
                <a:solidFill>
                  <a:schemeClr val="tx1"/>
                </a:solidFill>
              </a:rPr>
              <a:t>IoT</a:t>
            </a:r>
            <a:r>
              <a:rPr lang="en-GB" dirty="0">
                <a:solidFill>
                  <a:schemeClr val="tx1"/>
                </a:solidFill>
              </a:rPr>
              <a:t> Hub</a:t>
            </a:r>
            <a:br>
              <a:rPr lang="en-GB" dirty="0">
                <a:solidFill>
                  <a:schemeClr val="tx1"/>
                </a:solidFill>
                <a:latin typeface="+mj-lt"/>
              </a:rPr>
            </a:br>
            <a:r>
              <a:rPr lang="en-GB" b="0" dirty="0">
                <a:solidFill>
                  <a:schemeClr val="tx1"/>
                </a:solidFill>
                <a:latin typeface="+mj-lt"/>
              </a:rPr>
              <a:t>Secure message ingestion and management for billions of devices</a:t>
            </a:r>
            <a:br>
              <a:rPr lang="en-GB" b="0" dirty="0">
                <a:solidFill>
                  <a:schemeClr val="tx1"/>
                </a:solidFill>
                <a:latin typeface="+mj-lt"/>
              </a:rPr>
            </a:br>
            <a:endParaRPr lang="en-GB" b="0" dirty="0">
              <a:solidFill>
                <a:schemeClr val="tx1"/>
              </a:solidFill>
              <a:latin typeface="+mj-lt"/>
            </a:endParaRPr>
          </a:p>
          <a:p>
            <a:r>
              <a:rPr lang="en-US" dirty="0"/>
              <a:t>Relay</a:t>
            </a:r>
            <a:br>
              <a:rPr lang="en-US" dirty="0"/>
            </a:br>
            <a:r>
              <a:rPr lang="en-GB" b="0" dirty="0">
                <a:solidFill>
                  <a:srgbClr val="FFFFFF"/>
                </a:solidFill>
                <a:latin typeface="Segoe UI Light"/>
                <a:cs typeface="+mn-cs"/>
              </a:rPr>
              <a:t>Hybrid connection to on-premises &amp; expose services through a message relay</a:t>
            </a:r>
            <a:br>
              <a:rPr lang="en-US" sz="1800" b="0" dirty="0">
                <a:solidFill>
                  <a:srgbClr val="FFFFFF"/>
                </a:solidFill>
                <a:latin typeface="+mj-lt"/>
                <a:cs typeface="+mn-cs"/>
              </a:rPr>
            </a:br>
            <a:endParaRPr lang="en-US" sz="1800" b="0" dirty="0">
              <a:solidFill>
                <a:srgbClr val="FFFFFF"/>
              </a:solidFill>
              <a:latin typeface="+mj-lt"/>
              <a:cs typeface="+mn-cs"/>
            </a:endParaRPr>
          </a:p>
          <a:p>
            <a:r>
              <a:rPr lang="en-US" dirty="0"/>
              <a:t>Notification Hub</a:t>
            </a:r>
            <a:br>
              <a:rPr lang="en-US" dirty="0"/>
            </a:br>
            <a:r>
              <a:rPr lang="en-US" b="0" dirty="0">
                <a:solidFill>
                  <a:schemeClr val="tx1"/>
                </a:solidFill>
                <a:latin typeface="+mj-lt"/>
              </a:rPr>
              <a:t>Multi-platform push engine for iOS, Google (Chrome &amp; Android), Amazon </a:t>
            </a:r>
            <a:r>
              <a:rPr lang="en-US" b="0" dirty="0" err="1">
                <a:solidFill>
                  <a:schemeClr val="tx1"/>
                </a:solidFill>
                <a:latin typeface="+mj-lt"/>
              </a:rPr>
              <a:t>etc</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3361" y="1625054"/>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6504" t="33872" r="37828" b="27920"/>
          <a:stretch/>
        </p:blipFill>
        <p:spPr>
          <a:xfrm>
            <a:off x="745629" y="2993206"/>
            <a:ext cx="747770" cy="864096"/>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097" y="4361358"/>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9888" y="2993206"/>
            <a:ext cx="720000" cy="720000"/>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46309" y="1625134"/>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46309" y="4361358"/>
            <a:ext cx="720000" cy="720000"/>
          </a:xfrm>
          <a:prstGeom prst="rect">
            <a:avLst/>
          </a:prstGeom>
        </p:spPr>
      </p:pic>
      <p:sp>
        <p:nvSpPr>
          <p:cNvPr id="37" name="Rectangle 36">
            <a:extLst>
              <a:ext uri="{FF2B5EF4-FFF2-40B4-BE49-F238E27FC236}">
                <a16:creationId xmlns:a16="http://schemas.microsoft.com/office/drawing/2014/main" id="{E6A6F71B-934C-499C-8A4C-8334A6694E77}"/>
              </a:ext>
            </a:extLst>
          </p:cNvPr>
          <p:cNvSpPr/>
          <p:nvPr/>
        </p:nvSpPr>
        <p:spPr>
          <a:xfrm>
            <a:off x="2896023" y="5673796"/>
            <a:ext cx="6303713" cy="954107"/>
          </a:xfrm>
          <a:prstGeom prst="rect">
            <a:avLst/>
          </a:prstGeom>
        </p:spPr>
        <p:txBody>
          <a:bodyPr wrap="none">
            <a:spAutoFit/>
          </a:bodyPr>
          <a:lstStyle/>
          <a:p>
            <a:pPr algn="ctr"/>
            <a:r>
              <a:rPr lang="en-GB" sz="2800" dirty="0"/>
              <a:t>Decouple your application architecture</a:t>
            </a:r>
          </a:p>
          <a:p>
            <a:pPr algn="ctr"/>
            <a:r>
              <a:rPr lang="en-GB" sz="2800" b="1" dirty="0"/>
              <a:t>aka.ms/azure-patterns</a:t>
            </a:r>
          </a:p>
        </p:txBody>
      </p:sp>
    </p:spTree>
    <p:extLst>
      <p:ext uri="{BB962C8B-B14F-4D97-AF65-F5344CB8AC3E}">
        <p14:creationId xmlns:p14="http://schemas.microsoft.com/office/powerpoint/2010/main" val="161834201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83" y="497"/>
            <a:ext cx="5627337" cy="6993533"/>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Logic App</a:t>
            </a:r>
            <a:br>
              <a:rPr lang="en-GB" sz="3199">
                <a:gradFill>
                  <a:gsLst>
                    <a:gs pos="0">
                      <a:srgbClr val="FFFFFF"/>
                    </a:gs>
                    <a:gs pos="100000">
                      <a:srgbClr val="FFFFFF"/>
                    </a:gs>
                  </a:gsLst>
                  <a:lin ang="5400000" scaled="0"/>
                </a:gradFill>
                <a:ea typeface="Segoe UI" pitchFamily="34" charset="0"/>
                <a:cs typeface="Segoe UI" pitchFamily="34" charset="0"/>
              </a:rPr>
            </a:br>
            <a:r>
              <a:rPr lang="en-GB" sz="3199">
                <a:gradFill>
                  <a:gsLst>
                    <a:gs pos="0">
                      <a:srgbClr val="FFFFFF"/>
                    </a:gs>
                    <a:gs pos="100000">
                      <a:srgbClr val="FFFFFF"/>
                    </a:gs>
                  </a:gsLst>
                  <a:lin ang="5400000" scaled="0"/>
                </a:gradFill>
                <a:ea typeface="Segoe UI" pitchFamily="34" charset="0"/>
                <a:cs typeface="Segoe UI" pitchFamily="34" charset="0"/>
              </a:rPr>
              <a:t>API Connector Library</a:t>
            </a: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Growing list…</a:t>
            </a:r>
          </a:p>
        </p:txBody>
      </p:sp>
      <p:pic>
        <p:nvPicPr>
          <p:cNvPr id="10" name="Picture 9"/>
          <p:cNvPicPr>
            <a:picLocks noChangeAspect="1"/>
          </p:cNvPicPr>
          <p:nvPr/>
        </p:nvPicPr>
        <p:blipFill>
          <a:blip r:embed="rId3"/>
          <a:stretch>
            <a:fillRect/>
          </a:stretch>
        </p:blipFill>
        <p:spPr>
          <a:xfrm>
            <a:off x="80851" y="1482839"/>
            <a:ext cx="5467400" cy="4487337"/>
          </a:xfrm>
          <a:prstGeom prst="rect">
            <a:avLst/>
          </a:prstGeom>
        </p:spPr>
      </p:pic>
      <p:pic>
        <p:nvPicPr>
          <p:cNvPr id="15" name="Picture 14"/>
          <p:cNvPicPr>
            <a:picLocks noChangeAspect="1"/>
          </p:cNvPicPr>
          <p:nvPr/>
        </p:nvPicPr>
        <p:blipFill>
          <a:blip r:embed="rId4"/>
          <a:stretch>
            <a:fillRect/>
          </a:stretch>
        </p:blipFill>
        <p:spPr>
          <a:xfrm>
            <a:off x="4598224" y="318077"/>
            <a:ext cx="744763" cy="743929"/>
          </a:xfrm>
          <a:prstGeom prst="rect">
            <a:avLst/>
          </a:prstGeom>
        </p:spPr>
      </p:pic>
      <p:grpSp>
        <p:nvGrpSpPr>
          <p:cNvPr id="11" name="Group 10"/>
          <p:cNvGrpSpPr/>
          <p:nvPr/>
        </p:nvGrpSpPr>
        <p:grpSpPr>
          <a:xfrm>
            <a:off x="426871" y="2582131"/>
            <a:ext cx="4751854" cy="2393380"/>
            <a:chOff x="591149" y="2582001"/>
            <a:chExt cx="4752528" cy="2393720"/>
          </a:xfrm>
          <a:effectLst>
            <a:outerShdw blurRad="152400" sx="102000" sy="102000" algn="ctr" rotWithShape="0">
              <a:prstClr val="black">
                <a:alpha val="40000"/>
              </a:prstClr>
            </a:outerShdw>
          </a:effectLst>
        </p:grpSpPr>
        <p:sp>
          <p:nvSpPr>
            <p:cNvPr id="13" name="Rectangle 12"/>
            <p:cNvSpPr/>
            <p:nvPr/>
          </p:nvSpPr>
          <p:spPr bwMode="auto">
            <a:xfrm>
              <a:off x="591149" y="2582001"/>
              <a:ext cx="4752528" cy="239372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Native discovery &amp; integration of your own APIs</a:t>
              </a:r>
            </a:p>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6480" y="3500306"/>
              <a:ext cx="720000" cy="720000"/>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9788" y="3500306"/>
              <a:ext cx="720000" cy="720000"/>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43095" y="3500306"/>
              <a:ext cx="720000" cy="720000"/>
            </a:xfrm>
            <a:prstGeom prst="rect">
              <a:avLst/>
            </a:prstGeom>
          </p:spPr>
        </p:pic>
        <p:sp>
          <p:nvSpPr>
            <p:cNvPr id="18" name="TextBox 17"/>
            <p:cNvSpPr txBox="1"/>
            <p:nvPr/>
          </p:nvSpPr>
          <p:spPr>
            <a:xfrm>
              <a:off x="821020" y="4117485"/>
              <a:ext cx="1252312"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Functions</a:t>
              </a:r>
            </a:p>
          </p:txBody>
        </p:sp>
        <p:sp>
          <p:nvSpPr>
            <p:cNvPr id="19" name="TextBox 18"/>
            <p:cNvSpPr txBox="1"/>
            <p:nvPr/>
          </p:nvSpPr>
          <p:spPr>
            <a:xfrm>
              <a:off x="2290188" y="4117485"/>
              <a:ext cx="1262646"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 API</a:t>
              </a:r>
            </a:p>
            <a:p>
              <a:pPr algn="ctr">
                <a:lnSpc>
                  <a:spcPct val="90000"/>
                </a:lnSpc>
                <a:spcAft>
                  <a:spcPts val="600"/>
                </a:spcAft>
              </a:pPr>
              <a:r>
                <a:rPr lang="en-GB" sz="1599">
                  <a:solidFill>
                    <a:schemeClr val="bg1">
                      <a:lumMod val="85000"/>
                    </a:schemeClr>
                  </a:solidFill>
                </a:rPr>
                <a:t>Apps</a:t>
              </a:r>
            </a:p>
          </p:txBody>
        </p:sp>
        <p:sp>
          <p:nvSpPr>
            <p:cNvPr id="20" name="TextBox 19"/>
            <p:cNvSpPr txBox="1"/>
            <p:nvPr/>
          </p:nvSpPr>
          <p:spPr>
            <a:xfrm>
              <a:off x="3765609" y="4117485"/>
              <a:ext cx="1296461"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API </a:t>
              </a:r>
              <a:r>
                <a:rPr lang="en-GB" sz="1599" err="1">
                  <a:solidFill>
                    <a:schemeClr val="bg1">
                      <a:lumMod val="85000"/>
                    </a:schemeClr>
                  </a:solidFill>
                </a:rPr>
                <a:t>Mgmt</a:t>
              </a:r>
              <a:endParaRPr lang="en-GB" sz="1599">
                <a:solidFill>
                  <a:schemeClr val="bg1">
                    <a:lumMod val="85000"/>
                  </a:schemeClr>
                </a:solidFill>
              </a:endParaRPr>
            </a:p>
          </p:txBody>
        </p:sp>
      </p:grpSp>
      <p:pic>
        <p:nvPicPr>
          <p:cNvPr id="8" name="Picture 7"/>
          <p:cNvPicPr>
            <a:picLocks noChangeAspect="1"/>
          </p:cNvPicPr>
          <p:nvPr/>
        </p:nvPicPr>
        <p:blipFill>
          <a:blip r:embed="rId8"/>
          <a:stretch>
            <a:fillRect/>
          </a:stretch>
        </p:blipFill>
        <p:spPr>
          <a:xfrm>
            <a:off x="5657134" y="45622"/>
            <a:ext cx="6719331" cy="6912261"/>
          </a:xfrm>
          <a:prstGeom prst="rect">
            <a:avLst/>
          </a:prstGeom>
        </p:spPr>
      </p:pic>
    </p:spTree>
    <p:extLst>
      <p:ext uri="{BB962C8B-B14F-4D97-AF65-F5344CB8AC3E}">
        <p14:creationId xmlns:p14="http://schemas.microsoft.com/office/powerpoint/2010/main" val="2047446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1"/>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67908" y="148139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598592"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824089"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a:solidFill>
                  <a:srgbClr val="0078D7"/>
                </a:solidFill>
                <a:latin typeface="Segoe UI Light" charset="0"/>
                <a:ea typeface="Segoe UI Light" charset="0"/>
                <a:cs typeface="Segoe UI Light" charset="0"/>
              </a:rPr>
              <a:t>Cloud application </a:t>
            </a:r>
            <a:br>
              <a:rPr lang="en-US" sz="2200">
                <a:solidFill>
                  <a:srgbClr val="0078D7"/>
                </a:solidFill>
                <a:latin typeface="Segoe UI Light" charset="0"/>
                <a:ea typeface="Segoe UI Light" charset="0"/>
                <a:cs typeface="Segoe UI Light" charset="0"/>
              </a:rPr>
            </a:br>
            <a:r>
              <a:rPr lang="en-US" sz="2200">
                <a:solidFill>
                  <a:srgbClr val="0078D7"/>
                </a:solidFill>
                <a:latin typeface="Segoe UI Light" charset="0"/>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635635"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813742" y="3032311"/>
            <a:ext cx="587671" cy="57447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10050293" y="3032311"/>
            <a:ext cx="565566" cy="57447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862873" y="3032311"/>
            <a:ext cx="563498" cy="57447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2" name="Rectangle 41">
            <a:extLst>
              <a:ext uri="{FF2B5EF4-FFF2-40B4-BE49-F238E27FC236}">
                <a16:creationId xmlns:a16="http://schemas.microsoft.com/office/drawing/2014/main" id="{53D5078F-04A9-4300-AAC9-F4D675B02351}"/>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grpSp>
        <p:nvGrpSpPr>
          <p:cNvPr id="43" name="Group 42">
            <a:extLst>
              <a:ext uri="{FF2B5EF4-FFF2-40B4-BE49-F238E27FC236}">
                <a16:creationId xmlns:a16="http://schemas.microsoft.com/office/drawing/2014/main" id="{AEABBB56-931E-4B9F-8F1C-A3DD1F0DAFDA}"/>
              </a:ext>
            </a:extLst>
          </p:cNvPr>
          <p:cNvGrpSpPr/>
          <p:nvPr/>
        </p:nvGrpSpPr>
        <p:grpSpPr>
          <a:xfrm>
            <a:off x="734446" y="2270870"/>
            <a:ext cx="591068" cy="577315"/>
            <a:chOff x="2088630" y="3287843"/>
            <a:chExt cx="429718" cy="419725"/>
          </a:xfrm>
          <a:noFill/>
        </p:grpSpPr>
        <p:sp>
          <p:nvSpPr>
            <p:cNvPr id="44" name="Rectangle 43">
              <a:extLst>
                <a:ext uri="{FF2B5EF4-FFF2-40B4-BE49-F238E27FC236}">
                  <a16:creationId xmlns:a16="http://schemas.microsoft.com/office/drawing/2014/main" id="{B95117F4-0C4E-4868-B5FE-E52EF9281BA4}"/>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45" name="Rectangle 44">
              <a:extLst>
                <a:ext uri="{FF2B5EF4-FFF2-40B4-BE49-F238E27FC236}">
                  <a16:creationId xmlns:a16="http://schemas.microsoft.com/office/drawing/2014/main" id="{ED345FAB-084E-4D01-A1FC-AD782AC0408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50" name="Rectangle 49">
            <a:extLst>
              <a:ext uri="{FF2B5EF4-FFF2-40B4-BE49-F238E27FC236}">
                <a16:creationId xmlns:a16="http://schemas.microsoft.com/office/drawing/2014/main" id="{25F9362C-C874-48F5-A516-AC0A4CD0733D}"/>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51" name="speedometer_2">
            <a:extLst>
              <a:ext uri="{FF2B5EF4-FFF2-40B4-BE49-F238E27FC236}">
                <a16:creationId xmlns:a16="http://schemas.microsoft.com/office/drawing/2014/main" id="{240E56DA-98EA-4296-AEFD-5AE34243F125}"/>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7.45468E-7 -8.85157E-7 L 7.45468E-7 0.04585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75798E-6 2.22424E-7 L -3.75798E-6 0.13391 " pathEditMode="relative" rAng="0" ptsTypes="AA">
                                      <p:cBhvr>
                                        <p:cTn id="18" dur="700" spd="-100000" fill="hold"/>
                                        <p:tgtEl>
                                          <p:spTgt spid="3"/>
                                        </p:tgtEl>
                                        <p:attrNameLst>
                                          <p:attrName>ppt_x</p:attrName>
                                          <p:attrName>ppt_y</p:attrName>
                                        </p:attrNameLst>
                                      </p:cBhvr>
                                      <p:rCtr x="0" y="6695"/>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9035E-6 2.22424E-7 L -3.39035E-6 0.13391 " pathEditMode="relative" rAng="0" ptsTypes="AA">
                                      <p:cBhvr>
                                        <p:cTn id="26" dur="700" spd="-100000" fill="hold"/>
                                        <p:tgtEl>
                                          <p:spTgt spid="4"/>
                                        </p:tgtEl>
                                        <p:attrNameLst>
                                          <p:attrName>ppt_x</p:attrName>
                                          <p:attrName>ppt_y</p:attrName>
                                        </p:attrNameLst>
                                      </p:cBhvr>
                                      <p:rCtr x="0" y="6695"/>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2.00153E-6 2.22424E-7 L -2.00153E-6 0.13391 " pathEditMode="relative" rAng="0" ptsTypes="AA">
                                      <p:cBhvr>
                                        <p:cTn id="34" dur="700" spd="-100000" fill="hold"/>
                                        <p:tgtEl>
                                          <p:spTgt spid="5"/>
                                        </p:tgtEl>
                                        <p:attrNameLst>
                                          <p:attrName>ppt_x</p:attrName>
                                          <p:attrName>ppt_y</p:attrName>
                                        </p:attrNameLst>
                                      </p:cBhvr>
                                      <p:rCtr x="0" y="66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p:cNvGraphicFramePr>
            <a:graphicFrameLocks noChangeAspect="1"/>
          </p:cNvGraphicFramePr>
          <p:nvPr>
            <p:extLst/>
          </p:nvPr>
        </p:nvGraphicFramePr>
        <p:xfrm>
          <a:off x="809124" y="3692227"/>
          <a:ext cx="4235659" cy="2844396"/>
        </p:xfrm>
        <a:graphic>
          <a:graphicData uri="http://schemas.openxmlformats.org/presentationml/2006/ole">
            <mc:AlternateContent xmlns:mc="http://schemas.openxmlformats.org/markup-compatibility/2006">
              <mc:Choice xmlns:v="urn:schemas-microsoft-com:vml" Requires="v">
                <p:oleObj spid="_x0000_s270373" name="Image" r:id="rId4" imgW="18196560" imgH="12126960" progId="Photoshop.Image.16">
                  <p:embed/>
                </p:oleObj>
              </mc:Choice>
              <mc:Fallback>
                <p:oleObj name="Image" r:id="rId4" imgW="18196560" imgH="12126960" progId="Photoshop.Image.16">
                  <p:embed/>
                  <p:pic>
                    <p:nvPicPr>
                      <p:cNvPr id="9" name="Object 8"/>
                      <p:cNvPicPr/>
                      <p:nvPr/>
                    </p:nvPicPr>
                    <p:blipFill>
                      <a:blip r:embed="rId5"/>
                      <a:stretch>
                        <a:fillRect/>
                      </a:stretch>
                    </p:blipFill>
                    <p:spPr>
                      <a:xfrm>
                        <a:off x="809124" y="3692227"/>
                        <a:ext cx="4235659" cy="2844396"/>
                      </a:xfrm>
                      <a:prstGeom prst="rect">
                        <a:avLst/>
                      </a:prstGeom>
                    </p:spPr>
                  </p:pic>
                </p:oleObj>
              </mc:Fallback>
            </mc:AlternateContent>
          </a:graphicData>
        </a:graphic>
      </p:graphicFrame>
      <p:sp>
        <p:nvSpPr>
          <p:cNvPr id="7" name="Title 4"/>
          <p:cNvSpPr txBox="1">
            <a:spLocks/>
          </p:cNvSpPr>
          <p:nvPr/>
        </p:nvSpPr>
        <p:spPr>
          <a:xfrm>
            <a:off x="6470803" y="911446"/>
            <a:ext cx="6673324" cy="1541934"/>
          </a:xfrm>
          <a:prstGeom prst="rect">
            <a:avLst/>
          </a:prstGeom>
          <a:noFill/>
        </p:spPr>
        <p:txBody>
          <a:bodyPr vert="horz" wrap="square" lIns="146283" tIns="91427" rIns="146283" bIns="91427" rtlCol="0"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defRPr/>
            </a:pPr>
            <a:r>
              <a:rPr sz="4400" b="1">
                <a:solidFill>
                  <a:srgbClr val="FFFFFF"/>
                </a:solidFill>
                <a:latin typeface="Segoe UI Semibold" panose="020B0702040204020203" pitchFamily="34" charset="0"/>
                <a:cs typeface="Segoe UI Semibold" panose="020B0702040204020203" pitchFamily="34" charset="0"/>
              </a:rPr>
              <a:t> </a:t>
            </a:r>
            <a:br>
              <a:rPr sz="5400" b="1">
                <a:solidFill>
                  <a:srgbClr val="FFFFFF"/>
                </a:solidFill>
                <a:latin typeface="Segoe UI Semibold" panose="020B0702040204020203" pitchFamily="34" charset="0"/>
                <a:cs typeface="Segoe UI Semibold" panose="020B0702040204020203" pitchFamily="34" charset="0"/>
              </a:rPr>
            </a:br>
            <a:r>
              <a:rPr sz="5400" b="1" spc="0">
                <a:solidFill>
                  <a:srgbClr val="FFFFFF"/>
                </a:solidFill>
                <a:cs typeface="Segoe UI Light" panose="020B0502040204020203" pitchFamily="34" charset="0"/>
              </a:rPr>
              <a:t>Azure Functions</a:t>
            </a:r>
          </a:p>
        </p:txBody>
      </p:sp>
      <p:sp>
        <p:nvSpPr>
          <p:cNvPr id="14" name="Text Placeholder 5"/>
          <p:cNvSpPr txBox="1">
            <a:spLocks/>
          </p:cNvSpPr>
          <p:nvPr/>
        </p:nvSpPr>
        <p:spPr>
          <a:xfrm>
            <a:off x="5886834" y="3202480"/>
            <a:ext cx="6526807" cy="3280856"/>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199"/>
              </a:spcAft>
              <a:defRPr/>
            </a:pPr>
            <a:r>
              <a:rPr lang="en-US" sz="2400" err="1">
                <a:solidFill>
                  <a:srgbClr val="FFFFFF"/>
                </a:solidFill>
              </a:rPr>
              <a:t>Serverless</a:t>
            </a:r>
            <a:r>
              <a:rPr lang="en-US" sz="2400">
                <a:solidFill>
                  <a:srgbClr val="FFFFFF"/>
                </a:solidFill>
              </a:rPr>
              <a:t> compute </a:t>
            </a:r>
          </a:p>
          <a:p>
            <a:pPr>
              <a:lnSpc>
                <a:spcPct val="100000"/>
              </a:lnSpc>
              <a:spcAft>
                <a:spcPts val="1199"/>
              </a:spcAft>
              <a:defRPr/>
            </a:pPr>
            <a:r>
              <a:rPr lang="en-US" sz="2400">
                <a:solidFill>
                  <a:srgbClr val="FFFFFF"/>
                </a:solidFill>
              </a:rPr>
              <a:t>  aka - </a:t>
            </a:r>
            <a:r>
              <a:rPr lang="en-GB" sz="2400">
                <a:solidFill>
                  <a:srgbClr val="FFFFFF"/>
                </a:solidFill>
              </a:rPr>
              <a:t>Function as a Service (</a:t>
            </a:r>
            <a:r>
              <a:rPr lang="en-GB" sz="2400" err="1">
                <a:solidFill>
                  <a:srgbClr val="FFFFFF"/>
                </a:solidFill>
              </a:rPr>
              <a:t>FaaS</a:t>
            </a:r>
            <a:r>
              <a:rPr lang="en-GB" sz="2400">
                <a:solidFill>
                  <a:srgbClr val="FFFFFF"/>
                </a:solidFill>
              </a:rPr>
              <a:t>)</a:t>
            </a:r>
            <a:endParaRPr lang="en-US" sz="2400">
              <a:solidFill>
                <a:srgbClr val="FFFFFF"/>
              </a:solidFill>
            </a:endParaRPr>
          </a:p>
          <a:p>
            <a:pPr>
              <a:lnSpc>
                <a:spcPct val="100000"/>
              </a:lnSpc>
              <a:spcAft>
                <a:spcPts val="1199"/>
              </a:spcAft>
              <a:defRPr/>
            </a:pPr>
            <a:r>
              <a:rPr lang="en-US" sz="2400">
                <a:solidFill>
                  <a:srgbClr val="FFFFFF"/>
                </a:solidFill>
              </a:rPr>
              <a:t>Trigger on events &amp; external services / feeds</a:t>
            </a:r>
          </a:p>
          <a:p>
            <a:pPr>
              <a:lnSpc>
                <a:spcPct val="100000"/>
              </a:lnSpc>
              <a:spcAft>
                <a:spcPts val="1199"/>
              </a:spcAft>
              <a:defRPr/>
            </a:pPr>
            <a:r>
              <a:rPr lang="en-US" sz="2400">
                <a:solidFill>
                  <a:srgbClr val="FFFFFF"/>
                </a:solidFill>
              </a:rPr>
              <a:t>Pay only per execution</a:t>
            </a:r>
          </a:p>
          <a:p>
            <a:pPr>
              <a:lnSpc>
                <a:spcPct val="100000"/>
              </a:lnSpc>
              <a:spcAft>
                <a:spcPts val="1199"/>
              </a:spcAft>
              <a:defRPr/>
            </a:pPr>
            <a:r>
              <a:rPr lang="en-GB" sz="2400">
                <a:solidFill>
                  <a:srgbClr val="FFFFFF"/>
                </a:solidFill>
              </a:rPr>
              <a:t>Choice of languages </a:t>
            </a:r>
          </a:p>
          <a:p>
            <a:pPr>
              <a:lnSpc>
                <a:spcPct val="100000"/>
              </a:lnSpc>
              <a:spcAft>
                <a:spcPts val="1199"/>
              </a:spcAft>
              <a:defRPr/>
            </a:pPr>
            <a:r>
              <a:rPr lang="en-US" sz="2400">
                <a:solidFill>
                  <a:srgbClr val="FFFFFF"/>
                </a:solidFill>
              </a:rPr>
              <a:t>Open source runtime runs anywhere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705" y="3323422"/>
            <a:ext cx="5004499" cy="6993533"/>
          </a:xfrm>
          <a:prstGeom prst="rect">
            <a:avLst/>
          </a:prstGeom>
          <a:effectLst/>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 y="582739"/>
            <a:ext cx="2612301" cy="2820998"/>
          </a:xfrm>
          <a:prstGeom prst="rect">
            <a:avLst/>
          </a:prstGeom>
        </p:spPr>
      </p:pic>
      <p:sp>
        <p:nvSpPr>
          <p:cNvPr id="10" name="Plus 5"/>
          <p:cNvSpPr/>
          <p:nvPr/>
        </p:nvSpPr>
        <p:spPr bwMode="auto">
          <a:xfrm>
            <a:off x="3058105" y="1682413"/>
            <a:ext cx="631360" cy="62164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112305" y="123437"/>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Code</a:t>
            </a:r>
          </a:p>
        </p:txBody>
      </p:sp>
      <p:sp>
        <p:nvSpPr>
          <p:cNvPr id="12" name="TextBox 11"/>
          <p:cNvSpPr txBox="1"/>
          <p:nvPr/>
        </p:nvSpPr>
        <p:spPr>
          <a:xfrm>
            <a:off x="3930790" y="144553"/>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Events + dat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0235" y="681949"/>
            <a:ext cx="2690568" cy="2690568"/>
          </a:xfrm>
          <a:prstGeom prst="rect">
            <a:avLst/>
          </a:prstGeom>
        </p:spPr>
      </p:pic>
      <p:pic>
        <p:nvPicPr>
          <p:cNvPr id="15" name="Picture 6"/>
          <p:cNvPicPr>
            <a:picLocks noChangeAspect="1"/>
          </p:cNvPicPr>
          <p:nvPr/>
        </p:nvPicPr>
        <p:blipFill>
          <a:blip r:embed="rId9"/>
          <a:stretch>
            <a:fillRect/>
          </a:stretch>
        </p:blipFill>
        <p:spPr>
          <a:xfrm>
            <a:off x="1623633" y="640767"/>
            <a:ext cx="2833342" cy="2833342"/>
          </a:xfrm>
          <a:prstGeom prst="rect">
            <a:avLst/>
          </a:prstGeom>
        </p:spPr>
      </p:pic>
      <p:pic>
        <p:nvPicPr>
          <p:cNvPr id="2" name="Picture 1">
            <a:extLst>
              <a:ext uri="{FF2B5EF4-FFF2-40B4-BE49-F238E27FC236}">
                <a16:creationId xmlns:a16="http://schemas.microsoft.com/office/drawing/2014/main" id="{D595D23E-0BDC-4387-8BD0-9DC84EEAC45A}"/>
              </a:ext>
            </a:extLst>
          </p:cNvPr>
          <p:cNvPicPr>
            <a:picLocks noChangeAspect="1"/>
          </p:cNvPicPr>
          <p:nvPr/>
        </p:nvPicPr>
        <p:blipFill>
          <a:blip r:embed="rId10"/>
          <a:stretch>
            <a:fillRect/>
          </a:stretch>
        </p:blipFill>
        <p:spPr>
          <a:xfrm>
            <a:off x="745628" y="3661008"/>
            <a:ext cx="4248473" cy="2822328"/>
          </a:xfrm>
          <a:prstGeom prst="rect">
            <a:avLst/>
          </a:prstGeom>
        </p:spPr>
      </p:pic>
    </p:spTree>
    <p:extLst>
      <p:ext uri="{BB962C8B-B14F-4D97-AF65-F5344CB8AC3E}">
        <p14:creationId xmlns:p14="http://schemas.microsoft.com/office/powerpoint/2010/main" val="102050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2" presetClass="entr" presetSubtype="2"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1+#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childTnLst>
                          </p:cTn>
                        </p:par>
                        <p:par>
                          <p:cTn id="25" fill="hold">
                            <p:stCondLst>
                              <p:cond delay="1000"/>
                            </p:stCondLst>
                            <p:childTnLst>
                              <p:par>
                                <p:cTn id="26" presetID="1" presetClass="exit" presetSubtype="0" fill="hold" grpId="1" nodeType="afterEffect">
                                  <p:stCondLst>
                                    <p:cond delay="0"/>
                                  </p:stCondLst>
                                  <p:childTnLst>
                                    <p:set>
                                      <p:cBhvr>
                                        <p:cTn id="27" dur="1" fill="hold">
                                          <p:stCondLst>
                                            <p:cond delay="0"/>
                                          </p:stCondLst>
                                        </p:cTn>
                                        <p:tgtEl>
                                          <p:spTgt spid="10"/>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1"/>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12"/>
                                        </p:tgtEl>
                                        <p:attrNameLst>
                                          <p:attrName>style.visibility</p:attrName>
                                        </p:attrNameLst>
                                      </p:cBhvr>
                                      <p:to>
                                        <p:strVal val="hidden"/>
                                      </p:to>
                                    </p:set>
                                  </p:childTnLst>
                                </p:cTn>
                              </p:par>
                              <p:par>
                                <p:cTn id="32" presetID="42" presetClass="path" presetSubtype="0" accel="50000" decel="50000" fill="hold" nodeType="withEffect">
                                  <p:stCondLst>
                                    <p:cond delay="0"/>
                                  </p:stCondLst>
                                  <p:childTnLst>
                                    <p:animMotion origin="layout" path="M -4.88895E-6 1.14389E-6 L 0.14182 -0.00091 " pathEditMode="relative" rAng="0" ptsTypes="AA">
                                      <p:cBhvr>
                                        <p:cTn id="33" dur="2000" fill="hold"/>
                                        <p:tgtEl>
                                          <p:spTgt spid="6"/>
                                        </p:tgtEl>
                                        <p:attrNameLst>
                                          <p:attrName>ppt_x</p:attrName>
                                          <p:attrName>ppt_y</p:attrName>
                                        </p:attrNameLst>
                                      </p:cBhvr>
                                      <p:rCtr x="7085" y="-45"/>
                                    </p:animMotion>
                                  </p:childTnLst>
                                </p:cTn>
                              </p:par>
                              <p:par>
                                <p:cTn id="34" presetID="42" presetClass="path" presetSubtype="0" accel="50000" decel="50000" fill="hold" nodeType="withEffect">
                                  <p:stCondLst>
                                    <p:cond delay="0"/>
                                  </p:stCondLst>
                                  <p:childTnLst>
                                    <p:animMotion origin="layout" path="M -3.82946E-8 4.91602E-6 L -0.16007 -0.00091 " pathEditMode="relative" rAng="0" ptsTypes="AA">
                                      <p:cBhvr>
                                        <p:cTn id="35" dur="2000" fill="hold"/>
                                        <p:tgtEl>
                                          <p:spTgt spid="13"/>
                                        </p:tgtEl>
                                        <p:attrNameLst>
                                          <p:attrName>ppt_x</p:attrName>
                                          <p:attrName>ppt_y</p:attrName>
                                        </p:attrNameLst>
                                      </p:cBhvr>
                                      <p:rCtr x="-8004" y="-45"/>
                                    </p:animMotion>
                                  </p:childTnLst>
                                </p:cTn>
                              </p:par>
                            </p:childTnLst>
                          </p:cTn>
                        </p:par>
                        <p:par>
                          <p:cTn id="36" fill="hold">
                            <p:stCondLst>
                              <p:cond delay="3000"/>
                            </p:stCondLst>
                            <p:childTnLst>
                              <p:par>
                                <p:cTn id="37" presetID="10" presetClass="exit" presetSubtype="0" fill="hold" nodeType="afterEffect">
                                  <p:stCondLst>
                                    <p:cond delay="0"/>
                                  </p:stCondLst>
                                  <p:childTnLst>
                                    <p:animEffect transition="out" filter="fade">
                                      <p:cBhvr>
                                        <p:cTn id="38" dur="500"/>
                                        <p:tgtEl>
                                          <p:spTgt spid="6"/>
                                        </p:tgtEl>
                                      </p:cBhvr>
                                    </p:animEffect>
                                    <p:set>
                                      <p:cBhvr>
                                        <p:cTn id="39" dur="1" fill="hold">
                                          <p:stCondLst>
                                            <p:cond delay="499"/>
                                          </p:stCondLst>
                                        </p:cTn>
                                        <p:tgtEl>
                                          <p:spTgt spid="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2" grpId="1"/>
    </p:bld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a: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6" y="1552605"/>
            <a:ext cx="8493797"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ample HTTP endpoint feedback service</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imilar to 5* feedback systems in mobile phone games</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st the request and receive a response</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f feedback is bad, send an email</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op</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before the last Cosmos DB section!</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562069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1.17567E-6 L -0.05285 1.17567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Data, Analytics &amp; </a:t>
            </a:r>
            <a:r>
              <a:rPr lang="en-GB" sz="5400" err="1"/>
              <a:t>IoT</a:t>
            </a:r>
            <a:r>
              <a:rPr lang="en-GB" sz="5400"/>
              <a:t> Services</a:t>
            </a:r>
          </a:p>
        </p:txBody>
      </p:sp>
      <p:pic>
        <p:nvPicPr>
          <p:cNvPr id="7" name="Picture Placeholder 6" descr="A person smiling for the picture&#10;&#10;Description generated with high confidence">
            <a:extLst>
              <a:ext uri="{FF2B5EF4-FFF2-40B4-BE49-F238E27FC236}">
                <a16:creationId xmlns:a16="http://schemas.microsoft.com/office/drawing/2014/main" id="{4D67ADC1-D988-4725-85C6-F1A8E51FF932}"/>
              </a:ext>
            </a:extLst>
          </p:cNvPr>
          <p:cNvPicPr>
            <a:picLocks noGrp="1" noChangeAspect="1"/>
          </p:cNvPicPr>
          <p:nvPr>
            <p:ph type="pic" sz="quarter" idx="10"/>
          </p:nvPr>
        </p:nvPicPr>
        <p:blipFill>
          <a:blip r:embed="rId3"/>
          <a:srcRect l="5551" r="5551"/>
          <a:stretch>
            <a:fillRect/>
          </a:stretch>
        </p:blipFill>
        <p:spPr/>
      </p:pic>
    </p:spTree>
    <p:extLst>
      <p:ext uri="{BB962C8B-B14F-4D97-AF65-F5344CB8AC3E}">
        <p14:creationId xmlns:p14="http://schemas.microsoft.com/office/powerpoint/2010/main" val="389165978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t>Azure SQL Database</a:t>
            </a:r>
          </a:p>
        </p:txBody>
      </p:sp>
      <p:sp>
        <p:nvSpPr>
          <p:cNvPr id="7" name="Text Placeholder 6"/>
          <p:cNvSpPr>
            <a:spLocks noGrp="1"/>
          </p:cNvSpPr>
          <p:nvPr>
            <p:ph type="body" sz="quarter" idx="4294967295"/>
          </p:nvPr>
        </p:nvSpPr>
        <p:spPr>
          <a:xfrm>
            <a:off x="3537294" y="2031970"/>
            <a:ext cx="8663469" cy="3692848"/>
          </a:xfrm>
        </p:spPr>
        <p:txBody>
          <a:bodyPr/>
          <a:lstStyle/>
          <a:p>
            <a:pPr marL="0" indent="0">
              <a:lnSpc>
                <a:spcPct val="100000"/>
              </a:lnSpc>
              <a:spcBef>
                <a:spcPts val="1200"/>
              </a:spcBef>
              <a:buNone/>
            </a:pPr>
            <a:r>
              <a:rPr lang="en-US" sz="2400">
                <a:solidFill>
                  <a:srgbClr val="FFFFFF"/>
                </a:solidFill>
              </a:rPr>
              <a:t>Database provisioning on-demand</a:t>
            </a:r>
          </a:p>
          <a:p>
            <a:pPr marL="0" indent="0">
              <a:lnSpc>
                <a:spcPct val="100000"/>
              </a:lnSpc>
              <a:spcBef>
                <a:spcPts val="1200"/>
              </a:spcBef>
              <a:buNone/>
            </a:pPr>
            <a:r>
              <a:rPr lang="en-US" sz="2400">
                <a:solidFill>
                  <a:srgbClr val="FFFFFF"/>
                </a:solidFill>
              </a:rPr>
              <a:t>Scalable and elastic performance for all workloads</a:t>
            </a:r>
          </a:p>
          <a:p>
            <a:pPr marL="0" indent="0">
              <a:lnSpc>
                <a:spcPct val="100000"/>
              </a:lnSpc>
              <a:spcBef>
                <a:spcPts val="1200"/>
              </a:spcBef>
              <a:buNone/>
            </a:pPr>
            <a:r>
              <a:rPr lang="en-US" sz="2400">
                <a:solidFill>
                  <a:srgbClr val="FFFFFF"/>
                </a:solidFill>
              </a:rPr>
              <a:t>99.99% availability, zero maintenance</a:t>
            </a:r>
          </a:p>
          <a:p>
            <a:pPr marL="0" indent="0">
              <a:lnSpc>
                <a:spcPct val="100000"/>
              </a:lnSpc>
              <a:spcBef>
                <a:spcPts val="1200"/>
              </a:spcBef>
              <a:buNone/>
            </a:pPr>
            <a:r>
              <a:rPr lang="en-US" sz="2400">
                <a:solidFill>
                  <a:srgbClr val="FFFFFF"/>
                </a:solidFill>
              </a:rPr>
              <a:t>Intelligent: learns and adapts to optimize performance</a:t>
            </a:r>
          </a:p>
          <a:p>
            <a:pPr marL="0" indent="0">
              <a:lnSpc>
                <a:spcPct val="100000"/>
              </a:lnSpc>
              <a:spcBef>
                <a:spcPts val="1200"/>
              </a:spcBef>
              <a:buNone/>
            </a:pPr>
            <a:r>
              <a:rPr lang="en-US" sz="2400">
                <a:solidFill>
                  <a:srgbClr val="FFFFFF"/>
                </a:solidFill>
              </a:rPr>
              <a:t>Secure and compliant to protect sensitive data</a:t>
            </a:r>
          </a:p>
          <a:p>
            <a:pPr marL="0" indent="0">
              <a:lnSpc>
                <a:spcPct val="100000"/>
              </a:lnSpc>
              <a:spcBef>
                <a:spcPts val="1200"/>
              </a:spcBef>
              <a:buNone/>
            </a:pPr>
            <a:r>
              <a:rPr lang="en-US" sz="2400">
                <a:solidFill>
                  <a:srgbClr val="FFFFFF"/>
                </a:solidFill>
              </a:rPr>
              <a:t>Geo-replication and restore-from-backup for data protection</a:t>
            </a:r>
          </a:p>
          <a:p>
            <a:pPr marL="0" indent="0">
              <a:lnSpc>
                <a:spcPct val="100000"/>
              </a:lnSpc>
              <a:spcBef>
                <a:spcPts val="1200"/>
              </a:spcBef>
              <a:buNone/>
            </a:pPr>
            <a:r>
              <a:rPr lang="en-US" sz="2400">
                <a:solidFill>
                  <a:srgbClr val="FFFFFF"/>
                </a:solidFill>
              </a:rPr>
              <a:t>Compatible with SQL Server 2014, 2016</a:t>
            </a:r>
          </a:p>
        </p:txBody>
      </p:sp>
      <p:sp>
        <p:nvSpPr>
          <p:cNvPr id="9" name="TextBox 8"/>
          <p:cNvSpPr txBox="1"/>
          <p:nvPr/>
        </p:nvSpPr>
        <p:spPr>
          <a:xfrm>
            <a:off x="275079" y="1114513"/>
            <a:ext cx="12160602" cy="683135"/>
          </a:xfrm>
          <a:prstGeom prst="rect">
            <a:avLst/>
          </a:prstGeom>
          <a:noFill/>
        </p:spPr>
        <p:txBody>
          <a:bodyPr wrap="square" lIns="182831" tIns="146264" rIns="182831" bIns="146264" rtlCol="0">
            <a:spAutoFit/>
          </a:bodyPr>
          <a:lstStyle/>
          <a:p>
            <a:pPr defTabSz="932470">
              <a:lnSpc>
                <a:spcPct val="90000"/>
              </a:lnSpc>
              <a:spcAft>
                <a:spcPts val="600"/>
              </a:spcAft>
            </a:pPr>
            <a:r>
              <a:rPr lang="en-US" sz="2800">
                <a:latin typeface="Segoe UI Light" panose="020B0502040204020203" pitchFamily="34" charset="0"/>
                <a:cs typeface="Segoe UI Light" panose="020B0502040204020203" pitchFamily="34" charset="0"/>
              </a:rPr>
              <a:t>Fully managed database-as-a-service that lets you focus on your business</a:t>
            </a:r>
          </a:p>
        </p:txBody>
      </p:sp>
      <p:grpSp>
        <p:nvGrpSpPr>
          <p:cNvPr id="3" name="Group 2"/>
          <p:cNvGrpSpPr/>
          <p:nvPr/>
        </p:nvGrpSpPr>
        <p:grpSpPr>
          <a:xfrm>
            <a:off x="776116" y="2791548"/>
            <a:ext cx="2177726" cy="2177416"/>
            <a:chOff x="832571" y="342012"/>
            <a:chExt cx="2178004" cy="2177694"/>
          </a:xfrm>
        </p:grpSpPr>
        <p:sp>
          <p:nvSpPr>
            <p:cNvPr id="16" name="Rectangle 15"/>
            <p:cNvSpPr/>
            <p:nvPr/>
          </p:nvSpPr>
          <p:spPr bwMode="ltGray">
            <a:xfrm>
              <a:off x="832571" y="342012"/>
              <a:ext cx="2178004" cy="2177694"/>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89619" tIns="44809" rIns="89619" bIns="44809" numCol="1" rtlCol="0" anchor="t" anchorCtr="0" compatLnSpc="1">
              <a:prstTxWarp prst="textNoShape">
                <a:avLst/>
              </a:prstTxWarp>
            </a:bodyPr>
            <a:lstStyle/>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Azure</a:t>
              </a:r>
            </a:p>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SQL Database</a:t>
              </a:r>
            </a:p>
          </p:txBody>
        </p:sp>
        <p:pic>
          <p:nvPicPr>
            <p:cNvPr id="17"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1921572" y="1707155"/>
              <a:ext cx="992453" cy="684393"/>
            </a:xfrm>
            <a:prstGeom prst="rect">
              <a:avLst/>
            </a:prstGeom>
            <a:noFill/>
            <a:extLst>
              <a:ext uri="{909E8E84-426E-40DD-AFC4-6F175D3DCCD1}">
                <a14:hiddenFill xmlns:a14="http://schemas.microsoft.com/office/drawing/2010/main">
                  <a:solidFill>
                    <a:srgbClr val="FFFFFF"/>
                  </a:solidFill>
                </a14:hiddenFill>
              </a:ext>
            </a:extLst>
          </p:spPr>
        </p:pic>
        <p:sp>
          <p:nvSpPr>
            <p:cNvPr id="18" name="Flowchart: Magnetic Disk 10"/>
            <p:cNvSpPr/>
            <p:nvPr/>
          </p:nvSpPr>
          <p:spPr bwMode="auto">
            <a:xfrm>
              <a:off x="1825023" y="1707154"/>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18" rIns="0" bIns="0" numCol="1" spcCol="0" rtlCol="0" fromWordArt="0" anchor="ctr" anchorCtr="0" forceAA="0" compatLnSpc="1">
              <a:prstTxWarp prst="textNoShape">
                <a:avLst/>
              </a:prstTxWarp>
              <a:noAutofit/>
            </a:bodyPr>
            <a:lstStyle/>
            <a:p>
              <a:pPr algn="ctr" defTabSz="913835" fontAlgn="base">
                <a:spcBef>
                  <a:spcPct val="0"/>
                </a:spcBef>
                <a:spcAft>
                  <a:spcPct val="0"/>
                </a:spcAft>
                <a:defRPr/>
              </a:pPr>
              <a:r>
                <a:rPr lang="en-US" sz="1200" b="1" kern="0">
                  <a:ln>
                    <a:solidFill>
                      <a:srgbClr val="FFFFFF">
                        <a:alpha val="0"/>
                      </a:srgbClr>
                    </a:solidFill>
                  </a:ln>
                  <a:solidFill>
                    <a:srgbClr val="0078D7">
                      <a:lumMod val="75000"/>
                    </a:srgbClr>
                  </a:solidFill>
                  <a:latin typeface="Segoe UI"/>
                  <a:ea typeface="Segoe UI" pitchFamily="34" charset="0"/>
                  <a:cs typeface="Segoe UI" pitchFamily="34" charset="0"/>
                </a:rPr>
                <a:t>SQL</a:t>
              </a:r>
            </a:p>
          </p:txBody>
        </p:sp>
      </p:grpSp>
    </p:spTree>
    <p:extLst>
      <p:ext uri="{BB962C8B-B14F-4D97-AF65-F5344CB8AC3E}">
        <p14:creationId xmlns:p14="http://schemas.microsoft.com/office/powerpoint/2010/main" val="42242325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TextBox 166"/>
          <p:cNvSpPr txBox="1"/>
          <p:nvPr/>
        </p:nvSpPr>
        <p:spPr>
          <a:xfrm>
            <a:off x="5225952" y="2993865"/>
            <a:ext cx="7136918" cy="1948295"/>
          </a:xfrm>
          <a:prstGeom prst="rect">
            <a:avLst/>
          </a:prstGeom>
          <a:noFill/>
        </p:spPr>
        <p:txBody>
          <a:bodyPr wrap="square" rtlCol="0">
            <a:spAutoFit/>
          </a:bodyPr>
          <a:lstStyle/>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Security isolation with Azure VNET &amp; private IPs</a:t>
            </a:r>
          </a:p>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Near 100% surface compatibility to SQL Server </a:t>
            </a:r>
          </a:p>
          <a:p>
            <a:pPr marL="356614" indent="-356614" defTabSz="970048">
              <a:lnSpc>
                <a:spcPct val="90000"/>
              </a:lnSpc>
              <a:spcBef>
                <a:spcPts val="612"/>
              </a:spcBef>
              <a:spcAft>
                <a:spcPts val="1224"/>
              </a:spcAft>
              <a:buSzPct val="90000"/>
              <a:buFont typeface="Arial" panose="020B0604020202020204" pitchFamily="34" charset="0"/>
              <a:buChar char="•"/>
              <a:defRPr/>
            </a:pPr>
            <a:r>
              <a:rPr lang="en-US" sz="2448" kern="0">
                <a:latin typeface="Segoe UI" panose="020B0502040204020203" pitchFamily="34" charset="0"/>
                <a:cs typeface="Segoe UI" panose="020B0502040204020203" pitchFamily="34" charset="0"/>
                <a:sym typeface="Wingdings" panose="05000000000000000000" pitchFamily="2" charset="2"/>
              </a:rPr>
              <a:t>SQL Agent, cross DB queries, R, CLR, Service Broker, …</a:t>
            </a:r>
          </a:p>
        </p:txBody>
      </p:sp>
      <p:sp>
        <p:nvSpPr>
          <p:cNvPr id="57" name="Rectangle 22"/>
          <p:cNvSpPr>
            <a:spLocks noChangeArrowheads="1"/>
          </p:cNvSpPr>
          <p:nvPr/>
        </p:nvSpPr>
        <p:spPr bwMode="auto">
          <a:xfrm>
            <a:off x="315284" y="160448"/>
            <a:ext cx="9821335" cy="6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defTabSz="1243431" fontAlgn="base">
              <a:spcBef>
                <a:spcPct val="0"/>
              </a:spcBef>
              <a:spcAft>
                <a:spcPct val="0"/>
              </a:spcAft>
              <a:defRPr/>
            </a:pPr>
            <a:r>
              <a:rPr lang="en-US" sz="4488" kern="0" spc="-153">
                <a:latin typeface="Segoe UI Semibold" panose="020B0702040204020203" pitchFamily="34" charset="0"/>
                <a:cs typeface="Segoe UI Semibold" panose="020B0702040204020203" pitchFamily="34" charset="0"/>
              </a:rPr>
              <a:t>Azure SQL Database </a:t>
            </a:r>
            <a:r>
              <a:rPr lang="en-US" sz="4488" kern="0" spc="-153">
                <a:solidFill>
                  <a:schemeClr val="tx2"/>
                </a:solidFill>
                <a:latin typeface="Segoe UI Semibold" panose="020B0702040204020203" pitchFamily="34" charset="0"/>
                <a:cs typeface="Segoe UI Semibold" panose="020B0702040204020203" pitchFamily="34" charset="0"/>
              </a:rPr>
              <a:t>Managed Instance </a:t>
            </a:r>
            <a:endParaRPr lang="en-US" sz="3264" kern="0" spc="-153" baseline="30000">
              <a:solidFill>
                <a:schemeClr val="tx2"/>
              </a:solidFill>
              <a:latin typeface="Segoe UI Semibold" panose="020B0702040204020203" pitchFamily="34" charset="0"/>
              <a:cs typeface="Segoe UI Semibold" panose="020B0702040204020203" pitchFamily="34" charset="0"/>
            </a:endParaRPr>
          </a:p>
        </p:txBody>
      </p:sp>
      <p:cxnSp>
        <p:nvCxnSpPr>
          <p:cNvPr id="1387" name="Straight Connector 1386">
            <a:extLst>
              <a:ext uri="{FF2B5EF4-FFF2-40B4-BE49-F238E27FC236}">
                <a16:creationId xmlns:a16="http://schemas.microsoft.com/office/drawing/2014/main" id="{CD679DE2-A0A2-412E-8912-A42D54ED5D97}"/>
              </a:ext>
            </a:extLst>
          </p:cNvPr>
          <p:cNvCxnSpPr/>
          <p:nvPr/>
        </p:nvCxnSpPr>
        <p:spPr>
          <a:xfrm>
            <a:off x="-70077" y="1641575"/>
            <a:ext cx="12432948" cy="0"/>
          </a:xfrm>
          <a:prstGeom prst="line">
            <a:avLst/>
          </a:prstGeom>
          <a:ln>
            <a:solidFill>
              <a:srgbClr val="073A65"/>
            </a:solidFill>
          </a:ln>
        </p:spPr>
        <p:style>
          <a:lnRef idx="1">
            <a:schemeClr val="accent1"/>
          </a:lnRef>
          <a:fillRef idx="0">
            <a:schemeClr val="accent1"/>
          </a:fillRef>
          <a:effectRef idx="0">
            <a:schemeClr val="accent1"/>
          </a:effectRef>
          <a:fontRef idx="minor">
            <a:schemeClr val="tx1"/>
          </a:fontRef>
        </p:style>
      </p:cxnSp>
      <p:sp>
        <p:nvSpPr>
          <p:cNvPr id="26" name="Freeform 266">
            <a:extLst>
              <a:ext uri="{FF2B5EF4-FFF2-40B4-BE49-F238E27FC236}">
                <a16:creationId xmlns:a16="http://schemas.microsoft.com/office/drawing/2014/main" id="{ED13536A-F3CE-42F0-9F9C-54A212AEFE09}"/>
              </a:ext>
            </a:extLst>
          </p:cNvPr>
          <p:cNvSpPr>
            <a:spLocks noChangeAspect="1"/>
          </p:cNvSpPr>
          <p:nvPr/>
        </p:nvSpPr>
        <p:spPr bwMode="black">
          <a:xfrm>
            <a:off x="424405" y="1962130"/>
            <a:ext cx="4654791" cy="295282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93209" tIns="46606" rIns="93209" bIns="46606" numCol="1" anchor="t" anchorCtr="0" compatLnSpc="1">
            <a:prstTxWarp prst="textNoShape">
              <a:avLst/>
            </a:prstTxWarp>
          </a:bodyPr>
          <a:lstStyle/>
          <a:p>
            <a:pPr defTabSz="950973">
              <a:defRPr/>
            </a:pPr>
            <a:endParaRPr lang="en-US" sz="1835" kern="0">
              <a:latin typeface="Segoe UI"/>
            </a:endParaRPr>
          </a:p>
        </p:txBody>
      </p:sp>
      <p:cxnSp>
        <p:nvCxnSpPr>
          <p:cNvPr id="27" name="Straight Arrow Connector 26">
            <a:extLst>
              <a:ext uri="{FF2B5EF4-FFF2-40B4-BE49-F238E27FC236}">
                <a16:creationId xmlns:a16="http://schemas.microsoft.com/office/drawing/2014/main" id="{CBD41F50-011B-47E2-8952-C6DE0235FD38}"/>
              </a:ext>
            </a:extLst>
          </p:cNvPr>
          <p:cNvCxnSpPr>
            <a:cxnSpLocks/>
          </p:cNvCxnSpPr>
          <p:nvPr/>
        </p:nvCxnSpPr>
        <p:spPr>
          <a:xfrm rot="5400000" flipH="1">
            <a:off x="2394827" y="5541987"/>
            <a:ext cx="1254063" cy="0"/>
          </a:xfrm>
          <a:prstGeom prst="straightConnector1">
            <a:avLst/>
          </a:prstGeom>
          <a:ln w="41275">
            <a:solidFill>
              <a:srgbClr val="0078D7"/>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C0B95CA-D6A3-4988-A533-DCB58B537BCD}"/>
              </a:ext>
            </a:extLst>
          </p:cNvPr>
          <p:cNvSpPr/>
          <p:nvPr/>
        </p:nvSpPr>
        <p:spPr bwMode="auto">
          <a:xfrm>
            <a:off x="1879329" y="3156780"/>
            <a:ext cx="2252513" cy="1455741"/>
          </a:xfrm>
          <a:prstGeom prst="rect">
            <a:avLst/>
          </a:prstGeom>
          <a:noFill/>
          <a:ln w="19050" cap="flat" cmpd="sng" algn="ctr">
            <a:solidFill>
              <a:schemeClr val="bg2">
                <a:lumMod val="75000"/>
              </a:schemeClr>
            </a:solidFill>
            <a:prstDash val="sysDash"/>
            <a:miter lim="800000"/>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8" fontAlgn="base">
              <a:lnSpc>
                <a:spcPct val="90000"/>
              </a:lnSpc>
              <a:spcBef>
                <a:spcPct val="0"/>
              </a:spcBef>
              <a:spcAft>
                <a:spcPct val="0"/>
              </a:spcAft>
              <a:defRPr/>
            </a:pPr>
            <a:endParaRPr lang="en-US" sz="2497" kern="0" err="1">
              <a:latin typeface="Segoe UI Semilight"/>
              <a:ea typeface="Segoe UI" pitchFamily="34" charset="0"/>
              <a:cs typeface="Segoe UI" pitchFamily="34" charset="0"/>
            </a:endParaRPr>
          </a:p>
        </p:txBody>
      </p:sp>
      <p:pic>
        <p:nvPicPr>
          <p:cNvPr id="29" name="Picture 28">
            <a:extLst>
              <a:ext uri="{FF2B5EF4-FFF2-40B4-BE49-F238E27FC236}">
                <a16:creationId xmlns:a16="http://schemas.microsoft.com/office/drawing/2014/main" id="{4538BA76-7512-4A00-AA53-1F30B9BC8215}"/>
              </a:ext>
            </a:extLst>
          </p:cNvPr>
          <p:cNvPicPr>
            <a:picLocks noChangeAspect="1"/>
          </p:cNvPicPr>
          <p:nvPr/>
        </p:nvPicPr>
        <p:blipFill>
          <a:blip r:embed="rId3"/>
          <a:stretch>
            <a:fillRect/>
          </a:stretch>
        </p:blipFill>
        <p:spPr>
          <a:xfrm>
            <a:off x="2763604" y="5585054"/>
            <a:ext cx="521215" cy="852898"/>
          </a:xfrm>
          <a:prstGeom prst="rect">
            <a:avLst/>
          </a:prstGeom>
        </p:spPr>
      </p:pic>
      <p:cxnSp>
        <p:nvCxnSpPr>
          <p:cNvPr id="30" name="Straight Connector 29">
            <a:extLst>
              <a:ext uri="{FF2B5EF4-FFF2-40B4-BE49-F238E27FC236}">
                <a16:creationId xmlns:a16="http://schemas.microsoft.com/office/drawing/2014/main" id="{8F7A30FA-A1C9-4A6F-A6AE-120347EF3990}"/>
              </a:ext>
            </a:extLst>
          </p:cNvPr>
          <p:cNvCxnSpPr/>
          <p:nvPr/>
        </p:nvCxnSpPr>
        <p:spPr>
          <a:xfrm>
            <a:off x="1672949" y="6488285"/>
            <a:ext cx="2538679" cy="0"/>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F3811ED-18FB-4BCD-A687-D66F482C003B}"/>
              </a:ext>
            </a:extLst>
          </p:cNvPr>
          <p:cNvGrpSpPr/>
          <p:nvPr/>
        </p:nvGrpSpPr>
        <p:grpSpPr>
          <a:xfrm>
            <a:off x="1672948" y="2809724"/>
            <a:ext cx="2558999" cy="1898509"/>
            <a:chOff x="1798637" y="1330744"/>
            <a:chExt cx="1905000" cy="1480718"/>
          </a:xfrm>
        </p:grpSpPr>
        <p:sp>
          <p:nvSpPr>
            <p:cNvPr id="33" name="Rectangle 32">
              <a:extLst>
                <a:ext uri="{FF2B5EF4-FFF2-40B4-BE49-F238E27FC236}">
                  <a16:creationId xmlns:a16="http://schemas.microsoft.com/office/drawing/2014/main" id="{6A2E225B-DF9A-4400-9038-79AE7D30CE10}"/>
                </a:ext>
              </a:extLst>
            </p:cNvPr>
            <p:cNvSpPr/>
            <p:nvPr/>
          </p:nvSpPr>
          <p:spPr bwMode="auto">
            <a:xfrm>
              <a:off x="1798637" y="1439862"/>
              <a:ext cx="1905000" cy="1371600"/>
            </a:xfrm>
            <a:prstGeom prst="rect">
              <a:avLst/>
            </a:prstGeom>
            <a:noFill/>
            <a:ln w="158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err="1">
                <a:solidFill>
                  <a:schemeClr val="tx1"/>
                </a:solidFill>
                <a:ea typeface="Segoe UI" pitchFamily="34" charset="0"/>
                <a:cs typeface="Segoe UI" pitchFamily="34" charset="0"/>
              </a:endParaRPr>
            </a:p>
          </p:txBody>
        </p:sp>
        <p:sp>
          <p:nvSpPr>
            <p:cNvPr id="34" name="TextBox 33">
              <a:extLst>
                <a:ext uri="{FF2B5EF4-FFF2-40B4-BE49-F238E27FC236}">
                  <a16:creationId xmlns:a16="http://schemas.microsoft.com/office/drawing/2014/main" id="{4C0644FA-6D6E-4D8E-9112-48E62E9FA525}"/>
                </a:ext>
              </a:extLst>
            </p:cNvPr>
            <p:cNvSpPr txBox="1"/>
            <p:nvPr/>
          </p:nvSpPr>
          <p:spPr>
            <a:xfrm>
              <a:off x="1957788" y="1330744"/>
              <a:ext cx="1429519" cy="369732"/>
            </a:xfrm>
            <a:prstGeom prst="rect">
              <a:avLst/>
            </a:prstGeom>
            <a:noFill/>
          </p:spPr>
          <p:txBody>
            <a:bodyPr wrap="square" lIns="186494" tIns="149195" rIns="186494" bIns="149195" rtlCol="0">
              <a:spAutoFit/>
            </a:bodyPr>
            <a:lstStyle/>
            <a:p>
              <a:pPr defTabSz="932417">
                <a:lnSpc>
                  <a:spcPct val="90000"/>
                </a:lnSpc>
                <a:spcAft>
                  <a:spcPts val="612"/>
                </a:spcAft>
              </a:pPr>
              <a:r>
                <a:rPr lang="en-US" sz="1223" kern="0"/>
                <a:t>VNET</a:t>
              </a:r>
            </a:p>
          </p:txBody>
        </p:sp>
      </p:grpSp>
      <p:pic>
        <p:nvPicPr>
          <p:cNvPr id="35" name="Picture 34">
            <a:extLst>
              <a:ext uri="{FF2B5EF4-FFF2-40B4-BE49-F238E27FC236}">
                <a16:creationId xmlns:a16="http://schemas.microsoft.com/office/drawing/2014/main" id="{45133D6E-6127-4E78-AB03-FFA64D47F1C1}"/>
              </a:ext>
            </a:extLst>
          </p:cNvPr>
          <p:cNvPicPr>
            <a:picLocks noChangeAspect="1"/>
          </p:cNvPicPr>
          <p:nvPr/>
        </p:nvPicPr>
        <p:blipFill>
          <a:blip r:embed="rId3"/>
          <a:stretch>
            <a:fillRect/>
          </a:stretch>
        </p:blipFill>
        <p:spPr>
          <a:xfrm>
            <a:off x="3430824" y="5600681"/>
            <a:ext cx="511665" cy="837271"/>
          </a:xfrm>
          <a:prstGeom prst="rect">
            <a:avLst/>
          </a:prstGeom>
        </p:spPr>
      </p:pic>
      <p:pic>
        <p:nvPicPr>
          <p:cNvPr id="36" name="Picture 35">
            <a:extLst>
              <a:ext uri="{FF2B5EF4-FFF2-40B4-BE49-F238E27FC236}">
                <a16:creationId xmlns:a16="http://schemas.microsoft.com/office/drawing/2014/main" id="{78D1659A-B90B-418F-A231-B72087F92A91}"/>
              </a:ext>
            </a:extLst>
          </p:cNvPr>
          <p:cNvPicPr>
            <a:picLocks noChangeAspect="1"/>
          </p:cNvPicPr>
          <p:nvPr/>
        </p:nvPicPr>
        <p:blipFill>
          <a:blip r:embed="rId3"/>
          <a:stretch>
            <a:fillRect/>
          </a:stretch>
        </p:blipFill>
        <p:spPr>
          <a:xfrm>
            <a:off x="2149103" y="5585054"/>
            <a:ext cx="521216" cy="852898"/>
          </a:xfrm>
          <a:prstGeom prst="rect">
            <a:avLst/>
          </a:prstGeom>
        </p:spPr>
      </p:pic>
      <p:pic>
        <p:nvPicPr>
          <p:cNvPr id="37" name="Picture 36">
            <a:extLst>
              <a:ext uri="{FF2B5EF4-FFF2-40B4-BE49-F238E27FC236}">
                <a16:creationId xmlns:a16="http://schemas.microsoft.com/office/drawing/2014/main" id="{75FE47BA-EF43-46C0-8C56-B572532861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9103" y="3401649"/>
            <a:ext cx="705068" cy="739730"/>
          </a:xfrm>
          <a:prstGeom prst="rect">
            <a:avLst/>
          </a:prstGeom>
        </p:spPr>
      </p:pic>
      <p:pic>
        <p:nvPicPr>
          <p:cNvPr id="38" name="Picture 37">
            <a:extLst>
              <a:ext uri="{FF2B5EF4-FFF2-40B4-BE49-F238E27FC236}">
                <a16:creationId xmlns:a16="http://schemas.microsoft.com/office/drawing/2014/main" id="{B654858D-0E1E-4CBE-81E9-68628B5658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9597" y="3400125"/>
            <a:ext cx="705068" cy="739730"/>
          </a:xfrm>
          <a:prstGeom prst="rect">
            <a:avLst/>
          </a:prstGeom>
        </p:spPr>
      </p:pic>
      <p:sp>
        <p:nvSpPr>
          <p:cNvPr id="39" name="TextBox 38">
            <a:extLst>
              <a:ext uri="{FF2B5EF4-FFF2-40B4-BE49-F238E27FC236}">
                <a16:creationId xmlns:a16="http://schemas.microsoft.com/office/drawing/2014/main" id="{BDC89FA7-A469-4B01-BBFA-5FEE220CF8DA}"/>
              </a:ext>
            </a:extLst>
          </p:cNvPr>
          <p:cNvSpPr txBox="1"/>
          <p:nvPr/>
        </p:nvSpPr>
        <p:spPr>
          <a:xfrm>
            <a:off x="2025201" y="4137541"/>
            <a:ext cx="2238177" cy="542449"/>
          </a:xfrm>
          <a:prstGeom prst="rect">
            <a:avLst/>
          </a:prstGeom>
          <a:noFill/>
        </p:spPr>
        <p:txBody>
          <a:bodyPr wrap="none" lIns="190234" tIns="152188" rIns="190234" bIns="152188" rtlCol="0">
            <a:spAutoFit/>
          </a:bodyPr>
          <a:lstStyle/>
          <a:p>
            <a:pPr>
              <a:lnSpc>
                <a:spcPct val="90000"/>
              </a:lnSpc>
              <a:spcAft>
                <a:spcPts val="624"/>
              </a:spcAft>
            </a:pPr>
            <a:r>
              <a:rPr lang="en-US" sz="1664"/>
              <a:t>Managed Instances</a:t>
            </a:r>
          </a:p>
        </p:txBody>
      </p:sp>
      <p:sp>
        <p:nvSpPr>
          <p:cNvPr id="41" name="TextBox 40">
            <a:extLst>
              <a:ext uri="{FF2B5EF4-FFF2-40B4-BE49-F238E27FC236}">
                <a16:creationId xmlns:a16="http://schemas.microsoft.com/office/drawing/2014/main" id="{011BE99D-58D6-408A-99D8-251B484ACFE7}"/>
              </a:ext>
            </a:extLst>
          </p:cNvPr>
          <p:cNvSpPr txBox="1"/>
          <p:nvPr/>
        </p:nvSpPr>
        <p:spPr>
          <a:xfrm>
            <a:off x="239629" y="890687"/>
            <a:ext cx="9892863" cy="531812"/>
          </a:xfrm>
          <a:prstGeom prst="rect">
            <a:avLst/>
          </a:prstGeom>
          <a:noFill/>
        </p:spPr>
        <p:txBody>
          <a:bodyPr wrap="square" rtlCol="0">
            <a:spAutoFit/>
          </a:bodyPr>
          <a:lstStyle/>
          <a:p>
            <a:pPr defTabSz="1243431">
              <a:defRPr/>
            </a:pPr>
            <a:r>
              <a:rPr lang="en-US" sz="2856">
                <a:latin typeface="Segoe UI" panose="020B0502040204020203" pitchFamily="34" charset="0"/>
                <a:cs typeface="Segoe UI" panose="020B0502040204020203" pitchFamily="34" charset="0"/>
              </a:rPr>
              <a:t>Migrate a fleet into PaaS without application re-architecture</a:t>
            </a:r>
            <a:endParaRPr lang="en-US" sz="2652" kern="0">
              <a:latin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15325C8F-DA2C-4A70-9D45-47DD15EE5872}"/>
              </a:ext>
            </a:extLst>
          </p:cNvPr>
          <p:cNvSpPr txBox="1">
            <a:spLocks/>
          </p:cNvSpPr>
          <p:nvPr/>
        </p:nvSpPr>
        <p:spPr>
          <a:xfrm rot="2297231">
            <a:off x="8856405" y="448901"/>
            <a:ext cx="5538332" cy="929097"/>
          </a:xfrm>
          <a:prstGeom prst="rect">
            <a:avLst/>
          </a:prstGeom>
          <a:solidFill>
            <a:srgbClr val="92D050"/>
          </a:solidFill>
          <a:effectLst>
            <a:outerShdw blurRad="190500" algn="ctr" rotWithShape="0">
              <a:prstClr val="black">
                <a:alpha val="40000"/>
              </a:prstClr>
            </a:outerShdw>
          </a:effectLst>
        </p:spPr>
        <p:txBody>
          <a:bodyPr wrap="square" tIns="91427" bIns="91427" anchor="ctr" anchorCtr="0">
            <a:no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a:solidFill>
                  <a:schemeClr val="tx1"/>
                </a:solidFill>
                <a:latin typeface="Segoe UI Semibold" panose="020B0702040204020203" pitchFamily="34" charset="0"/>
                <a:cs typeface="Segoe UI Semibold" panose="020B0702040204020203" pitchFamily="34" charset="0"/>
              </a:rPr>
              <a:t>Announcing </a:t>
            </a:r>
          </a:p>
        </p:txBody>
      </p:sp>
    </p:spTree>
    <p:extLst>
      <p:ext uri="{BB962C8B-B14F-4D97-AF65-F5344CB8AC3E}">
        <p14:creationId xmlns:p14="http://schemas.microsoft.com/office/powerpoint/2010/main" val="2658368193"/>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par>
                          <p:cTn id="15" fill="hold">
                            <p:stCondLst>
                              <p:cond delay="1000"/>
                            </p:stCondLst>
                            <p:childTnLst>
                              <p:par>
                                <p:cTn id="16" presetID="64" presetClass="path" presetSubtype="0" accel="50000" decel="50000" fill="hold" nodeType="afterEffect">
                                  <p:stCondLst>
                                    <p:cond delay="0"/>
                                  </p:stCondLst>
                                  <p:childTnLst>
                                    <p:animMotion origin="layout" path="M 2.77556E-17 7.40741E-7 L 0.00664 -0.31782 " pathEditMode="relative" rAng="0" ptsTypes="AA">
                                      <p:cBhvr>
                                        <p:cTn id="17" dur="2000" fill="hold"/>
                                        <p:tgtEl>
                                          <p:spTgt spid="36"/>
                                        </p:tgtEl>
                                        <p:attrNameLst>
                                          <p:attrName>ppt_x</p:attrName>
                                          <p:attrName>ppt_y</p:attrName>
                                        </p:attrNameLst>
                                      </p:cBhvr>
                                      <p:rCtr x="326" y="-15903"/>
                                    </p:animMotion>
                                  </p:childTnLst>
                                </p:cTn>
                              </p:par>
                            </p:childTnLst>
                          </p:cTn>
                        </p:par>
                        <p:par>
                          <p:cTn id="18" fill="hold">
                            <p:stCondLst>
                              <p:cond delay="3000"/>
                            </p:stCondLst>
                            <p:childTnLst>
                              <p:par>
                                <p:cTn id="19" presetID="64" presetClass="path" presetSubtype="0" accel="50000" decel="50000" fill="hold" nodeType="afterEffect">
                                  <p:stCondLst>
                                    <p:cond delay="0"/>
                                  </p:stCondLst>
                                  <p:childTnLst>
                                    <p:animMotion origin="layout" path="M 1.04167E-6 7.40741E-7 L 0.00286 -0.31782 " pathEditMode="relative" rAng="0" ptsTypes="AA">
                                      <p:cBhvr>
                                        <p:cTn id="20" dur="2000" fill="hold"/>
                                        <p:tgtEl>
                                          <p:spTgt spid="29"/>
                                        </p:tgtEl>
                                        <p:attrNameLst>
                                          <p:attrName>ppt_x</p:attrName>
                                          <p:attrName>ppt_y</p:attrName>
                                        </p:attrNameLst>
                                      </p:cBhvr>
                                      <p:rCtr x="143" y="-15903"/>
                                    </p:animMotion>
                                  </p:childTnLst>
                                </p:cTn>
                              </p:par>
                            </p:childTnLst>
                          </p:cTn>
                        </p:par>
                        <p:par>
                          <p:cTn id="21" fill="hold">
                            <p:stCondLst>
                              <p:cond delay="5000"/>
                            </p:stCondLst>
                            <p:childTnLst>
                              <p:par>
                                <p:cTn id="22" presetID="64" presetClass="path" presetSubtype="0" accel="50000" decel="50000" fill="hold" nodeType="afterEffect">
                                  <p:stCondLst>
                                    <p:cond delay="0"/>
                                  </p:stCondLst>
                                  <p:childTnLst>
                                    <p:animMotion origin="layout" path="M -4.16667E-6 3.33333E-6 L -0.00403 -0.31898 " pathEditMode="relative" rAng="0" ptsTypes="AA">
                                      <p:cBhvr>
                                        <p:cTn id="23" dur="2000" fill="hold"/>
                                        <p:tgtEl>
                                          <p:spTgt spid="35"/>
                                        </p:tgtEl>
                                        <p:attrNameLst>
                                          <p:attrName>ppt_x</p:attrName>
                                          <p:attrName>ppt_y</p:attrName>
                                        </p:attrNameLst>
                                      </p:cBhvr>
                                      <p:rCtr x="-208" y="-15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Introducing SQL Data Warehouse</a:t>
            </a:r>
          </a:p>
        </p:txBody>
      </p:sp>
      <p:sp>
        <p:nvSpPr>
          <p:cNvPr id="3" name="Text Placeholder 2"/>
          <p:cNvSpPr>
            <a:spLocks noGrp="1"/>
          </p:cNvSpPr>
          <p:nvPr>
            <p:ph type="body" sz="quarter" idx="10"/>
          </p:nvPr>
        </p:nvSpPr>
        <p:spPr>
          <a:xfrm>
            <a:off x="275397" y="1213143"/>
            <a:ext cx="11885683" cy="1329425"/>
          </a:xfrm>
        </p:spPr>
        <p:txBody>
          <a:bodyPr/>
          <a:lstStyle/>
          <a:p>
            <a:pPr algn="ctr"/>
            <a:r>
              <a:rPr lang="en-US" sz="2400">
                <a:solidFill>
                  <a:schemeClr val="tx1"/>
                </a:solidFill>
              </a:rPr>
              <a:t>Fully managed relational data warehouse-as-a-service</a:t>
            </a:r>
          </a:p>
          <a:p>
            <a:pPr algn="ctr"/>
            <a:r>
              <a:rPr lang="en-US" sz="2400">
                <a:solidFill>
                  <a:schemeClr val="tx1"/>
                </a:solidFill>
              </a:rPr>
              <a:t>The first elastic cloud data warehouse with enterprise-grade capabilities</a:t>
            </a:r>
          </a:p>
          <a:p>
            <a:pPr algn="ctr"/>
            <a:r>
              <a:rPr lang="en-US" sz="2400">
                <a:solidFill>
                  <a:schemeClr val="tx1"/>
                </a:solidFill>
              </a:rPr>
              <a:t>Support your smallest to largest data sets</a:t>
            </a:r>
          </a:p>
        </p:txBody>
      </p:sp>
      <p:sp>
        <p:nvSpPr>
          <p:cNvPr id="4" name="Rectangle 3"/>
          <p:cNvSpPr/>
          <p:nvPr/>
        </p:nvSpPr>
        <p:spPr bwMode="auto">
          <a:xfrm>
            <a:off x="-14903" y="2632454"/>
            <a:ext cx="12433124" cy="43616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05" fontAlgn="base">
              <a:spcBef>
                <a:spcPct val="0"/>
              </a:spcBef>
              <a:spcAft>
                <a:spcPct val="0"/>
              </a:spcAft>
            </a:pPr>
            <a:endParaRPr lang="en-US" sz="2000">
              <a:gradFill>
                <a:gsLst>
                  <a:gs pos="16814">
                    <a:srgbClr val="FFFFFF"/>
                  </a:gs>
                  <a:gs pos="46000">
                    <a:srgbClr val="FFFFFF"/>
                  </a:gs>
                </a:gsLst>
                <a:lin ang="5400000" scaled="0"/>
              </a:gradFill>
            </a:endParaRPr>
          </a:p>
        </p:txBody>
      </p:sp>
      <p:grpSp>
        <p:nvGrpSpPr>
          <p:cNvPr id="105" name="Group 104"/>
          <p:cNvGrpSpPr/>
          <p:nvPr/>
        </p:nvGrpSpPr>
        <p:grpSpPr>
          <a:xfrm>
            <a:off x="3318410" y="3242748"/>
            <a:ext cx="1295117" cy="1071210"/>
            <a:chOff x="3318039" y="3242715"/>
            <a:chExt cx="1295282" cy="1071347"/>
          </a:xfrm>
        </p:grpSpPr>
        <p:sp>
          <p:nvSpPr>
            <p:cNvPr id="106"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07" name="1 GEAR"/>
            <p:cNvGrpSpPr>
              <a:grpSpLocks noChangeAspect="1"/>
            </p:cNvGrpSpPr>
            <p:nvPr/>
          </p:nvGrpSpPr>
          <p:grpSpPr>
            <a:xfrm>
              <a:off x="3707871" y="3242715"/>
              <a:ext cx="548640" cy="548640"/>
              <a:chOff x="3427632" y="3858620"/>
              <a:chExt cx="676353" cy="704919"/>
            </a:xfrm>
          </p:grpSpPr>
          <p:sp>
            <p:nvSpPr>
              <p:cNvPr id="108" name="Oval 10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09" name="Freeform 108"/>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11" name="Group 110"/>
          <p:cNvGrpSpPr/>
          <p:nvPr/>
        </p:nvGrpSpPr>
        <p:grpSpPr>
          <a:xfrm>
            <a:off x="307605" y="3078751"/>
            <a:ext cx="3199991" cy="3007742"/>
            <a:chOff x="306849" y="3078698"/>
            <a:chExt cx="3200400" cy="3008126"/>
          </a:xfrm>
        </p:grpSpPr>
        <p:sp>
          <p:nvSpPr>
            <p:cNvPr id="112" name="Rectangle 111"/>
            <p:cNvSpPr/>
            <p:nvPr/>
          </p:nvSpPr>
          <p:spPr bwMode="auto">
            <a:xfrm>
              <a:off x="306849" y="3078698"/>
              <a:ext cx="32004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Elastic scal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13" name="Group 112"/>
            <p:cNvGrpSpPr/>
            <p:nvPr/>
          </p:nvGrpSpPr>
          <p:grpSpPr>
            <a:xfrm>
              <a:off x="473611" y="4368838"/>
              <a:ext cx="2872205" cy="1717986"/>
              <a:chOff x="313191" y="4096124"/>
              <a:chExt cx="2872205" cy="1717986"/>
            </a:xfrm>
          </p:grpSpPr>
          <p:grpSp>
            <p:nvGrpSpPr>
              <p:cNvPr id="114" name="Group 113"/>
              <p:cNvGrpSpPr>
                <a:grpSpLocks noChangeAspect="1"/>
              </p:cNvGrpSpPr>
              <p:nvPr/>
            </p:nvGrpSpPr>
            <p:grpSpPr>
              <a:xfrm>
                <a:off x="2782015" y="4360362"/>
                <a:ext cx="403381" cy="376649"/>
                <a:chOff x="-5364163" y="-2738437"/>
                <a:chExt cx="4327525" cy="4054475"/>
              </a:xfrm>
              <a:solidFill>
                <a:schemeClr val="accent4"/>
              </a:solidFill>
            </p:grpSpPr>
            <p:sp>
              <p:nvSpPr>
                <p:cNvPr id="14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4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4"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5"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6"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7"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8"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9"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0"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1"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grpSp>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0114" y="5101502"/>
                <a:ext cx="646710" cy="646710"/>
              </a:xfrm>
              <a:prstGeom prst="rect">
                <a:avLst/>
              </a:prstGeom>
            </p:spPr>
          </p:pic>
          <p:grpSp>
            <p:nvGrpSpPr>
              <p:cNvPr id="116" name="Group 115"/>
              <p:cNvGrpSpPr/>
              <p:nvPr/>
            </p:nvGrpSpPr>
            <p:grpSpPr>
              <a:xfrm>
                <a:off x="313191" y="4106750"/>
                <a:ext cx="1392869" cy="1707360"/>
                <a:chOff x="313191" y="4732388"/>
                <a:chExt cx="1392869" cy="1707360"/>
              </a:xfrm>
            </p:grpSpPr>
            <p:grpSp>
              <p:nvGrpSpPr>
                <p:cNvPr id="133" name="Group 132"/>
                <p:cNvGrpSpPr>
                  <a:grpSpLocks noChangeAspect="1"/>
                </p:cNvGrpSpPr>
                <p:nvPr/>
              </p:nvGrpSpPr>
              <p:grpSpPr>
                <a:xfrm>
                  <a:off x="791659" y="4732388"/>
                  <a:ext cx="914401" cy="1187440"/>
                  <a:chOff x="1644407" y="5115540"/>
                  <a:chExt cx="822960" cy="1068695"/>
                </a:xfrm>
              </p:grpSpPr>
              <p:sp>
                <p:nvSpPr>
                  <p:cNvPr id="144" name="Rectangle 143"/>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5" name="Group 144"/>
                  <p:cNvGrpSpPr/>
                  <p:nvPr/>
                </p:nvGrpSpPr>
                <p:grpSpPr>
                  <a:xfrm>
                    <a:off x="1644407" y="5115540"/>
                    <a:ext cx="822960" cy="1068695"/>
                    <a:chOff x="961359" y="2483721"/>
                    <a:chExt cx="822960" cy="1068695"/>
                  </a:xfrm>
                </p:grpSpPr>
                <p:sp>
                  <p:nvSpPr>
                    <p:cNvPr id="146" name="Oval 145"/>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7"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4" name="Group 133"/>
                <p:cNvGrpSpPr>
                  <a:grpSpLocks noChangeAspect="1"/>
                </p:cNvGrpSpPr>
                <p:nvPr/>
              </p:nvGrpSpPr>
              <p:grpSpPr>
                <a:xfrm>
                  <a:off x="552425" y="4994175"/>
                  <a:ext cx="914401" cy="1183785"/>
                  <a:chOff x="1645666" y="5118829"/>
                  <a:chExt cx="822960" cy="1065406"/>
                </a:xfrm>
              </p:grpSpPr>
              <p:sp>
                <p:nvSpPr>
                  <p:cNvPr id="140" name="Rectangle 139"/>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1" name="Group 140"/>
                  <p:cNvGrpSpPr/>
                  <p:nvPr/>
                </p:nvGrpSpPr>
                <p:grpSpPr>
                  <a:xfrm>
                    <a:off x="1645666" y="5118829"/>
                    <a:ext cx="822960" cy="1065406"/>
                    <a:chOff x="962618" y="2487010"/>
                    <a:chExt cx="822960" cy="1065406"/>
                  </a:xfrm>
                </p:grpSpPr>
                <p:sp>
                  <p:nvSpPr>
                    <p:cNvPr id="142" name="Oval 141"/>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3"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5" name="Group 134"/>
                <p:cNvGrpSpPr>
                  <a:grpSpLocks noChangeAspect="1"/>
                </p:cNvGrpSpPr>
                <p:nvPr/>
              </p:nvGrpSpPr>
              <p:grpSpPr>
                <a:xfrm>
                  <a:off x="313191" y="5252308"/>
                  <a:ext cx="914401" cy="1187440"/>
                  <a:chOff x="1625267" y="5096400"/>
                  <a:chExt cx="822960" cy="1068695"/>
                </a:xfrm>
              </p:grpSpPr>
              <p:sp>
                <p:nvSpPr>
                  <p:cNvPr id="136" name="Rectangle 135"/>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7" name="Group 136"/>
                  <p:cNvGrpSpPr/>
                  <p:nvPr/>
                </p:nvGrpSpPr>
                <p:grpSpPr>
                  <a:xfrm>
                    <a:off x="1625267" y="5096400"/>
                    <a:ext cx="822960" cy="1068695"/>
                    <a:chOff x="942219" y="2464581"/>
                    <a:chExt cx="822960" cy="1068695"/>
                  </a:xfrm>
                </p:grpSpPr>
                <p:sp>
                  <p:nvSpPr>
                    <p:cNvPr id="138" name="Oval 137"/>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9" name="Freeform 138"/>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nvGrpSpPr>
              <p:cNvPr id="117" name="Group 116"/>
              <p:cNvGrpSpPr>
                <a:grpSpLocks noChangeAspect="1"/>
              </p:cNvGrpSpPr>
              <p:nvPr/>
            </p:nvGrpSpPr>
            <p:grpSpPr>
              <a:xfrm>
                <a:off x="1886141" y="4096124"/>
                <a:ext cx="822960" cy="1008773"/>
                <a:chOff x="313191" y="4732388"/>
                <a:chExt cx="1392869" cy="1707360"/>
              </a:xfrm>
            </p:grpSpPr>
            <p:grpSp>
              <p:nvGrpSpPr>
                <p:cNvPr id="118" name="Group 117"/>
                <p:cNvGrpSpPr>
                  <a:grpSpLocks noChangeAspect="1"/>
                </p:cNvGrpSpPr>
                <p:nvPr/>
              </p:nvGrpSpPr>
              <p:grpSpPr>
                <a:xfrm>
                  <a:off x="791659" y="4732388"/>
                  <a:ext cx="914401" cy="1187440"/>
                  <a:chOff x="1644407" y="5115540"/>
                  <a:chExt cx="822960" cy="1068695"/>
                </a:xfrm>
              </p:grpSpPr>
              <p:sp>
                <p:nvSpPr>
                  <p:cNvPr id="129" name="Rectangle 128"/>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0" name="Group 129"/>
                  <p:cNvGrpSpPr/>
                  <p:nvPr/>
                </p:nvGrpSpPr>
                <p:grpSpPr>
                  <a:xfrm>
                    <a:off x="1644407" y="5115540"/>
                    <a:ext cx="822960" cy="1068695"/>
                    <a:chOff x="961359" y="2483721"/>
                    <a:chExt cx="822960" cy="1068695"/>
                  </a:xfrm>
                </p:grpSpPr>
                <p:sp>
                  <p:nvSpPr>
                    <p:cNvPr id="131" name="Oval 130"/>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2"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19" name="Group 118"/>
                <p:cNvGrpSpPr>
                  <a:grpSpLocks noChangeAspect="1"/>
                </p:cNvGrpSpPr>
                <p:nvPr/>
              </p:nvGrpSpPr>
              <p:grpSpPr>
                <a:xfrm>
                  <a:off x="552425" y="4994175"/>
                  <a:ext cx="914401" cy="1183785"/>
                  <a:chOff x="1645666" y="5118829"/>
                  <a:chExt cx="822960" cy="1065406"/>
                </a:xfrm>
              </p:grpSpPr>
              <p:sp>
                <p:nvSpPr>
                  <p:cNvPr id="125" name="Rectangle 124"/>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6" name="Group 125"/>
                  <p:cNvGrpSpPr/>
                  <p:nvPr/>
                </p:nvGrpSpPr>
                <p:grpSpPr>
                  <a:xfrm>
                    <a:off x="1645666" y="5118829"/>
                    <a:ext cx="822960" cy="1065406"/>
                    <a:chOff x="962618" y="2487010"/>
                    <a:chExt cx="822960" cy="1065406"/>
                  </a:xfrm>
                </p:grpSpPr>
                <p:sp>
                  <p:nvSpPr>
                    <p:cNvPr id="127" name="Oval 126"/>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8"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20" name="Group 119"/>
                <p:cNvGrpSpPr>
                  <a:grpSpLocks noChangeAspect="1"/>
                </p:cNvGrpSpPr>
                <p:nvPr/>
              </p:nvGrpSpPr>
              <p:grpSpPr>
                <a:xfrm>
                  <a:off x="313191" y="5252308"/>
                  <a:ext cx="914401" cy="1187440"/>
                  <a:chOff x="1625267" y="5096400"/>
                  <a:chExt cx="822960" cy="1068695"/>
                </a:xfrm>
              </p:grpSpPr>
              <p:sp>
                <p:nvSpPr>
                  <p:cNvPr id="121" name="Rectangle 120"/>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1625267" y="5096400"/>
                    <a:ext cx="822960" cy="1068695"/>
                    <a:chOff x="942219" y="2464581"/>
                    <a:chExt cx="822960" cy="1068695"/>
                  </a:xfrm>
                </p:grpSpPr>
                <p:sp>
                  <p:nvSpPr>
                    <p:cNvPr id="123" name="Oval 122"/>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4" name="Freeform 123"/>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grpSp>
      <p:grpSp>
        <p:nvGrpSpPr>
          <p:cNvPr id="162" name="Group 161"/>
          <p:cNvGrpSpPr/>
          <p:nvPr/>
        </p:nvGrpSpPr>
        <p:grpSpPr>
          <a:xfrm>
            <a:off x="7343979" y="3242748"/>
            <a:ext cx="1295117" cy="1071210"/>
            <a:chOff x="7344122" y="3242715"/>
            <a:chExt cx="1295282" cy="1071347"/>
          </a:xfrm>
        </p:grpSpPr>
        <p:sp>
          <p:nvSpPr>
            <p:cNvPr id="1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64" name="1 GEAR"/>
            <p:cNvGrpSpPr>
              <a:grpSpLocks noChangeAspect="1"/>
            </p:cNvGrpSpPr>
            <p:nvPr/>
          </p:nvGrpSpPr>
          <p:grpSpPr>
            <a:xfrm>
              <a:off x="7700649" y="3242715"/>
              <a:ext cx="548640" cy="548640"/>
              <a:chOff x="3427632" y="3858620"/>
              <a:chExt cx="676353" cy="704919"/>
            </a:xfrm>
          </p:grpSpPr>
          <p:sp>
            <p:nvSpPr>
              <p:cNvPr id="165" name="Oval 1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66" name="Freeform 1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67" name="Group 166"/>
          <p:cNvGrpSpPr/>
          <p:nvPr/>
        </p:nvGrpSpPr>
        <p:grpSpPr>
          <a:xfrm>
            <a:off x="4245426" y="3928460"/>
            <a:ext cx="3474276" cy="2749478"/>
            <a:chOff x="4245174" y="3928515"/>
            <a:chExt cx="3474720" cy="2749829"/>
          </a:xfrm>
        </p:grpSpPr>
        <p:sp>
          <p:nvSpPr>
            <p:cNvPr id="168" name="Rectangle 167"/>
            <p:cNvSpPr/>
            <p:nvPr/>
          </p:nvSpPr>
          <p:spPr bwMode="auto">
            <a:xfrm>
              <a:off x="4245174" y="3928515"/>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Powered by the Cloud</a:t>
              </a:r>
            </a:p>
          </p:txBody>
        </p:sp>
        <p:grpSp>
          <p:nvGrpSpPr>
            <p:cNvPr id="169" name="Group 168"/>
            <p:cNvGrpSpPr/>
            <p:nvPr/>
          </p:nvGrpSpPr>
          <p:grpSpPr>
            <a:xfrm>
              <a:off x="4444308" y="5063987"/>
              <a:ext cx="3024528" cy="1614357"/>
              <a:chOff x="4476392" y="4871483"/>
              <a:chExt cx="3024528" cy="1614357"/>
            </a:xfrm>
          </p:grpSpPr>
          <p:grpSp>
            <p:nvGrpSpPr>
              <p:cNvPr id="170" name="Group 169"/>
              <p:cNvGrpSpPr/>
              <p:nvPr/>
            </p:nvGrpSpPr>
            <p:grpSpPr>
              <a:xfrm>
                <a:off x="5125206" y="4871483"/>
                <a:ext cx="2375714" cy="1614357"/>
                <a:chOff x="15516218" y="1242147"/>
                <a:chExt cx="530372" cy="360401"/>
              </a:xfrm>
            </p:grpSpPr>
            <p:sp>
              <p:nvSpPr>
                <p:cNvPr id="176" name="Freeform 175"/>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sp>
              <p:nvSpPr>
                <p:cNvPr id="177" name="Freeform 176"/>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grpSp>
          <p:grpSp>
            <p:nvGrpSpPr>
              <p:cNvPr id="171" name="Group 170"/>
              <p:cNvGrpSpPr/>
              <p:nvPr/>
            </p:nvGrpSpPr>
            <p:grpSpPr>
              <a:xfrm>
                <a:off x="6751676" y="5260858"/>
                <a:ext cx="647396" cy="697154"/>
                <a:chOff x="6671466" y="5260858"/>
                <a:chExt cx="647396" cy="697154"/>
              </a:xfrm>
            </p:grpSpPr>
            <p:sp>
              <p:nvSpPr>
                <p:cNvPr id="174" name="Oval 173"/>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75" name="Freeform 174"/>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pic>
            <p:nvPicPr>
              <p:cNvPr id="172" name="Picture 1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173" name="Picture 172"/>
              <p:cNvPicPr>
                <a:picLocks noChangeAspect="1"/>
              </p:cNvPicPr>
              <p:nvPr/>
            </p:nvPicPr>
            <p:blipFill>
              <a:blip r:embed="rId5">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178" name="Group 177"/>
          <p:cNvGrpSpPr/>
          <p:nvPr/>
        </p:nvGrpSpPr>
        <p:grpSpPr>
          <a:xfrm>
            <a:off x="8486014" y="3046670"/>
            <a:ext cx="3474276" cy="2995692"/>
            <a:chOff x="8486303" y="3046613"/>
            <a:chExt cx="3474720" cy="2996074"/>
          </a:xfrm>
        </p:grpSpPr>
        <p:sp>
          <p:nvSpPr>
            <p:cNvPr id="179" name="Rectangle 178"/>
            <p:cNvSpPr/>
            <p:nvPr/>
          </p:nvSpPr>
          <p:spPr bwMode="auto">
            <a:xfrm>
              <a:off x="8486303" y="3046613"/>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Market Leading Pric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80" name="Group 179"/>
            <p:cNvGrpSpPr/>
            <p:nvPr/>
          </p:nvGrpSpPr>
          <p:grpSpPr>
            <a:xfrm>
              <a:off x="8988092" y="4412976"/>
              <a:ext cx="2446666" cy="1629711"/>
              <a:chOff x="9292890" y="4193911"/>
              <a:chExt cx="2446666" cy="1629711"/>
            </a:xfrm>
          </p:grpSpPr>
          <p:sp>
            <p:nvSpPr>
              <p:cNvPr id="181" name="Freeform 18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a:p>
                <a:pPr>
                  <a:defRPr/>
                </a:pPr>
                <a:endParaRPr lang="en-US" sz="1764">
                  <a:solidFill>
                    <a:prstClr val="black"/>
                  </a:solidFill>
                </a:endParaRPr>
              </a:p>
            </p:txBody>
          </p:sp>
          <p:pic>
            <p:nvPicPr>
              <p:cNvPr id="182" name="Picture 181"/>
              <p:cNvPicPr>
                <a:picLocks noChangeAspect="1"/>
              </p:cNvPicPr>
              <p:nvPr/>
            </p:nvPicPr>
            <p:blipFill>
              <a:blip r:embed="rId6"/>
              <a:stretch>
                <a:fillRect/>
              </a:stretch>
            </p:blipFill>
            <p:spPr>
              <a:xfrm>
                <a:off x="9292890" y="4482669"/>
                <a:ext cx="1867762" cy="1340953"/>
              </a:xfrm>
              <a:prstGeom prst="rect">
                <a:avLst/>
              </a:prstGeom>
            </p:spPr>
          </p:pic>
        </p:grpSp>
      </p:grpSp>
    </p:spTree>
    <p:extLst>
      <p:ext uri="{BB962C8B-B14F-4D97-AF65-F5344CB8AC3E}">
        <p14:creationId xmlns:p14="http://schemas.microsoft.com/office/powerpoint/2010/main" val="31802061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wipe(left)">
                                      <p:cBhvr>
                                        <p:cTn id="12" dur="500"/>
                                        <p:tgtEl>
                                          <p:spTgt spid="10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67"/>
                                        </p:tgtEl>
                                        <p:attrNameLst>
                                          <p:attrName>style.visibility</p:attrName>
                                        </p:attrNameLst>
                                      </p:cBhvr>
                                      <p:to>
                                        <p:strVal val="visible"/>
                                      </p:to>
                                    </p:set>
                                    <p:animEffect transition="in" filter="fade">
                                      <p:cBhvr>
                                        <p:cTn id="16" dur="500"/>
                                        <p:tgtEl>
                                          <p:spTgt spid="16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wipe(left)">
                                      <p:cBhvr>
                                        <p:cTn id="21" dur="500"/>
                                        <p:tgtEl>
                                          <p:spTgt spid="162"/>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8"/>
                                        </p:tgtEl>
                                        <p:attrNameLst>
                                          <p:attrName>style.visibility</p:attrName>
                                        </p:attrNameLst>
                                      </p:cBhvr>
                                      <p:to>
                                        <p:strVal val="visible"/>
                                      </p:to>
                                    </p:set>
                                    <p:animEffect transition="in" filter="fade">
                                      <p:cBhvr>
                                        <p:cTn id="25"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716931" y="1265014"/>
            <a:ext cx="5827945" cy="5445779"/>
          </a:xfrm>
          <a:prstGeom prst="rect">
            <a:avLst/>
          </a:prstGeom>
          <a:solidFill>
            <a:srgbClr val="FFFFFF">
              <a:alpha val="40000"/>
            </a:srgbClr>
          </a:solid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000">
              <a:defRPr/>
            </a:pPr>
            <a:endParaRPr lang="en-US" sz="1530" kern="0">
              <a:solidFill>
                <a:schemeClr val="bg1"/>
              </a:solidFill>
            </a:endParaRPr>
          </a:p>
        </p:txBody>
      </p:sp>
      <p:sp>
        <p:nvSpPr>
          <p:cNvPr id="2" name="Title 1"/>
          <p:cNvSpPr>
            <a:spLocks noGrp="1"/>
          </p:cNvSpPr>
          <p:nvPr>
            <p:ph type="title"/>
          </p:nvPr>
        </p:nvSpPr>
        <p:spPr/>
        <p:txBody>
          <a:bodyPr vert="horz" wrap="square" lIns="146304" tIns="91440" rIns="146304" bIns="91440" rtlCol="0" anchor="t">
            <a:noAutofit/>
          </a:bodyPr>
          <a:lstStyle/>
          <a:p>
            <a:r>
              <a:rPr lang="en-US" b="1"/>
              <a:t>Big Data / Hadoop in Azure</a:t>
            </a:r>
          </a:p>
        </p:txBody>
      </p:sp>
      <p:sp>
        <p:nvSpPr>
          <p:cNvPr id="22" name="Rectangle 21"/>
          <p:cNvSpPr/>
          <p:nvPr/>
        </p:nvSpPr>
        <p:spPr>
          <a:xfrm>
            <a:off x="4911196" y="5447449"/>
            <a:ext cx="5478266" cy="1049531"/>
          </a:xfrm>
          <a:prstGeom prst="rect">
            <a:avLst/>
          </a:prstGeom>
          <a:solidFill>
            <a:srgbClr val="002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defTabSz="777000">
              <a:defRPr/>
            </a:pPr>
            <a:r>
              <a:rPr lang="en-US" sz="2379" b="1" kern="0">
                <a:solidFill>
                  <a:schemeClr val="tx1"/>
                </a:solidFill>
                <a:latin typeface="+mj-lt"/>
              </a:rPr>
              <a:t>Azure Data Lake Store</a:t>
            </a:r>
          </a:p>
        </p:txBody>
      </p:sp>
      <p:cxnSp>
        <p:nvCxnSpPr>
          <p:cNvPr id="7" name="Straight Connector 6"/>
          <p:cNvCxnSpPr/>
          <p:nvPr/>
        </p:nvCxnSpPr>
        <p:spPr>
          <a:xfrm>
            <a:off x="1840494" y="5081438"/>
            <a:ext cx="9246204" cy="0"/>
          </a:xfrm>
          <a:prstGeom prst="line">
            <a:avLst/>
          </a:pr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cxnSp>
      <p:sp>
        <p:nvSpPr>
          <p:cNvPr id="25" name="Rectangle 24"/>
          <p:cNvSpPr/>
          <p:nvPr/>
        </p:nvSpPr>
        <p:spPr>
          <a:xfrm>
            <a:off x="4911196" y="6032360"/>
            <a:ext cx="5478266" cy="465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360" kern="0">
                <a:solidFill>
                  <a:schemeClr val="tx1"/>
                </a:solidFill>
                <a:latin typeface="+mj-lt"/>
              </a:rPr>
              <a:t>Hyper-scale Storage optimized for analytics</a:t>
            </a:r>
          </a:p>
        </p:txBody>
      </p:sp>
      <p:sp>
        <p:nvSpPr>
          <p:cNvPr id="26" name="Rectangle 25"/>
          <p:cNvSpPr/>
          <p:nvPr/>
        </p:nvSpPr>
        <p:spPr>
          <a:xfrm>
            <a:off x="4922395" y="1265014"/>
            <a:ext cx="5478266"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2719" kern="0">
                <a:solidFill>
                  <a:schemeClr val="bg1">
                    <a:lumMod val="75000"/>
                  </a:schemeClr>
                </a:solidFill>
              </a:rPr>
              <a:t>Azure Data Lake</a:t>
            </a:r>
          </a:p>
        </p:txBody>
      </p:sp>
      <p:sp>
        <p:nvSpPr>
          <p:cNvPr id="36" name="Rectangle 35"/>
          <p:cNvSpPr/>
          <p:nvPr/>
        </p:nvSpPr>
        <p:spPr>
          <a:xfrm>
            <a:off x="1958372" y="1777673"/>
            <a:ext cx="2331177" cy="310462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IaaS Hadoop</a:t>
            </a:r>
          </a:p>
        </p:txBody>
      </p:sp>
      <p:sp>
        <p:nvSpPr>
          <p:cNvPr id="37" name="Rectangle 36"/>
          <p:cNvSpPr/>
          <p:nvPr/>
        </p:nvSpPr>
        <p:spPr>
          <a:xfrm>
            <a:off x="1948147" y="4123817"/>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Install Hadoop distros on Azure VMs</a:t>
            </a:r>
          </a:p>
        </p:txBody>
      </p:sp>
      <p:sp>
        <p:nvSpPr>
          <p:cNvPr id="38" name="Rectangle 37"/>
          <p:cNvSpPr/>
          <p:nvPr/>
        </p:nvSpPr>
        <p:spPr>
          <a:xfrm>
            <a:off x="1958372" y="5447448"/>
            <a:ext cx="2331177" cy="104953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2379" kern="0">
                <a:solidFill>
                  <a:schemeClr val="tx1"/>
                </a:solidFill>
                <a:latin typeface="+mj-lt"/>
              </a:rPr>
              <a:t>Blob Storage</a:t>
            </a:r>
          </a:p>
        </p:txBody>
      </p:sp>
      <p:grpSp>
        <p:nvGrpSpPr>
          <p:cNvPr id="46" name="Group 45">
            <a:extLst>
              <a:ext uri="{FF2B5EF4-FFF2-40B4-BE49-F238E27FC236}">
                <a16:creationId xmlns:a16="http://schemas.microsoft.com/office/drawing/2014/main" id="{B03BCA23-6B39-48CF-8242-154F59D39000}"/>
              </a:ext>
            </a:extLst>
          </p:cNvPr>
          <p:cNvGrpSpPr/>
          <p:nvPr/>
        </p:nvGrpSpPr>
        <p:grpSpPr>
          <a:xfrm>
            <a:off x="5039188" y="1777673"/>
            <a:ext cx="2331177" cy="3217886"/>
            <a:chOff x="4911196" y="1777673"/>
            <a:chExt cx="2331177" cy="3217886"/>
          </a:xfrm>
        </p:grpSpPr>
        <p:sp>
          <p:nvSpPr>
            <p:cNvPr id="17" name="Rectangle 16"/>
            <p:cNvSpPr/>
            <p:nvPr/>
          </p:nvSpPr>
          <p:spPr>
            <a:xfrm>
              <a:off x="4911196" y="1777673"/>
              <a:ext cx="2331177" cy="3104622"/>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HDInsight</a:t>
              </a:r>
            </a:p>
          </p:txBody>
        </p:sp>
        <p:sp>
          <p:nvSpPr>
            <p:cNvPr id="5" name="Rectangle 4"/>
            <p:cNvSpPr/>
            <p:nvPr/>
          </p:nvSpPr>
          <p:spPr>
            <a:xfrm>
              <a:off x="4911196" y="4289350"/>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Azure-managed Hadoop clusters</a:t>
              </a:r>
            </a:p>
          </p:txBody>
        </p:sp>
        <p:sp>
          <p:nvSpPr>
            <p:cNvPr id="32" name="Rectangle 31"/>
            <p:cNvSpPr/>
            <p:nvPr/>
          </p:nvSpPr>
          <p:spPr>
            <a:xfrm>
              <a:off x="5367950" y="2905150"/>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1360" kern="0">
                  <a:solidFill>
                    <a:schemeClr val="bg1"/>
                  </a:solidFill>
                  <a:latin typeface="+mj-lt"/>
                </a:rPr>
                <a:t>Hadoop</a:t>
              </a:r>
            </a:p>
          </p:txBody>
        </p:sp>
        <p:sp>
          <p:nvSpPr>
            <p:cNvPr id="33" name="Rectangle 32"/>
            <p:cNvSpPr/>
            <p:nvPr/>
          </p:nvSpPr>
          <p:spPr>
            <a:xfrm>
              <a:off x="5367950" y="3260986"/>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park</a:t>
              </a:r>
            </a:p>
          </p:txBody>
        </p:sp>
        <p:sp>
          <p:nvSpPr>
            <p:cNvPr id="34" name="Rectangle 33"/>
            <p:cNvSpPr/>
            <p:nvPr/>
          </p:nvSpPr>
          <p:spPr>
            <a:xfrm>
              <a:off x="5367950" y="3616822"/>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err="1">
                  <a:solidFill>
                    <a:schemeClr val="bg1"/>
                  </a:solidFill>
                  <a:latin typeface="+mj-lt"/>
                </a:rPr>
                <a:t>HBase</a:t>
              </a:r>
              <a:endParaRPr lang="en-US" sz="1360" kern="0">
                <a:solidFill>
                  <a:schemeClr val="bg1"/>
                </a:solidFill>
                <a:latin typeface="+mj-lt"/>
              </a:endParaRPr>
            </a:p>
          </p:txBody>
        </p:sp>
        <p:sp>
          <p:nvSpPr>
            <p:cNvPr id="35" name="Rectangle 34"/>
            <p:cNvSpPr/>
            <p:nvPr/>
          </p:nvSpPr>
          <p:spPr>
            <a:xfrm>
              <a:off x="5367950" y="3972658"/>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torm</a:t>
              </a:r>
            </a:p>
          </p:txBody>
        </p:sp>
        <p:grpSp>
          <p:nvGrpSpPr>
            <p:cNvPr id="28" name="Group 27"/>
            <p:cNvGrpSpPr/>
            <p:nvPr/>
          </p:nvGrpSpPr>
          <p:grpSpPr>
            <a:xfrm>
              <a:off x="5709257" y="2211649"/>
              <a:ext cx="748928" cy="544468"/>
              <a:chOff x="3365500" y="4116388"/>
              <a:chExt cx="1570037" cy="1141413"/>
            </a:xfrm>
          </p:grpSpPr>
          <p:sp>
            <p:nvSpPr>
              <p:cNvPr id="29" name="Freeform 49"/>
              <p:cNvSpPr>
                <a:spLocks noEditPoints="1"/>
              </p:cNvSpPr>
              <p:nvPr/>
            </p:nvSpPr>
            <p:spPr bwMode="auto">
              <a:xfrm>
                <a:off x="3365500" y="4116388"/>
                <a:ext cx="1570037" cy="1141413"/>
              </a:xfrm>
              <a:custGeom>
                <a:avLst/>
                <a:gdLst>
                  <a:gd name="T0" fmla="*/ 6137 w 14832"/>
                  <a:gd name="T1" fmla="*/ 8965 h 10783"/>
                  <a:gd name="T2" fmla="*/ 5781 w 14832"/>
                  <a:gd name="T3" fmla="*/ 8730 h 10783"/>
                  <a:gd name="T4" fmla="*/ 4083 w 14832"/>
                  <a:gd name="T5" fmla="*/ 8216 h 10783"/>
                  <a:gd name="T6" fmla="*/ 3755 w 14832"/>
                  <a:gd name="T7" fmla="*/ 9972 h 10783"/>
                  <a:gd name="T8" fmla="*/ 2687 w 14832"/>
                  <a:gd name="T9" fmla="*/ 10607 h 10783"/>
                  <a:gd name="T10" fmla="*/ 2102 w 14832"/>
                  <a:gd name="T11" fmla="*/ 9104 h 10783"/>
                  <a:gd name="T12" fmla="*/ 1235 w 14832"/>
                  <a:gd name="T13" fmla="*/ 7273 h 10783"/>
                  <a:gd name="T14" fmla="*/ 1127 w 14832"/>
                  <a:gd name="T15" fmla="*/ 5308 h 10783"/>
                  <a:gd name="T16" fmla="*/ 149 w 14832"/>
                  <a:gd name="T17" fmla="*/ 4605 h 10783"/>
                  <a:gd name="T18" fmla="*/ 474 w 14832"/>
                  <a:gd name="T19" fmla="*/ 3575 h 10783"/>
                  <a:gd name="T20" fmla="*/ 555 w 14832"/>
                  <a:gd name="T21" fmla="*/ 4279 h 10783"/>
                  <a:gd name="T22" fmla="*/ 802 w 14832"/>
                  <a:gd name="T23" fmla="*/ 4830 h 10783"/>
                  <a:gd name="T24" fmla="*/ 3031 w 14832"/>
                  <a:gd name="T25" fmla="*/ 2802 h 10783"/>
                  <a:gd name="T26" fmla="*/ 4406 w 14832"/>
                  <a:gd name="T27" fmla="*/ 2558 h 10783"/>
                  <a:gd name="T28" fmla="*/ 3081 w 14832"/>
                  <a:gd name="T29" fmla="*/ 4642 h 10783"/>
                  <a:gd name="T30" fmla="*/ 3562 w 14832"/>
                  <a:gd name="T31" fmla="*/ 6571 h 10783"/>
                  <a:gd name="T32" fmla="*/ 5629 w 14832"/>
                  <a:gd name="T33" fmla="*/ 7092 h 10783"/>
                  <a:gd name="T34" fmla="*/ 7380 w 14832"/>
                  <a:gd name="T35" fmla="*/ 6723 h 10783"/>
                  <a:gd name="T36" fmla="*/ 7361 w 14832"/>
                  <a:gd name="T37" fmla="*/ 3984 h 10783"/>
                  <a:gd name="T38" fmla="*/ 7094 w 14832"/>
                  <a:gd name="T39" fmla="*/ 4285 h 10783"/>
                  <a:gd name="T40" fmla="*/ 6987 w 14832"/>
                  <a:gd name="T41" fmla="*/ 6290 h 10783"/>
                  <a:gd name="T42" fmla="*/ 4952 w 14832"/>
                  <a:gd name="T43" fmla="*/ 6982 h 10783"/>
                  <a:gd name="T44" fmla="*/ 4056 w 14832"/>
                  <a:gd name="T45" fmla="*/ 5494 h 10783"/>
                  <a:gd name="T46" fmla="*/ 3995 w 14832"/>
                  <a:gd name="T47" fmla="*/ 3516 h 10783"/>
                  <a:gd name="T48" fmla="*/ 7034 w 14832"/>
                  <a:gd name="T49" fmla="*/ 1324 h 10783"/>
                  <a:gd name="T50" fmla="*/ 6734 w 14832"/>
                  <a:gd name="T51" fmla="*/ 796 h 10783"/>
                  <a:gd name="T52" fmla="*/ 9460 w 14832"/>
                  <a:gd name="T53" fmla="*/ 64 h 10783"/>
                  <a:gd name="T54" fmla="*/ 10600 w 14832"/>
                  <a:gd name="T55" fmla="*/ 1459 h 10783"/>
                  <a:gd name="T56" fmla="*/ 11843 w 14832"/>
                  <a:gd name="T57" fmla="*/ 2300 h 10783"/>
                  <a:gd name="T58" fmla="*/ 11532 w 14832"/>
                  <a:gd name="T59" fmla="*/ 2526 h 10783"/>
                  <a:gd name="T60" fmla="*/ 11978 w 14832"/>
                  <a:gd name="T61" fmla="*/ 2994 h 10783"/>
                  <a:gd name="T62" fmla="*/ 12447 w 14832"/>
                  <a:gd name="T63" fmla="*/ 3355 h 10783"/>
                  <a:gd name="T64" fmla="*/ 12276 w 14832"/>
                  <a:gd name="T65" fmla="*/ 4544 h 10783"/>
                  <a:gd name="T66" fmla="*/ 12767 w 14832"/>
                  <a:gd name="T67" fmla="*/ 2092 h 10783"/>
                  <a:gd name="T68" fmla="*/ 13588 w 14832"/>
                  <a:gd name="T69" fmla="*/ 903 h 10783"/>
                  <a:gd name="T70" fmla="*/ 14461 w 14832"/>
                  <a:gd name="T71" fmla="*/ 947 h 10783"/>
                  <a:gd name="T72" fmla="*/ 14687 w 14832"/>
                  <a:gd name="T73" fmla="*/ 4434 h 10783"/>
                  <a:gd name="T74" fmla="*/ 12655 w 14832"/>
                  <a:gd name="T75" fmla="*/ 6662 h 10783"/>
                  <a:gd name="T76" fmla="*/ 10066 w 14832"/>
                  <a:gd name="T77" fmla="*/ 5712 h 10783"/>
                  <a:gd name="T78" fmla="*/ 9782 w 14832"/>
                  <a:gd name="T79" fmla="*/ 6353 h 10783"/>
                  <a:gd name="T80" fmla="*/ 11061 w 14832"/>
                  <a:gd name="T81" fmla="*/ 6977 h 10783"/>
                  <a:gd name="T82" fmla="*/ 10590 w 14832"/>
                  <a:gd name="T83" fmla="*/ 7698 h 10783"/>
                  <a:gd name="T84" fmla="*/ 8473 w 14832"/>
                  <a:gd name="T85" fmla="*/ 6622 h 10783"/>
                  <a:gd name="T86" fmla="*/ 8937 w 14832"/>
                  <a:gd name="T87" fmla="*/ 7279 h 10783"/>
                  <a:gd name="T88" fmla="*/ 8191 w 14832"/>
                  <a:gd name="T89" fmla="*/ 9163 h 10783"/>
                  <a:gd name="T90" fmla="*/ 6136 w 14832"/>
                  <a:gd name="T91" fmla="*/ 10756 h 10783"/>
                  <a:gd name="T92" fmla="*/ 10735 w 14832"/>
                  <a:gd name="T93" fmla="*/ 3102 h 10783"/>
                  <a:gd name="T94" fmla="*/ 10340 w 14832"/>
                  <a:gd name="T95" fmla="*/ 3073 h 10783"/>
                  <a:gd name="T96" fmla="*/ 10320 w 14832"/>
                  <a:gd name="T97" fmla="*/ 2657 h 10783"/>
                  <a:gd name="T98" fmla="*/ 9155 w 14832"/>
                  <a:gd name="T99" fmla="*/ 3323 h 10783"/>
                  <a:gd name="T100" fmla="*/ 9337 w 14832"/>
                  <a:gd name="T101" fmla="*/ 3385 h 10783"/>
                  <a:gd name="T102" fmla="*/ 9442 w 14832"/>
                  <a:gd name="T103" fmla="*/ 4031 h 10783"/>
                  <a:gd name="T104" fmla="*/ 6076 w 14832"/>
                  <a:gd name="T105" fmla="*/ 2490 h 10783"/>
                  <a:gd name="T106" fmla="*/ 6189 w 14832"/>
                  <a:gd name="T107" fmla="*/ 3093 h 10783"/>
                  <a:gd name="T108" fmla="*/ 7467 w 14832"/>
                  <a:gd name="T109" fmla="*/ 1842 h 10783"/>
                  <a:gd name="T110" fmla="*/ 6249 w 14832"/>
                  <a:gd name="T111" fmla="*/ 2025 h 10783"/>
                  <a:gd name="T112" fmla="*/ 5392 w 14832"/>
                  <a:gd name="T113" fmla="*/ 3950 h 10783"/>
                  <a:gd name="T114" fmla="*/ 9358 w 14832"/>
                  <a:gd name="T115" fmla="*/ 1916 h 10783"/>
                  <a:gd name="T116" fmla="*/ 8711 w 14832"/>
                  <a:gd name="T117" fmla="*/ 1875 h 10783"/>
                  <a:gd name="T118" fmla="*/ 8633 w 14832"/>
                  <a:gd name="T119" fmla="*/ 2505 h 10783"/>
                  <a:gd name="T120" fmla="*/ 13968 w 14832"/>
                  <a:gd name="T121" fmla="*/ 680 h 10783"/>
                  <a:gd name="T122" fmla="*/ 12994 w 14832"/>
                  <a:gd name="T123" fmla="*/ 1432 h 10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32" h="10783">
                    <a:moveTo>
                      <a:pt x="5570" y="10190"/>
                    </a:moveTo>
                    <a:lnTo>
                      <a:pt x="5549" y="10163"/>
                    </a:lnTo>
                    <a:lnTo>
                      <a:pt x="5529" y="10136"/>
                    </a:lnTo>
                    <a:lnTo>
                      <a:pt x="5510" y="10110"/>
                    </a:lnTo>
                    <a:lnTo>
                      <a:pt x="5491" y="10084"/>
                    </a:lnTo>
                    <a:lnTo>
                      <a:pt x="5458" y="10035"/>
                    </a:lnTo>
                    <a:lnTo>
                      <a:pt x="5429" y="9987"/>
                    </a:lnTo>
                    <a:lnTo>
                      <a:pt x="5403" y="9943"/>
                    </a:lnTo>
                    <a:lnTo>
                      <a:pt x="5381" y="9901"/>
                    </a:lnTo>
                    <a:lnTo>
                      <a:pt x="5363" y="9860"/>
                    </a:lnTo>
                    <a:lnTo>
                      <a:pt x="5347" y="9822"/>
                    </a:lnTo>
                    <a:lnTo>
                      <a:pt x="5335" y="9784"/>
                    </a:lnTo>
                    <a:lnTo>
                      <a:pt x="5327" y="9749"/>
                    </a:lnTo>
                    <a:lnTo>
                      <a:pt x="5321" y="9716"/>
                    </a:lnTo>
                    <a:lnTo>
                      <a:pt x="5317" y="9686"/>
                    </a:lnTo>
                    <a:lnTo>
                      <a:pt x="5316" y="9656"/>
                    </a:lnTo>
                    <a:lnTo>
                      <a:pt x="5319" y="9627"/>
                    </a:lnTo>
                    <a:lnTo>
                      <a:pt x="5323" y="9600"/>
                    </a:lnTo>
                    <a:lnTo>
                      <a:pt x="5329" y="9575"/>
                    </a:lnTo>
                    <a:lnTo>
                      <a:pt x="5337" y="9551"/>
                    </a:lnTo>
                    <a:lnTo>
                      <a:pt x="5347" y="9528"/>
                    </a:lnTo>
                    <a:lnTo>
                      <a:pt x="5360" y="9505"/>
                    </a:lnTo>
                    <a:lnTo>
                      <a:pt x="5373" y="9485"/>
                    </a:lnTo>
                    <a:lnTo>
                      <a:pt x="5388" y="9465"/>
                    </a:lnTo>
                    <a:lnTo>
                      <a:pt x="5404" y="9447"/>
                    </a:lnTo>
                    <a:lnTo>
                      <a:pt x="5421" y="9428"/>
                    </a:lnTo>
                    <a:lnTo>
                      <a:pt x="5439" y="9411"/>
                    </a:lnTo>
                    <a:lnTo>
                      <a:pt x="5479" y="9378"/>
                    </a:lnTo>
                    <a:lnTo>
                      <a:pt x="5519" y="9346"/>
                    </a:lnTo>
                    <a:lnTo>
                      <a:pt x="5561" y="9316"/>
                    </a:lnTo>
                    <a:lnTo>
                      <a:pt x="5602" y="9287"/>
                    </a:lnTo>
                    <a:lnTo>
                      <a:pt x="5685" y="9242"/>
                    </a:lnTo>
                    <a:lnTo>
                      <a:pt x="5769" y="9198"/>
                    </a:lnTo>
                    <a:lnTo>
                      <a:pt x="5809" y="9178"/>
                    </a:lnTo>
                    <a:lnTo>
                      <a:pt x="5849" y="9158"/>
                    </a:lnTo>
                    <a:lnTo>
                      <a:pt x="5888" y="9139"/>
                    </a:lnTo>
                    <a:lnTo>
                      <a:pt x="5926" y="9119"/>
                    </a:lnTo>
                    <a:lnTo>
                      <a:pt x="5961" y="9101"/>
                    </a:lnTo>
                    <a:lnTo>
                      <a:pt x="5995" y="9082"/>
                    </a:lnTo>
                    <a:lnTo>
                      <a:pt x="6026" y="9063"/>
                    </a:lnTo>
                    <a:lnTo>
                      <a:pt x="6054" y="9046"/>
                    </a:lnTo>
                    <a:lnTo>
                      <a:pt x="6078" y="9027"/>
                    </a:lnTo>
                    <a:lnTo>
                      <a:pt x="6100" y="9010"/>
                    </a:lnTo>
                    <a:lnTo>
                      <a:pt x="6119" y="8992"/>
                    </a:lnTo>
                    <a:lnTo>
                      <a:pt x="6126" y="8984"/>
                    </a:lnTo>
                    <a:lnTo>
                      <a:pt x="6132" y="8975"/>
                    </a:lnTo>
                    <a:lnTo>
                      <a:pt x="6137" y="8965"/>
                    </a:lnTo>
                    <a:lnTo>
                      <a:pt x="6142" y="8952"/>
                    </a:lnTo>
                    <a:lnTo>
                      <a:pt x="6147" y="8937"/>
                    </a:lnTo>
                    <a:lnTo>
                      <a:pt x="6152" y="8919"/>
                    </a:lnTo>
                    <a:lnTo>
                      <a:pt x="6155" y="8901"/>
                    </a:lnTo>
                    <a:lnTo>
                      <a:pt x="6158" y="8879"/>
                    </a:lnTo>
                    <a:lnTo>
                      <a:pt x="6161" y="8855"/>
                    </a:lnTo>
                    <a:lnTo>
                      <a:pt x="6163" y="8832"/>
                    </a:lnTo>
                    <a:lnTo>
                      <a:pt x="6165" y="8805"/>
                    </a:lnTo>
                    <a:lnTo>
                      <a:pt x="6167" y="8778"/>
                    </a:lnTo>
                    <a:lnTo>
                      <a:pt x="6168" y="8749"/>
                    </a:lnTo>
                    <a:lnTo>
                      <a:pt x="6169" y="8720"/>
                    </a:lnTo>
                    <a:lnTo>
                      <a:pt x="6170" y="8660"/>
                    </a:lnTo>
                    <a:lnTo>
                      <a:pt x="6171" y="8597"/>
                    </a:lnTo>
                    <a:lnTo>
                      <a:pt x="6170" y="8534"/>
                    </a:lnTo>
                    <a:lnTo>
                      <a:pt x="6169" y="8472"/>
                    </a:lnTo>
                    <a:lnTo>
                      <a:pt x="6168" y="8413"/>
                    </a:lnTo>
                    <a:lnTo>
                      <a:pt x="6167" y="8385"/>
                    </a:lnTo>
                    <a:lnTo>
                      <a:pt x="6167" y="8357"/>
                    </a:lnTo>
                    <a:lnTo>
                      <a:pt x="6166" y="8331"/>
                    </a:lnTo>
                    <a:lnTo>
                      <a:pt x="6165" y="8306"/>
                    </a:lnTo>
                    <a:lnTo>
                      <a:pt x="6165" y="8283"/>
                    </a:lnTo>
                    <a:lnTo>
                      <a:pt x="6164" y="8262"/>
                    </a:lnTo>
                    <a:lnTo>
                      <a:pt x="6164" y="8241"/>
                    </a:lnTo>
                    <a:lnTo>
                      <a:pt x="6163" y="8224"/>
                    </a:lnTo>
                    <a:lnTo>
                      <a:pt x="6163" y="8210"/>
                    </a:lnTo>
                    <a:lnTo>
                      <a:pt x="6163" y="8196"/>
                    </a:lnTo>
                    <a:lnTo>
                      <a:pt x="6160" y="8220"/>
                    </a:lnTo>
                    <a:lnTo>
                      <a:pt x="6155" y="8245"/>
                    </a:lnTo>
                    <a:lnTo>
                      <a:pt x="6150" y="8270"/>
                    </a:lnTo>
                    <a:lnTo>
                      <a:pt x="6142" y="8296"/>
                    </a:lnTo>
                    <a:lnTo>
                      <a:pt x="6134" y="8322"/>
                    </a:lnTo>
                    <a:lnTo>
                      <a:pt x="6124" y="8349"/>
                    </a:lnTo>
                    <a:lnTo>
                      <a:pt x="6112" y="8376"/>
                    </a:lnTo>
                    <a:lnTo>
                      <a:pt x="6100" y="8403"/>
                    </a:lnTo>
                    <a:lnTo>
                      <a:pt x="6087" y="8431"/>
                    </a:lnTo>
                    <a:lnTo>
                      <a:pt x="6070" y="8459"/>
                    </a:lnTo>
                    <a:lnTo>
                      <a:pt x="6054" y="8486"/>
                    </a:lnTo>
                    <a:lnTo>
                      <a:pt x="6034" y="8512"/>
                    </a:lnTo>
                    <a:lnTo>
                      <a:pt x="6013" y="8539"/>
                    </a:lnTo>
                    <a:lnTo>
                      <a:pt x="5992" y="8566"/>
                    </a:lnTo>
                    <a:lnTo>
                      <a:pt x="5967" y="8592"/>
                    </a:lnTo>
                    <a:lnTo>
                      <a:pt x="5941" y="8616"/>
                    </a:lnTo>
                    <a:lnTo>
                      <a:pt x="5913" y="8641"/>
                    </a:lnTo>
                    <a:lnTo>
                      <a:pt x="5883" y="8665"/>
                    </a:lnTo>
                    <a:lnTo>
                      <a:pt x="5851" y="8687"/>
                    </a:lnTo>
                    <a:lnTo>
                      <a:pt x="5817" y="8709"/>
                    </a:lnTo>
                    <a:lnTo>
                      <a:pt x="5781" y="8730"/>
                    </a:lnTo>
                    <a:lnTo>
                      <a:pt x="5742" y="8748"/>
                    </a:lnTo>
                    <a:lnTo>
                      <a:pt x="5702" y="8767"/>
                    </a:lnTo>
                    <a:lnTo>
                      <a:pt x="5659" y="8783"/>
                    </a:lnTo>
                    <a:lnTo>
                      <a:pt x="5614" y="8798"/>
                    </a:lnTo>
                    <a:lnTo>
                      <a:pt x="5566" y="8811"/>
                    </a:lnTo>
                    <a:lnTo>
                      <a:pt x="5516" y="8822"/>
                    </a:lnTo>
                    <a:lnTo>
                      <a:pt x="5463" y="8833"/>
                    </a:lnTo>
                    <a:lnTo>
                      <a:pt x="5408" y="8840"/>
                    </a:lnTo>
                    <a:lnTo>
                      <a:pt x="5351" y="8846"/>
                    </a:lnTo>
                    <a:lnTo>
                      <a:pt x="5291" y="8849"/>
                    </a:lnTo>
                    <a:lnTo>
                      <a:pt x="5228" y="8850"/>
                    </a:lnTo>
                    <a:lnTo>
                      <a:pt x="5166" y="8850"/>
                    </a:lnTo>
                    <a:lnTo>
                      <a:pt x="5088" y="8846"/>
                    </a:lnTo>
                    <a:lnTo>
                      <a:pt x="5015" y="8839"/>
                    </a:lnTo>
                    <a:lnTo>
                      <a:pt x="4945" y="8829"/>
                    </a:lnTo>
                    <a:lnTo>
                      <a:pt x="4879" y="8815"/>
                    </a:lnTo>
                    <a:lnTo>
                      <a:pt x="4816" y="8801"/>
                    </a:lnTo>
                    <a:lnTo>
                      <a:pt x="4755" y="8783"/>
                    </a:lnTo>
                    <a:lnTo>
                      <a:pt x="4698" y="8764"/>
                    </a:lnTo>
                    <a:lnTo>
                      <a:pt x="4644" y="8743"/>
                    </a:lnTo>
                    <a:lnTo>
                      <a:pt x="4594" y="8719"/>
                    </a:lnTo>
                    <a:lnTo>
                      <a:pt x="4546" y="8696"/>
                    </a:lnTo>
                    <a:lnTo>
                      <a:pt x="4501" y="8670"/>
                    </a:lnTo>
                    <a:lnTo>
                      <a:pt x="4459" y="8643"/>
                    </a:lnTo>
                    <a:lnTo>
                      <a:pt x="4419" y="8614"/>
                    </a:lnTo>
                    <a:lnTo>
                      <a:pt x="4382" y="8587"/>
                    </a:lnTo>
                    <a:lnTo>
                      <a:pt x="4348" y="8557"/>
                    </a:lnTo>
                    <a:lnTo>
                      <a:pt x="4316" y="8527"/>
                    </a:lnTo>
                    <a:lnTo>
                      <a:pt x="4287" y="8497"/>
                    </a:lnTo>
                    <a:lnTo>
                      <a:pt x="4259" y="8467"/>
                    </a:lnTo>
                    <a:lnTo>
                      <a:pt x="4235" y="8436"/>
                    </a:lnTo>
                    <a:lnTo>
                      <a:pt x="4212" y="8407"/>
                    </a:lnTo>
                    <a:lnTo>
                      <a:pt x="4191" y="8377"/>
                    </a:lnTo>
                    <a:lnTo>
                      <a:pt x="4172" y="8349"/>
                    </a:lnTo>
                    <a:lnTo>
                      <a:pt x="4155" y="8321"/>
                    </a:lnTo>
                    <a:lnTo>
                      <a:pt x="4140" y="8294"/>
                    </a:lnTo>
                    <a:lnTo>
                      <a:pt x="4126" y="8267"/>
                    </a:lnTo>
                    <a:lnTo>
                      <a:pt x="4115" y="8244"/>
                    </a:lnTo>
                    <a:lnTo>
                      <a:pt x="4105" y="8220"/>
                    </a:lnTo>
                    <a:lnTo>
                      <a:pt x="4096" y="8198"/>
                    </a:lnTo>
                    <a:lnTo>
                      <a:pt x="4089" y="8179"/>
                    </a:lnTo>
                    <a:lnTo>
                      <a:pt x="4083" y="8161"/>
                    </a:lnTo>
                    <a:lnTo>
                      <a:pt x="4078" y="8147"/>
                    </a:lnTo>
                    <a:lnTo>
                      <a:pt x="4075" y="8133"/>
                    </a:lnTo>
                    <a:lnTo>
                      <a:pt x="4078" y="8158"/>
                    </a:lnTo>
                    <a:lnTo>
                      <a:pt x="4080" y="8186"/>
                    </a:lnTo>
                    <a:lnTo>
                      <a:pt x="4083" y="8216"/>
                    </a:lnTo>
                    <a:lnTo>
                      <a:pt x="4085" y="8248"/>
                    </a:lnTo>
                    <a:lnTo>
                      <a:pt x="4087" y="8283"/>
                    </a:lnTo>
                    <a:lnTo>
                      <a:pt x="4089" y="8319"/>
                    </a:lnTo>
                    <a:lnTo>
                      <a:pt x="4090" y="8357"/>
                    </a:lnTo>
                    <a:lnTo>
                      <a:pt x="4092" y="8397"/>
                    </a:lnTo>
                    <a:lnTo>
                      <a:pt x="4093" y="8438"/>
                    </a:lnTo>
                    <a:lnTo>
                      <a:pt x="4094" y="8479"/>
                    </a:lnTo>
                    <a:lnTo>
                      <a:pt x="4096" y="8567"/>
                    </a:lnTo>
                    <a:lnTo>
                      <a:pt x="4097" y="8656"/>
                    </a:lnTo>
                    <a:lnTo>
                      <a:pt x="4098" y="8745"/>
                    </a:lnTo>
                    <a:lnTo>
                      <a:pt x="4097" y="8834"/>
                    </a:lnTo>
                    <a:lnTo>
                      <a:pt x="4097" y="8877"/>
                    </a:lnTo>
                    <a:lnTo>
                      <a:pt x="4096" y="8919"/>
                    </a:lnTo>
                    <a:lnTo>
                      <a:pt x="4095" y="8960"/>
                    </a:lnTo>
                    <a:lnTo>
                      <a:pt x="4094" y="9001"/>
                    </a:lnTo>
                    <a:lnTo>
                      <a:pt x="4093" y="9039"/>
                    </a:lnTo>
                    <a:lnTo>
                      <a:pt x="4092" y="9076"/>
                    </a:lnTo>
                    <a:lnTo>
                      <a:pt x="4090" y="9111"/>
                    </a:lnTo>
                    <a:lnTo>
                      <a:pt x="4089" y="9144"/>
                    </a:lnTo>
                    <a:lnTo>
                      <a:pt x="4087" y="9175"/>
                    </a:lnTo>
                    <a:lnTo>
                      <a:pt x="4085" y="9202"/>
                    </a:lnTo>
                    <a:lnTo>
                      <a:pt x="4083" y="9228"/>
                    </a:lnTo>
                    <a:lnTo>
                      <a:pt x="4080" y="9251"/>
                    </a:lnTo>
                    <a:lnTo>
                      <a:pt x="4078" y="9270"/>
                    </a:lnTo>
                    <a:lnTo>
                      <a:pt x="4075" y="9287"/>
                    </a:lnTo>
                    <a:lnTo>
                      <a:pt x="4071" y="9299"/>
                    </a:lnTo>
                    <a:lnTo>
                      <a:pt x="4066" y="9315"/>
                    </a:lnTo>
                    <a:lnTo>
                      <a:pt x="4060" y="9331"/>
                    </a:lnTo>
                    <a:lnTo>
                      <a:pt x="4052" y="9350"/>
                    </a:lnTo>
                    <a:lnTo>
                      <a:pt x="4044" y="9370"/>
                    </a:lnTo>
                    <a:lnTo>
                      <a:pt x="4034" y="9392"/>
                    </a:lnTo>
                    <a:lnTo>
                      <a:pt x="4024" y="9415"/>
                    </a:lnTo>
                    <a:lnTo>
                      <a:pt x="4013" y="9439"/>
                    </a:lnTo>
                    <a:lnTo>
                      <a:pt x="4000" y="9464"/>
                    </a:lnTo>
                    <a:lnTo>
                      <a:pt x="3988" y="9491"/>
                    </a:lnTo>
                    <a:lnTo>
                      <a:pt x="3961" y="9546"/>
                    </a:lnTo>
                    <a:lnTo>
                      <a:pt x="3932" y="9602"/>
                    </a:lnTo>
                    <a:lnTo>
                      <a:pt x="3903" y="9661"/>
                    </a:lnTo>
                    <a:lnTo>
                      <a:pt x="3874" y="9720"/>
                    </a:lnTo>
                    <a:lnTo>
                      <a:pt x="3845" y="9776"/>
                    </a:lnTo>
                    <a:lnTo>
                      <a:pt x="3819" y="9831"/>
                    </a:lnTo>
                    <a:lnTo>
                      <a:pt x="3806" y="9858"/>
                    </a:lnTo>
                    <a:lnTo>
                      <a:pt x="3794" y="9883"/>
                    </a:lnTo>
                    <a:lnTo>
                      <a:pt x="3782" y="9907"/>
                    </a:lnTo>
                    <a:lnTo>
                      <a:pt x="3772" y="9930"/>
                    </a:lnTo>
                    <a:lnTo>
                      <a:pt x="3763" y="9951"/>
                    </a:lnTo>
                    <a:lnTo>
                      <a:pt x="3755" y="9972"/>
                    </a:lnTo>
                    <a:lnTo>
                      <a:pt x="3746" y="9990"/>
                    </a:lnTo>
                    <a:lnTo>
                      <a:pt x="3740" y="10007"/>
                    </a:lnTo>
                    <a:lnTo>
                      <a:pt x="3736" y="10022"/>
                    </a:lnTo>
                    <a:lnTo>
                      <a:pt x="3732" y="10035"/>
                    </a:lnTo>
                    <a:lnTo>
                      <a:pt x="3729" y="10047"/>
                    </a:lnTo>
                    <a:lnTo>
                      <a:pt x="3727" y="10061"/>
                    </a:lnTo>
                    <a:lnTo>
                      <a:pt x="3726" y="10075"/>
                    </a:lnTo>
                    <a:lnTo>
                      <a:pt x="3724" y="10091"/>
                    </a:lnTo>
                    <a:lnTo>
                      <a:pt x="3722" y="10125"/>
                    </a:lnTo>
                    <a:lnTo>
                      <a:pt x="3720" y="10163"/>
                    </a:lnTo>
                    <a:lnTo>
                      <a:pt x="3719" y="10203"/>
                    </a:lnTo>
                    <a:lnTo>
                      <a:pt x="3718" y="10244"/>
                    </a:lnTo>
                    <a:lnTo>
                      <a:pt x="3716" y="10287"/>
                    </a:lnTo>
                    <a:lnTo>
                      <a:pt x="3712" y="10331"/>
                    </a:lnTo>
                    <a:lnTo>
                      <a:pt x="3707" y="10375"/>
                    </a:lnTo>
                    <a:lnTo>
                      <a:pt x="3699" y="10418"/>
                    </a:lnTo>
                    <a:lnTo>
                      <a:pt x="3688" y="10459"/>
                    </a:lnTo>
                    <a:lnTo>
                      <a:pt x="3675" y="10499"/>
                    </a:lnTo>
                    <a:lnTo>
                      <a:pt x="3667" y="10519"/>
                    </a:lnTo>
                    <a:lnTo>
                      <a:pt x="3658" y="10536"/>
                    </a:lnTo>
                    <a:lnTo>
                      <a:pt x="3646" y="10554"/>
                    </a:lnTo>
                    <a:lnTo>
                      <a:pt x="3635" y="10571"/>
                    </a:lnTo>
                    <a:lnTo>
                      <a:pt x="3622" y="10587"/>
                    </a:lnTo>
                    <a:lnTo>
                      <a:pt x="3608" y="10601"/>
                    </a:lnTo>
                    <a:lnTo>
                      <a:pt x="3592" y="10615"/>
                    </a:lnTo>
                    <a:lnTo>
                      <a:pt x="3576" y="10627"/>
                    </a:lnTo>
                    <a:lnTo>
                      <a:pt x="3564" y="10633"/>
                    </a:lnTo>
                    <a:lnTo>
                      <a:pt x="3550" y="10638"/>
                    </a:lnTo>
                    <a:lnTo>
                      <a:pt x="3535" y="10645"/>
                    </a:lnTo>
                    <a:lnTo>
                      <a:pt x="3518" y="10650"/>
                    </a:lnTo>
                    <a:lnTo>
                      <a:pt x="3501" y="10655"/>
                    </a:lnTo>
                    <a:lnTo>
                      <a:pt x="3481" y="10660"/>
                    </a:lnTo>
                    <a:lnTo>
                      <a:pt x="3461" y="10665"/>
                    </a:lnTo>
                    <a:lnTo>
                      <a:pt x="3440" y="10669"/>
                    </a:lnTo>
                    <a:lnTo>
                      <a:pt x="3417" y="10673"/>
                    </a:lnTo>
                    <a:lnTo>
                      <a:pt x="3394" y="10678"/>
                    </a:lnTo>
                    <a:lnTo>
                      <a:pt x="3344" y="10684"/>
                    </a:lnTo>
                    <a:lnTo>
                      <a:pt x="3290" y="10688"/>
                    </a:lnTo>
                    <a:lnTo>
                      <a:pt x="3233" y="10689"/>
                    </a:lnTo>
                    <a:lnTo>
                      <a:pt x="3168" y="10688"/>
                    </a:lnTo>
                    <a:lnTo>
                      <a:pt x="3102" y="10684"/>
                    </a:lnTo>
                    <a:lnTo>
                      <a:pt x="3035" y="10676"/>
                    </a:lnTo>
                    <a:lnTo>
                      <a:pt x="2966" y="10667"/>
                    </a:lnTo>
                    <a:lnTo>
                      <a:pt x="2897" y="10656"/>
                    </a:lnTo>
                    <a:lnTo>
                      <a:pt x="2828" y="10641"/>
                    </a:lnTo>
                    <a:lnTo>
                      <a:pt x="2757" y="10626"/>
                    </a:lnTo>
                    <a:lnTo>
                      <a:pt x="2687" y="10607"/>
                    </a:lnTo>
                    <a:lnTo>
                      <a:pt x="2617" y="10588"/>
                    </a:lnTo>
                    <a:lnTo>
                      <a:pt x="2547" y="10566"/>
                    </a:lnTo>
                    <a:lnTo>
                      <a:pt x="2478" y="10544"/>
                    </a:lnTo>
                    <a:lnTo>
                      <a:pt x="2408" y="10519"/>
                    </a:lnTo>
                    <a:lnTo>
                      <a:pt x="2340" y="10493"/>
                    </a:lnTo>
                    <a:lnTo>
                      <a:pt x="2273" y="10466"/>
                    </a:lnTo>
                    <a:lnTo>
                      <a:pt x="2207" y="10438"/>
                    </a:lnTo>
                    <a:lnTo>
                      <a:pt x="2142" y="10409"/>
                    </a:lnTo>
                    <a:lnTo>
                      <a:pt x="2119" y="10398"/>
                    </a:lnTo>
                    <a:lnTo>
                      <a:pt x="2095" y="10389"/>
                    </a:lnTo>
                    <a:lnTo>
                      <a:pt x="2068" y="10380"/>
                    </a:lnTo>
                    <a:lnTo>
                      <a:pt x="2041" y="10371"/>
                    </a:lnTo>
                    <a:lnTo>
                      <a:pt x="1986" y="10350"/>
                    </a:lnTo>
                    <a:lnTo>
                      <a:pt x="1959" y="10340"/>
                    </a:lnTo>
                    <a:lnTo>
                      <a:pt x="1935" y="10328"/>
                    </a:lnTo>
                    <a:lnTo>
                      <a:pt x="1910" y="10315"/>
                    </a:lnTo>
                    <a:lnTo>
                      <a:pt x="1888" y="10302"/>
                    </a:lnTo>
                    <a:lnTo>
                      <a:pt x="1869" y="10286"/>
                    </a:lnTo>
                    <a:lnTo>
                      <a:pt x="1852" y="10270"/>
                    </a:lnTo>
                    <a:lnTo>
                      <a:pt x="1839" y="10251"/>
                    </a:lnTo>
                    <a:lnTo>
                      <a:pt x="1833" y="10242"/>
                    </a:lnTo>
                    <a:lnTo>
                      <a:pt x="1828" y="10230"/>
                    </a:lnTo>
                    <a:lnTo>
                      <a:pt x="1825" y="10220"/>
                    </a:lnTo>
                    <a:lnTo>
                      <a:pt x="1823" y="10208"/>
                    </a:lnTo>
                    <a:lnTo>
                      <a:pt x="1823" y="10195"/>
                    </a:lnTo>
                    <a:lnTo>
                      <a:pt x="1823" y="10183"/>
                    </a:lnTo>
                    <a:lnTo>
                      <a:pt x="1826" y="10147"/>
                    </a:lnTo>
                    <a:lnTo>
                      <a:pt x="1831" y="10109"/>
                    </a:lnTo>
                    <a:lnTo>
                      <a:pt x="1838" y="10069"/>
                    </a:lnTo>
                    <a:lnTo>
                      <a:pt x="1845" y="10027"/>
                    </a:lnTo>
                    <a:lnTo>
                      <a:pt x="1853" y="9983"/>
                    </a:lnTo>
                    <a:lnTo>
                      <a:pt x="1862" y="9938"/>
                    </a:lnTo>
                    <a:lnTo>
                      <a:pt x="1873" y="9892"/>
                    </a:lnTo>
                    <a:lnTo>
                      <a:pt x="1883" y="9844"/>
                    </a:lnTo>
                    <a:lnTo>
                      <a:pt x="1908" y="9748"/>
                    </a:lnTo>
                    <a:lnTo>
                      <a:pt x="1934" y="9651"/>
                    </a:lnTo>
                    <a:lnTo>
                      <a:pt x="1961" y="9553"/>
                    </a:lnTo>
                    <a:lnTo>
                      <a:pt x="1989" y="9458"/>
                    </a:lnTo>
                    <a:lnTo>
                      <a:pt x="2003" y="9412"/>
                    </a:lnTo>
                    <a:lnTo>
                      <a:pt x="2017" y="9366"/>
                    </a:lnTo>
                    <a:lnTo>
                      <a:pt x="2031" y="9323"/>
                    </a:lnTo>
                    <a:lnTo>
                      <a:pt x="2044" y="9281"/>
                    </a:lnTo>
                    <a:lnTo>
                      <a:pt x="2056" y="9241"/>
                    </a:lnTo>
                    <a:lnTo>
                      <a:pt x="2069" y="9202"/>
                    </a:lnTo>
                    <a:lnTo>
                      <a:pt x="2081" y="9167"/>
                    </a:lnTo>
                    <a:lnTo>
                      <a:pt x="2091" y="9133"/>
                    </a:lnTo>
                    <a:lnTo>
                      <a:pt x="2102" y="9104"/>
                    </a:lnTo>
                    <a:lnTo>
                      <a:pt x="2112" y="9076"/>
                    </a:lnTo>
                    <a:lnTo>
                      <a:pt x="2120" y="9051"/>
                    </a:lnTo>
                    <a:lnTo>
                      <a:pt x="2128" y="9029"/>
                    </a:lnTo>
                    <a:lnTo>
                      <a:pt x="2134" y="9012"/>
                    </a:lnTo>
                    <a:lnTo>
                      <a:pt x="2139" y="8999"/>
                    </a:lnTo>
                    <a:lnTo>
                      <a:pt x="2140" y="8993"/>
                    </a:lnTo>
                    <a:lnTo>
                      <a:pt x="2142" y="8988"/>
                    </a:lnTo>
                    <a:lnTo>
                      <a:pt x="2143" y="8985"/>
                    </a:lnTo>
                    <a:lnTo>
                      <a:pt x="2144" y="8983"/>
                    </a:lnTo>
                    <a:lnTo>
                      <a:pt x="2144" y="8982"/>
                    </a:lnTo>
                    <a:lnTo>
                      <a:pt x="2142" y="8980"/>
                    </a:lnTo>
                    <a:lnTo>
                      <a:pt x="2140" y="8977"/>
                    </a:lnTo>
                    <a:lnTo>
                      <a:pt x="2137" y="8972"/>
                    </a:lnTo>
                    <a:lnTo>
                      <a:pt x="2133" y="8966"/>
                    </a:lnTo>
                    <a:lnTo>
                      <a:pt x="2128" y="8957"/>
                    </a:lnTo>
                    <a:lnTo>
                      <a:pt x="2122" y="8949"/>
                    </a:lnTo>
                    <a:lnTo>
                      <a:pt x="2115" y="8939"/>
                    </a:lnTo>
                    <a:lnTo>
                      <a:pt x="2108" y="8926"/>
                    </a:lnTo>
                    <a:lnTo>
                      <a:pt x="2100" y="8914"/>
                    </a:lnTo>
                    <a:lnTo>
                      <a:pt x="2091" y="8901"/>
                    </a:lnTo>
                    <a:lnTo>
                      <a:pt x="2082" y="8885"/>
                    </a:lnTo>
                    <a:lnTo>
                      <a:pt x="2072" y="8869"/>
                    </a:lnTo>
                    <a:lnTo>
                      <a:pt x="2061" y="8851"/>
                    </a:lnTo>
                    <a:lnTo>
                      <a:pt x="2049" y="8834"/>
                    </a:lnTo>
                    <a:lnTo>
                      <a:pt x="2037" y="8814"/>
                    </a:lnTo>
                    <a:lnTo>
                      <a:pt x="2011" y="8772"/>
                    </a:lnTo>
                    <a:lnTo>
                      <a:pt x="1983" y="8727"/>
                    </a:lnTo>
                    <a:lnTo>
                      <a:pt x="1953" y="8677"/>
                    </a:lnTo>
                    <a:lnTo>
                      <a:pt x="1922" y="8624"/>
                    </a:lnTo>
                    <a:lnTo>
                      <a:pt x="1888" y="8568"/>
                    </a:lnTo>
                    <a:lnTo>
                      <a:pt x="1854" y="8509"/>
                    </a:lnTo>
                    <a:lnTo>
                      <a:pt x="1818" y="8447"/>
                    </a:lnTo>
                    <a:lnTo>
                      <a:pt x="1781" y="8384"/>
                    </a:lnTo>
                    <a:lnTo>
                      <a:pt x="1744" y="8317"/>
                    </a:lnTo>
                    <a:lnTo>
                      <a:pt x="1704" y="8248"/>
                    </a:lnTo>
                    <a:lnTo>
                      <a:pt x="1666" y="8178"/>
                    </a:lnTo>
                    <a:lnTo>
                      <a:pt x="1627" y="8106"/>
                    </a:lnTo>
                    <a:lnTo>
                      <a:pt x="1588" y="8032"/>
                    </a:lnTo>
                    <a:lnTo>
                      <a:pt x="1548" y="7958"/>
                    </a:lnTo>
                    <a:lnTo>
                      <a:pt x="1472" y="7807"/>
                    </a:lnTo>
                    <a:lnTo>
                      <a:pt x="1435" y="7730"/>
                    </a:lnTo>
                    <a:lnTo>
                      <a:pt x="1398" y="7653"/>
                    </a:lnTo>
                    <a:lnTo>
                      <a:pt x="1363" y="7576"/>
                    </a:lnTo>
                    <a:lnTo>
                      <a:pt x="1329" y="7500"/>
                    </a:lnTo>
                    <a:lnTo>
                      <a:pt x="1296" y="7423"/>
                    </a:lnTo>
                    <a:lnTo>
                      <a:pt x="1265" y="7347"/>
                    </a:lnTo>
                    <a:lnTo>
                      <a:pt x="1235" y="7273"/>
                    </a:lnTo>
                    <a:lnTo>
                      <a:pt x="1208" y="7199"/>
                    </a:lnTo>
                    <a:lnTo>
                      <a:pt x="1183" y="7125"/>
                    </a:lnTo>
                    <a:lnTo>
                      <a:pt x="1161" y="7050"/>
                    </a:lnTo>
                    <a:lnTo>
                      <a:pt x="1142" y="6972"/>
                    </a:lnTo>
                    <a:lnTo>
                      <a:pt x="1124" y="6893"/>
                    </a:lnTo>
                    <a:lnTo>
                      <a:pt x="1110" y="6814"/>
                    </a:lnTo>
                    <a:lnTo>
                      <a:pt x="1097" y="6735"/>
                    </a:lnTo>
                    <a:lnTo>
                      <a:pt x="1088" y="6653"/>
                    </a:lnTo>
                    <a:lnTo>
                      <a:pt x="1080" y="6573"/>
                    </a:lnTo>
                    <a:lnTo>
                      <a:pt x="1074" y="6492"/>
                    </a:lnTo>
                    <a:lnTo>
                      <a:pt x="1068" y="6412"/>
                    </a:lnTo>
                    <a:lnTo>
                      <a:pt x="1066" y="6333"/>
                    </a:lnTo>
                    <a:lnTo>
                      <a:pt x="1064" y="6255"/>
                    </a:lnTo>
                    <a:lnTo>
                      <a:pt x="1064" y="6177"/>
                    </a:lnTo>
                    <a:lnTo>
                      <a:pt x="1065" y="6102"/>
                    </a:lnTo>
                    <a:lnTo>
                      <a:pt x="1067" y="6028"/>
                    </a:lnTo>
                    <a:lnTo>
                      <a:pt x="1072" y="5956"/>
                    </a:lnTo>
                    <a:lnTo>
                      <a:pt x="1075" y="5887"/>
                    </a:lnTo>
                    <a:lnTo>
                      <a:pt x="1080" y="5819"/>
                    </a:lnTo>
                    <a:lnTo>
                      <a:pt x="1085" y="5755"/>
                    </a:lnTo>
                    <a:lnTo>
                      <a:pt x="1091" y="5694"/>
                    </a:lnTo>
                    <a:lnTo>
                      <a:pt x="1096" y="5635"/>
                    </a:lnTo>
                    <a:lnTo>
                      <a:pt x="1103" y="5582"/>
                    </a:lnTo>
                    <a:lnTo>
                      <a:pt x="1106" y="5556"/>
                    </a:lnTo>
                    <a:lnTo>
                      <a:pt x="1109" y="5531"/>
                    </a:lnTo>
                    <a:lnTo>
                      <a:pt x="1112" y="5508"/>
                    </a:lnTo>
                    <a:lnTo>
                      <a:pt x="1115" y="5485"/>
                    </a:lnTo>
                    <a:lnTo>
                      <a:pt x="1118" y="5463"/>
                    </a:lnTo>
                    <a:lnTo>
                      <a:pt x="1121" y="5443"/>
                    </a:lnTo>
                    <a:lnTo>
                      <a:pt x="1124" y="5424"/>
                    </a:lnTo>
                    <a:lnTo>
                      <a:pt x="1126" y="5407"/>
                    </a:lnTo>
                    <a:lnTo>
                      <a:pt x="1129" y="5389"/>
                    </a:lnTo>
                    <a:lnTo>
                      <a:pt x="1131" y="5374"/>
                    </a:lnTo>
                    <a:lnTo>
                      <a:pt x="1133" y="5360"/>
                    </a:lnTo>
                    <a:lnTo>
                      <a:pt x="1136" y="5347"/>
                    </a:lnTo>
                    <a:lnTo>
                      <a:pt x="1138" y="5336"/>
                    </a:lnTo>
                    <a:lnTo>
                      <a:pt x="1140" y="5326"/>
                    </a:lnTo>
                    <a:lnTo>
                      <a:pt x="1141" y="5317"/>
                    </a:lnTo>
                    <a:lnTo>
                      <a:pt x="1143" y="5310"/>
                    </a:lnTo>
                    <a:lnTo>
                      <a:pt x="1144" y="5305"/>
                    </a:lnTo>
                    <a:lnTo>
                      <a:pt x="1144" y="5301"/>
                    </a:lnTo>
                    <a:lnTo>
                      <a:pt x="1145" y="5299"/>
                    </a:lnTo>
                    <a:lnTo>
                      <a:pt x="1145" y="5298"/>
                    </a:lnTo>
                    <a:lnTo>
                      <a:pt x="1144" y="5299"/>
                    </a:lnTo>
                    <a:lnTo>
                      <a:pt x="1141" y="5301"/>
                    </a:lnTo>
                    <a:lnTo>
                      <a:pt x="1136" y="5304"/>
                    </a:lnTo>
                    <a:lnTo>
                      <a:pt x="1127" y="5308"/>
                    </a:lnTo>
                    <a:lnTo>
                      <a:pt x="1118" y="5312"/>
                    </a:lnTo>
                    <a:lnTo>
                      <a:pt x="1106" y="5317"/>
                    </a:lnTo>
                    <a:lnTo>
                      <a:pt x="1091" y="5323"/>
                    </a:lnTo>
                    <a:lnTo>
                      <a:pt x="1075" y="5330"/>
                    </a:lnTo>
                    <a:lnTo>
                      <a:pt x="1056" y="5335"/>
                    </a:lnTo>
                    <a:lnTo>
                      <a:pt x="1035" y="5341"/>
                    </a:lnTo>
                    <a:lnTo>
                      <a:pt x="1013" y="5346"/>
                    </a:lnTo>
                    <a:lnTo>
                      <a:pt x="988" y="5351"/>
                    </a:lnTo>
                    <a:lnTo>
                      <a:pt x="960" y="5354"/>
                    </a:lnTo>
                    <a:lnTo>
                      <a:pt x="931" y="5357"/>
                    </a:lnTo>
                    <a:lnTo>
                      <a:pt x="899" y="5359"/>
                    </a:lnTo>
                    <a:lnTo>
                      <a:pt x="865" y="5360"/>
                    </a:lnTo>
                    <a:lnTo>
                      <a:pt x="829" y="5359"/>
                    </a:lnTo>
                    <a:lnTo>
                      <a:pt x="789" y="5355"/>
                    </a:lnTo>
                    <a:lnTo>
                      <a:pt x="746" y="5349"/>
                    </a:lnTo>
                    <a:lnTo>
                      <a:pt x="701" y="5341"/>
                    </a:lnTo>
                    <a:lnTo>
                      <a:pt x="652" y="5332"/>
                    </a:lnTo>
                    <a:lnTo>
                      <a:pt x="602" y="5320"/>
                    </a:lnTo>
                    <a:lnTo>
                      <a:pt x="547" y="5309"/>
                    </a:lnTo>
                    <a:lnTo>
                      <a:pt x="490" y="5298"/>
                    </a:lnTo>
                    <a:lnTo>
                      <a:pt x="459" y="5282"/>
                    </a:lnTo>
                    <a:lnTo>
                      <a:pt x="430" y="5264"/>
                    </a:lnTo>
                    <a:lnTo>
                      <a:pt x="403" y="5244"/>
                    </a:lnTo>
                    <a:lnTo>
                      <a:pt x="377" y="5222"/>
                    </a:lnTo>
                    <a:lnTo>
                      <a:pt x="353" y="5199"/>
                    </a:lnTo>
                    <a:lnTo>
                      <a:pt x="331" y="5174"/>
                    </a:lnTo>
                    <a:lnTo>
                      <a:pt x="311" y="5147"/>
                    </a:lnTo>
                    <a:lnTo>
                      <a:pt x="292" y="5120"/>
                    </a:lnTo>
                    <a:lnTo>
                      <a:pt x="275" y="5092"/>
                    </a:lnTo>
                    <a:lnTo>
                      <a:pt x="259" y="5063"/>
                    </a:lnTo>
                    <a:lnTo>
                      <a:pt x="245" y="5033"/>
                    </a:lnTo>
                    <a:lnTo>
                      <a:pt x="231" y="5002"/>
                    </a:lnTo>
                    <a:lnTo>
                      <a:pt x="220" y="4972"/>
                    </a:lnTo>
                    <a:lnTo>
                      <a:pt x="209" y="4941"/>
                    </a:lnTo>
                    <a:lnTo>
                      <a:pt x="199" y="4911"/>
                    </a:lnTo>
                    <a:lnTo>
                      <a:pt x="191" y="4880"/>
                    </a:lnTo>
                    <a:lnTo>
                      <a:pt x="177" y="4822"/>
                    </a:lnTo>
                    <a:lnTo>
                      <a:pt x="170" y="4794"/>
                    </a:lnTo>
                    <a:lnTo>
                      <a:pt x="166" y="4766"/>
                    </a:lnTo>
                    <a:lnTo>
                      <a:pt x="162" y="4740"/>
                    </a:lnTo>
                    <a:lnTo>
                      <a:pt x="158" y="4716"/>
                    </a:lnTo>
                    <a:lnTo>
                      <a:pt x="155" y="4692"/>
                    </a:lnTo>
                    <a:lnTo>
                      <a:pt x="153" y="4671"/>
                    </a:lnTo>
                    <a:lnTo>
                      <a:pt x="152" y="4651"/>
                    </a:lnTo>
                    <a:lnTo>
                      <a:pt x="150" y="4633"/>
                    </a:lnTo>
                    <a:lnTo>
                      <a:pt x="149" y="4618"/>
                    </a:lnTo>
                    <a:lnTo>
                      <a:pt x="149" y="4605"/>
                    </a:lnTo>
                    <a:lnTo>
                      <a:pt x="148" y="4595"/>
                    </a:lnTo>
                    <a:lnTo>
                      <a:pt x="148" y="4587"/>
                    </a:lnTo>
                    <a:lnTo>
                      <a:pt x="148" y="4583"/>
                    </a:lnTo>
                    <a:lnTo>
                      <a:pt x="148" y="4581"/>
                    </a:lnTo>
                    <a:lnTo>
                      <a:pt x="147" y="4581"/>
                    </a:lnTo>
                    <a:lnTo>
                      <a:pt x="146" y="4580"/>
                    </a:lnTo>
                    <a:lnTo>
                      <a:pt x="142" y="4578"/>
                    </a:lnTo>
                    <a:lnTo>
                      <a:pt x="138" y="4575"/>
                    </a:lnTo>
                    <a:lnTo>
                      <a:pt x="128" y="4567"/>
                    </a:lnTo>
                    <a:lnTo>
                      <a:pt x="115" y="4556"/>
                    </a:lnTo>
                    <a:lnTo>
                      <a:pt x="100" y="4542"/>
                    </a:lnTo>
                    <a:lnTo>
                      <a:pt x="84" y="4523"/>
                    </a:lnTo>
                    <a:lnTo>
                      <a:pt x="67" y="4501"/>
                    </a:lnTo>
                    <a:lnTo>
                      <a:pt x="51" y="4476"/>
                    </a:lnTo>
                    <a:lnTo>
                      <a:pt x="42" y="4461"/>
                    </a:lnTo>
                    <a:lnTo>
                      <a:pt x="35" y="4446"/>
                    </a:lnTo>
                    <a:lnTo>
                      <a:pt x="28" y="4429"/>
                    </a:lnTo>
                    <a:lnTo>
                      <a:pt x="22" y="4412"/>
                    </a:lnTo>
                    <a:lnTo>
                      <a:pt x="15" y="4393"/>
                    </a:lnTo>
                    <a:lnTo>
                      <a:pt x="11" y="4374"/>
                    </a:lnTo>
                    <a:lnTo>
                      <a:pt x="7" y="4353"/>
                    </a:lnTo>
                    <a:lnTo>
                      <a:pt x="3" y="4330"/>
                    </a:lnTo>
                    <a:lnTo>
                      <a:pt x="1" y="4308"/>
                    </a:lnTo>
                    <a:lnTo>
                      <a:pt x="0" y="4284"/>
                    </a:lnTo>
                    <a:lnTo>
                      <a:pt x="1" y="4258"/>
                    </a:lnTo>
                    <a:lnTo>
                      <a:pt x="2" y="4231"/>
                    </a:lnTo>
                    <a:lnTo>
                      <a:pt x="5" y="4204"/>
                    </a:lnTo>
                    <a:lnTo>
                      <a:pt x="9" y="4175"/>
                    </a:lnTo>
                    <a:lnTo>
                      <a:pt x="15" y="4145"/>
                    </a:lnTo>
                    <a:lnTo>
                      <a:pt x="24" y="4113"/>
                    </a:lnTo>
                    <a:lnTo>
                      <a:pt x="34" y="4081"/>
                    </a:lnTo>
                    <a:lnTo>
                      <a:pt x="46" y="4049"/>
                    </a:lnTo>
                    <a:lnTo>
                      <a:pt x="61" y="4018"/>
                    </a:lnTo>
                    <a:lnTo>
                      <a:pt x="77" y="3986"/>
                    </a:lnTo>
                    <a:lnTo>
                      <a:pt x="96" y="3956"/>
                    </a:lnTo>
                    <a:lnTo>
                      <a:pt x="116" y="3926"/>
                    </a:lnTo>
                    <a:lnTo>
                      <a:pt x="137" y="3896"/>
                    </a:lnTo>
                    <a:lnTo>
                      <a:pt x="160" y="3867"/>
                    </a:lnTo>
                    <a:lnTo>
                      <a:pt x="185" y="3838"/>
                    </a:lnTo>
                    <a:lnTo>
                      <a:pt x="210" y="3810"/>
                    </a:lnTo>
                    <a:lnTo>
                      <a:pt x="261" y="3756"/>
                    </a:lnTo>
                    <a:lnTo>
                      <a:pt x="316" y="3705"/>
                    </a:lnTo>
                    <a:lnTo>
                      <a:pt x="370" y="3658"/>
                    </a:lnTo>
                    <a:lnTo>
                      <a:pt x="396" y="3636"/>
                    </a:lnTo>
                    <a:lnTo>
                      <a:pt x="423" y="3615"/>
                    </a:lnTo>
                    <a:lnTo>
                      <a:pt x="449" y="3595"/>
                    </a:lnTo>
                    <a:lnTo>
                      <a:pt x="474" y="3575"/>
                    </a:lnTo>
                    <a:lnTo>
                      <a:pt x="498" y="3558"/>
                    </a:lnTo>
                    <a:lnTo>
                      <a:pt x="520" y="3541"/>
                    </a:lnTo>
                    <a:lnTo>
                      <a:pt x="542" y="3527"/>
                    </a:lnTo>
                    <a:lnTo>
                      <a:pt x="562" y="3514"/>
                    </a:lnTo>
                    <a:lnTo>
                      <a:pt x="580" y="3501"/>
                    </a:lnTo>
                    <a:lnTo>
                      <a:pt x="597" y="3490"/>
                    </a:lnTo>
                    <a:lnTo>
                      <a:pt x="611" y="3481"/>
                    </a:lnTo>
                    <a:lnTo>
                      <a:pt x="624" y="3473"/>
                    </a:lnTo>
                    <a:lnTo>
                      <a:pt x="633" y="3467"/>
                    </a:lnTo>
                    <a:lnTo>
                      <a:pt x="640" y="3463"/>
                    </a:lnTo>
                    <a:lnTo>
                      <a:pt x="645" y="3460"/>
                    </a:lnTo>
                    <a:lnTo>
                      <a:pt x="646" y="3459"/>
                    </a:lnTo>
                    <a:lnTo>
                      <a:pt x="646" y="3460"/>
                    </a:lnTo>
                    <a:lnTo>
                      <a:pt x="645" y="3462"/>
                    </a:lnTo>
                    <a:lnTo>
                      <a:pt x="643" y="3466"/>
                    </a:lnTo>
                    <a:lnTo>
                      <a:pt x="641" y="3472"/>
                    </a:lnTo>
                    <a:lnTo>
                      <a:pt x="638" y="3480"/>
                    </a:lnTo>
                    <a:lnTo>
                      <a:pt x="635" y="3488"/>
                    </a:lnTo>
                    <a:lnTo>
                      <a:pt x="632" y="3498"/>
                    </a:lnTo>
                    <a:lnTo>
                      <a:pt x="628" y="3510"/>
                    </a:lnTo>
                    <a:lnTo>
                      <a:pt x="624" y="3524"/>
                    </a:lnTo>
                    <a:lnTo>
                      <a:pt x="618" y="3538"/>
                    </a:lnTo>
                    <a:lnTo>
                      <a:pt x="613" y="3555"/>
                    </a:lnTo>
                    <a:lnTo>
                      <a:pt x="609" y="3572"/>
                    </a:lnTo>
                    <a:lnTo>
                      <a:pt x="604" y="3592"/>
                    </a:lnTo>
                    <a:lnTo>
                      <a:pt x="599" y="3612"/>
                    </a:lnTo>
                    <a:lnTo>
                      <a:pt x="594" y="3634"/>
                    </a:lnTo>
                    <a:lnTo>
                      <a:pt x="588" y="3658"/>
                    </a:lnTo>
                    <a:lnTo>
                      <a:pt x="583" y="3682"/>
                    </a:lnTo>
                    <a:lnTo>
                      <a:pt x="578" y="3708"/>
                    </a:lnTo>
                    <a:lnTo>
                      <a:pt x="574" y="3736"/>
                    </a:lnTo>
                    <a:lnTo>
                      <a:pt x="569" y="3765"/>
                    </a:lnTo>
                    <a:lnTo>
                      <a:pt x="565" y="3795"/>
                    </a:lnTo>
                    <a:lnTo>
                      <a:pt x="562" y="3826"/>
                    </a:lnTo>
                    <a:lnTo>
                      <a:pt x="557" y="3859"/>
                    </a:lnTo>
                    <a:lnTo>
                      <a:pt x="554" y="3893"/>
                    </a:lnTo>
                    <a:lnTo>
                      <a:pt x="552" y="3928"/>
                    </a:lnTo>
                    <a:lnTo>
                      <a:pt x="550" y="3964"/>
                    </a:lnTo>
                    <a:lnTo>
                      <a:pt x="549" y="4002"/>
                    </a:lnTo>
                    <a:lnTo>
                      <a:pt x="548" y="4040"/>
                    </a:lnTo>
                    <a:lnTo>
                      <a:pt x="548" y="4080"/>
                    </a:lnTo>
                    <a:lnTo>
                      <a:pt x="549" y="4121"/>
                    </a:lnTo>
                    <a:lnTo>
                      <a:pt x="551" y="4164"/>
                    </a:lnTo>
                    <a:lnTo>
                      <a:pt x="553" y="4207"/>
                    </a:lnTo>
                    <a:lnTo>
                      <a:pt x="555" y="4233"/>
                    </a:lnTo>
                    <a:lnTo>
                      <a:pt x="556" y="4256"/>
                    </a:lnTo>
                    <a:lnTo>
                      <a:pt x="555" y="4279"/>
                    </a:lnTo>
                    <a:lnTo>
                      <a:pt x="553" y="4301"/>
                    </a:lnTo>
                    <a:lnTo>
                      <a:pt x="549" y="4321"/>
                    </a:lnTo>
                    <a:lnTo>
                      <a:pt x="545" y="4340"/>
                    </a:lnTo>
                    <a:lnTo>
                      <a:pt x="539" y="4357"/>
                    </a:lnTo>
                    <a:lnTo>
                      <a:pt x="533" y="4374"/>
                    </a:lnTo>
                    <a:lnTo>
                      <a:pt x="524" y="4389"/>
                    </a:lnTo>
                    <a:lnTo>
                      <a:pt x="516" y="4404"/>
                    </a:lnTo>
                    <a:lnTo>
                      <a:pt x="507" y="4417"/>
                    </a:lnTo>
                    <a:lnTo>
                      <a:pt x="498" y="4428"/>
                    </a:lnTo>
                    <a:lnTo>
                      <a:pt x="477" y="4450"/>
                    </a:lnTo>
                    <a:lnTo>
                      <a:pt x="455" y="4468"/>
                    </a:lnTo>
                    <a:lnTo>
                      <a:pt x="434" y="4483"/>
                    </a:lnTo>
                    <a:lnTo>
                      <a:pt x="412" y="4494"/>
                    </a:lnTo>
                    <a:lnTo>
                      <a:pt x="391" y="4503"/>
                    </a:lnTo>
                    <a:lnTo>
                      <a:pt x="373" y="4510"/>
                    </a:lnTo>
                    <a:lnTo>
                      <a:pt x="357" y="4514"/>
                    </a:lnTo>
                    <a:lnTo>
                      <a:pt x="351" y="4516"/>
                    </a:lnTo>
                    <a:lnTo>
                      <a:pt x="345" y="4517"/>
                    </a:lnTo>
                    <a:lnTo>
                      <a:pt x="341" y="4518"/>
                    </a:lnTo>
                    <a:lnTo>
                      <a:pt x="338" y="4519"/>
                    </a:lnTo>
                    <a:lnTo>
                      <a:pt x="336" y="4519"/>
                    </a:lnTo>
                    <a:lnTo>
                      <a:pt x="334" y="4519"/>
                    </a:lnTo>
                    <a:lnTo>
                      <a:pt x="334" y="4520"/>
                    </a:lnTo>
                    <a:lnTo>
                      <a:pt x="336" y="4522"/>
                    </a:lnTo>
                    <a:lnTo>
                      <a:pt x="338" y="4526"/>
                    </a:lnTo>
                    <a:lnTo>
                      <a:pt x="341" y="4532"/>
                    </a:lnTo>
                    <a:lnTo>
                      <a:pt x="344" y="4539"/>
                    </a:lnTo>
                    <a:lnTo>
                      <a:pt x="348" y="4548"/>
                    </a:lnTo>
                    <a:lnTo>
                      <a:pt x="353" y="4557"/>
                    </a:lnTo>
                    <a:lnTo>
                      <a:pt x="358" y="4567"/>
                    </a:lnTo>
                    <a:lnTo>
                      <a:pt x="372" y="4591"/>
                    </a:lnTo>
                    <a:lnTo>
                      <a:pt x="389" y="4618"/>
                    </a:lnTo>
                    <a:lnTo>
                      <a:pt x="409" y="4646"/>
                    </a:lnTo>
                    <a:lnTo>
                      <a:pt x="433" y="4674"/>
                    </a:lnTo>
                    <a:lnTo>
                      <a:pt x="458" y="4703"/>
                    </a:lnTo>
                    <a:lnTo>
                      <a:pt x="488" y="4731"/>
                    </a:lnTo>
                    <a:lnTo>
                      <a:pt x="521" y="4758"/>
                    </a:lnTo>
                    <a:lnTo>
                      <a:pt x="558" y="4782"/>
                    </a:lnTo>
                    <a:lnTo>
                      <a:pt x="578" y="4792"/>
                    </a:lnTo>
                    <a:lnTo>
                      <a:pt x="599" y="4801"/>
                    </a:lnTo>
                    <a:lnTo>
                      <a:pt x="619" y="4809"/>
                    </a:lnTo>
                    <a:lnTo>
                      <a:pt x="642" y="4817"/>
                    </a:lnTo>
                    <a:lnTo>
                      <a:pt x="665" y="4823"/>
                    </a:lnTo>
                    <a:lnTo>
                      <a:pt x="690" y="4827"/>
                    </a:lnTo>
                    <a:lnTo>
                      <a:pt x="714" y="4829"/>
                    </a:lnTo>
                    <a:lnTo>
                      <a:pt x="740" y="4830"/>
                    </a:lnTo>
                    <a:lnTo>
                      <a:pt x="802" y="4830"/>
                    </a:lnTo>
                    <a:lnTo>
                      <a:pt x="831" y="4826"/>
                    </a:lnTo>
                    <a:lnTo>
                      <a:pt x="859" y="4821"/>
                    </a:lnTo>
                    <a:lnTo>
                      <a:pt x="887" y="4812"/>
                    </a:lnTo>
                    <a:lnTo>
                      <a:pt x="914" y="4803"/>
                    </a:lnTo>
                    <a:lnTo>
                      <a:pt x="940" y="4791"/>
                    </a:lnTo>
                    <a:lnTo>
                      <a:pt x="967" y="4777"/>
                    </a:lnTo>
                    <a:lnTo>
                      <a:pt x="993" y="4761"/>
                    </a:lnTo>
                    <a:lnTo>
                      <a:pt x="1020" y="4742"/>
                    </a:lnTo>
                    <a:lnTo>
                      <a:pt x="1048" y="4722"/>
                    </a:lnTo>
                    <a:lnTo>
                      <a:pt x="1076" y="4698"/>
                    </a:lnTo>
                    <a:lnTo>
                      <a:pt x="1104" y="4672"/>
                    </a:lnTo>
                    <a:lnTo>
                      <a:pt x="1133" y="4644"/>
                    </a:lnTo>
                    <a:lnTo>
                      <a:pt x="1163" y="4613"/>
                    </a:lnTo>
                    <a:lnTo>
                      <a:pt x="1194" y="4579"/>
                    </a:lnTo>
                    <a:lnTo>
                      <a:pt x="1227" y="4543"/>
                    </a:lnTo>
                    <a:lnTo>
                      <a:pt x="1262" y="4503"/>
                    </a:lnTo>
                    <a:lnTo>
                      <a:pt x="1298" y="4460"/>
                    </a:lnTo>
                    <a:lnTo>
                      <a:pt x="1336" y="4415"/>
                    </a:lnTo>
                    <a:lnTo>
                      <a:pt x="1375" y="4366"/>
                    </a:lnTo>
                    <a:lnTo>
                      <a:pt x="1417" y="4315"/>
                    </a:lnTo>
                    <a:lnTo>
                      <a:pt x="1461" y="4260"/>
                    </a:lnTo>
                    <a:lnTo>
                      <a:pt x="1507" y="4203"/>
                    </a:lnTo>
                    <a:lnTo>
                      <a:pt x="1557" y="4141"/>
                    </a:lnTo>
                    <a:lnTo>
                      <a:pt x="1608" y="4077"/>
                    </a:lnTo>
                    <a:lnTo>
                      <a:pt x="1663" y="4008"/>
                    </a:lnTo>
                    <a:lnTo>
                      <a:pt x="1721" y="3937"/>
                    </a:lnTo>
                    <a:lnTo>
                      <a:pt x="1783" y="3862"/>
                    </a:lnTo>
                    <a:lnTo>
                      <a:pt x="1847" y="3782"/>
                    </a:lnTo>
                    <a:lnTo>
                      <a:pt x="1915" y="3699"/>
                    </a:lnTo>
                    <a:lnTo>
                      <a:pt x="1987" y="3612"/>
                    </a:lnTo>
                    <a:lnTo>
                      <a:pt x="2063" y="3523"/>
                    </a:lnTo>
                    <a:lnTo>
                      <a:pt x="2102" y="3475"/>
                    </a:lnTo>
                    <a:lnTo>
                      <a:pt x="2142" y="3428"/>
                    </a:lnTo>
                    <a:lnTo>
                      <a:pt x="2176" y="3389"/>
                    </a:lnTo>
                    <a:lnTo>
                      <a:pt x="2212" y="3351"/>
                    </a:lnTo>
                    <a:lnTo>
                      <a:pt x="2249" y="3314"/>
                    </a:lnTo>
                    <a:lnTo>
                      <a:pt x="2288" y="3278"/>
                    </a:lnTo>
                    <a:lnTo>
                      <a:pt x="2328" y="3242"/>
                    </a:lnTo>
                    <a:lnTo>
                      <a:pt x="2369" y="3207"/>
                    </a:lnTo>
                    <a:lnTo>
                      <a:pt x="2410" y="3173"/>
                    </a:lnTo>
                    <a:lnTo>
                      <a:pt x="2454" y="3140"/>
                    </a:lnTo>
                    <a:lnTo>
                      <a:pt x="2543" y="3076"/>
                    </a:lnTo>
                    <a:lnTo>
                      <a:pt x="2636" y="3015"/>
                    </a:lnTo>
                    <a:lnTo>
                      <a:pt x="2732" y="2957"/>
                    </a:lnTo>
                    <a:lnTo>
                      <a:pt x="2830" y="2903"/>
                    </a:lnTo>
                    <a:lnTo>
                      <a:pt x="2930" y="2851"/>
                    </a:lnTo>
                    <a:lnTo>
                      <a:pt x="3031" y="2802"/>
                    </a:lnTo>
                    <a:lnTo>
                      <a:pt x="3133" y="2756"/>
                    </a:lnTo>
                    <a:lnTo>
                      <a:pt x="3236" y="2713"/>
                    </a:lnTo>
                    <a:lnTo>
                      <a:pt x="3340" y="2673"/>
                    </a:lnTo>
                    <a:lnTo>
                      <a:pt x="3442" y="2635"/>
                    </a:lnTo>
                    <a:lnTo>
                      <a:pt x="3543" y="2600"/>
                    </a:lnTo>
                    <a:lnTo>
                      <a:pt x="3642" y="2567"/>
                    </a:lnTo>
                    <a:lnTo>
                      <a:pt x="3740" y="2537"/>
                    </a:lnTo>
                    <a:lnTo>
                      <a:pt x="3834" y="2509"/>
                    </a:lnTo>
                    <a:lnTo>
                      <a:pt x="3926" y="2484"/>
                    </a:lnTo>
                    <a:lnTo>
                      <a:pt x="3970" y="2472"/>
                    </a:lnTo>
                    <a:lnTo>
                      <a:pt x="4015" y="2461"/>
                    </a:lnTo>
                    <a:lnTo>
                      <a:pt x="4057" y="2450"/>
                    </a:lnTo>
                    <a:lnTo>
                      <a:pt x="4098" y="2439"/>
                    </a:lnTo>
                    <a:lnTo>
                      <a:pt x="4139" y="2430"/>
                    </a:lnTo>
                    <a:lnTo>
                      <a:pt x="4178" y="2421"/>
                    </a:lnTo>
                    <a:lnTo>
                      <a:pt x="4215" y="2412"/>
                    </a:lnTo>
                    <a:lnTo>
                      <a:pt x="4252" y="2404"/>
                    </a:lnTo>
                    <a:lnTo>
                      <a:pt x="4287" y="2396"/>
                    </a:lnTo>
                    <a:lnTo>
                      <a:pt x="4320" y="2390"/>
                    </a:lnTo>
                    <a:lnTo>
                      <a:pt x="4352" y="2383"/>
                    </a:lnTo>
                    <a:lnTo>
                      <a:pt x="4383" y="2376"/>
                    </a:lnTo>
                    <a:lnTo>
                      <a:pt x="4411" y="2371"/>
                    </a:lnTo>
                    <a:lnTo>
                      <a:pt x="4438" y="2366"/>
                    </a:lnTo>
                    <a:lnTo>
                      <a:pt x="4464" y="2361"/>
                    </a:lnTo>
                    <a:lnTo>
                      <a:pt x="4486" y="2357"/>
                    </a:lnTo>
                    <a:lnTo>
                      <a:pt x="4508" y="2353"/>
                    </a:lnTo>
                    <a:lnTo>
                      <a:pt x="4528" y="2350"/>
                    </a:lnTo>
                    <a:lnTo>
                      <a:pt x="4545" y="2347"/>
                    </a:lnTo>
                    <a:lnTo>
                      <a:pt x="4561" y="2344"/>
                    </a:lnTo>
                    <a:lnTo>
                      <a:pt x="4573" y="2342"/>
                    </a:lnTo>
                    <a:lnTo>
                      <a:pt x="4585" y="2340"/>
                    </a:lnTo>
                    <a:lnTo>
                      <a:pt x="4593" y="2339"/>
                    </a:lnTo>
                    <a:lnTo>
                      <a:pt x="4599" y="2338"/>
                    </a:lnTo>
                    <a:lnTo>
                      <a:pt x="4603" y="2337"/>
                    </a:lnTo>
                    <a:lnTo>
                      <a:pt x="4604" y="2337"/>
                    </a:lnTo>
                    <a:lnTo>
                      <a:pt x="4602" y="2339"/>
                    </a:lnTo>
                    <a:lnTo>
                      <a:pt x="4598" y="2344"/>
                    </a:lnTo>
                    <a:lnTo>
                      <a:pt x="4590" y="2354"/>
                    </a:lnTo>
                    <a:lnTo>
                      <a:pt x="4578" y="2366"/>
                    </a:lnTo>
                    <a:lnTo>
                      <a:pt x="4565" y="2382"/>
                    </a:lnTo>
                    <a:lnTo>
                      <a:pt x="4548" y="2399"/>
                    </a:lnTo>
                    <a:lnTo>
                      <a:pt x="4530" y="2420"/>
                    </a:lnTo>
                    <a:lnTo>
                      <a:pt x="4508" y="2443"/>
                    </a:lnTo>
                    <a:lnTo>
                      <a:pt x="4485" y="2469"/>
                    </a:lnTo>
                    <a:lnTo>
                      <a:pt x="4461" y="2497"/>
                    </a:lnTo>
                    <a:lnTo>
                      <a:pt x="4434" y="2526"/>
                    </a:lnTo>
                    <a:lnTo>
                      <a:pt x="4406" y="2558"/>
                    </a:lnTo>
                    <a:lnTo>
                      <a:pt x="4376" y="2591"/>
                    </a:lnTo>
                    <a:lnTo>
                      <a:pt x="4345" y="2625"/>
                    </a:lnTo>
                    <a:lnTo>
                      <a:pt x="4314" y="2660"/>
                    </a:lnTo>
                    <a:lnTo>
                      <a:pt x="4281" y="2696"/>
                    </a:lnTo>
                    <a:lnTo>
                      <a:pt x="4215" y="2770"/>
                    </a:lnTo>
                    <a:lnTo>
                      <a:pt x="4147" y="2845"/>
                    </a:lnTo>
                    <a:lnTo>
                      <a:pt x="4079" y="2920"/>
                    </a:lnTo>
                    <a:lnTo>
                      <a:pt x="4014" y="2994"/>
                    </a:lnTo>
                    <a:lnTo>
                      <a:pt x="3982" y="3030"/>
                    </a:lnTo>
                    <a:lnTo>
                      <a:pt x="3951" y="3064"/>
                    </a:lnTo>
                    <a:lnTo>
                      <a:pt x="3921" y="3098"/>
                    </a:lnTo>
                    <a:lnTo>
                      <a:pt x="3892" y="3130"/>
                    </a:lnTo>
                    <a:lnTo>
                      <a:pt x="3865" y="3160"/>
                    </a:lnTo>
                    <a:lnTo>
                      <a:pt x="3840" y="3189"/>
                    </a:lnTo>
                    <a:lnTo>
                      <a:pt x="3816" y="3216"/>
                    </a:lnTo>
                    <a:lnTo>
                      <a:pt x="3795" y="3241"/>
                    </a:lnTo>
                    <a:lnTo>
                      <a:pt x="3776" y="3265"/>
                    </a:lnTo>
                    <a:lnTo>
                      <a:pt x="3756" y="3291"/>
                    </a:lnTo>
                    <a:lnTo>
                      <a:pt x="3733" y="3320"/>
                    </a:lnTo>
                    <a:lnTo>
                      <a:pt x="3709" y="3350"/>
                    </a:lnTo>
                    <a:lnTo>
                      <a:pt x="3683" y="3381"/>
                    </a:lnTo>
                    <a:lnTo>
                      <a:pt x="3656" y="3415"/>
                    </a:lnTo>
                    <a:lnTo>
                      <a:pt x="3629" y="3450"/>
                    </a:lnTo>
                    <a:lnTo>
                      <a:pt x="3599" y="3486"/>
                    </a:lnTo>
                    <a:lnTo>
                      <a:pt x="3570" y="3523"/>
                    </a:lnTo>
                    <a:lnTo>
                      <a:pt x="3539" y="3562"/>
                    </a:lnTo>
                    <a:lnTo>
                      <a:pt x="3508" y="3603"/>
                    </a:lnTo>
                    <a:lnTo>
                      <a:pt x="3477" y="3644"/>
                    </a:lnTo>
                    <a:lnTo>
                      <a:pt x="3446" y="3687"/>
                    </a:lnTo>
                    <a:lnTo>
                      <a:pt x="3415" y="3731"/>
                    </a:lnTo>
                    <a:lnTo>
                      <a:pt x="3354" y="3822"/>
                    </a:lnTo>
                    <a:lnTo>
                      <a:pt x="3295" y="3915"/>
                    </a:lnTo>
                    <a:lnTo>
                      <a:pt x="3268" y="3963"/>
                    </a:lnTo>
                    <a:lnTo>
                      <a:pt x="3241" y="4011"/>
                    </a:lnTo>
                    <a:lnTo>
                      <a:pt x="3216" y="4061"/>
                    </a:lnTo>
                    <a:lnTo>
                      <a:pt x="3192" y="4110"/>
                    </a:lnTo>
                    <a:lnTo>
                      <a:pt x="3170" y="4159"/>
                    </a:lnTo>
                    <a:lnTo>
                      <a:pt x="3150" y="4210"/>
                    </a:lnTo>
                    <a:lnTo>
                      <a:pt x="3132" y="4260"/>
                    </a:lnTo>
                    <a:lnTo>
                      <a:pt x="3116" y="4311"/>
                    </a:lnTo>
                    <a:lnTo>
                      <a:pt x="3102" y="4361"/>
                    </a:lnTo>
                    <a:lnTo>
                      <a:pt x="3092" y="4412"/>
                    </a:lnTo>
                    <a:lnTo>
                      <a:pt x="3084" y="4462"/>
                    </a:lnTo>
                    <a:lnTo>
                      <a:pt x="3078" y="4513"/>
                    </a:lnTo>
                    <a:lnTo>
                      <a:pt x="3076" y="4563"/>
                    </a:lnTo>
                    <a:lnTo>
                      <a:pt x="3077" y="4613"/>
                    </a:lnTo>
                    <a:lnTo>
                      <a:pt x="3081" y="4642"/>
                    </a:lnTo>
                    <a:lnTo>
                      <a:pt x="3087" y="4672"/>
                    </a:lnTo>
                    <a:lnTo>
                      <a:pt x="3094" y="4702"/>
                    </a:lnTo>
                    <a:lnTo>
                      <a:pt x="3103" y="4733"/>
                    </a:lnTo>
                    <a:lnTo>
                      <a:pt x="3113" y="4764"/>
                    </a:lnTo>
                    <a:lnTo>
                      <a:pt x="3125" y="4796"/>
                    </a:lnTo>
                    <a:lnTo>
                      <a:pt x="3138" y="4828"/>
                    </a:lnTo>
                    <a:lnTo>
                      <a:pt x="3153" y="4860"/>
                    </a:lnTo>
                    <a:lnTo>
                      <a:pt x="3168" y="4893"/>
                    </a:lnTo>
                    <a:lnTo>
                      <a:pt x="3186" y="4925"/>
                    </a:lnTo>
                    <a:lnTo>
                      <a:pt x="3203" y="4958"/>
                    </a:lnTo>
                    <a:lnTo>
                      <a:pt x="3223" y="4991"/>
                    </a:lnTo>
                    <a:lnTo>
                      <a:pt x="3263" y="5057"/>
                    </a:lnTo>
                    <a:lnTo>
                      <a:pt x="3308" y="5122"/>
                    </a:lnTo>
                    <a:lnTo>
                      <a:pt x="3354" y="5187"/>
                    </a:lnTo>
                    <a:lnTo>
                      <a:pt x="3402" y="5252"/>
                    </a:lnTo>
                    <a:lnTo>
                      <a:pt x="3452" y="5316"/>
                    </a:lnTo>
                    <a:lnTo>
                      <a:pt x="3503" y="5379"/>
                    </a:lnTo>
                    <a:lnTo>
                      <a:pt x="3553" y="5440"/>
                    </a:lnTo>
                    <a:lnTo>
                      <a:pt x="3604" y="5498"/>
                    </a:lnTo>
                    <a:lnTo>
                      <a:pt x="3653" y="5555"/>
                    </a:lnTo>
                    <a:lnTo>
                      <a:pt x="3701" y="5610"/>
                    </a:lnTo>
                    <a:lnTo>
                      <a:pt x="3729" y="5645"/>
                    </a:lnTo>
                    <a:lnTo>
                      <a:pt x="3754" y="5678"/>
                    </a:lnTo>
                    <a:lnTo>
                      <a:pt x="3776" y="5711"/>
                    </a:lnTo>
                    <a:lnTo>
                      <a:pt x="3796" y="5742"/>
                    </a:lnTo>
                    <a:lnTo>
                      <a:pt x="3813" y="5771"/>
                    </a:lnTo>
                    <a:lnTo>
                      <a:pt x="3829" y="5800"/>
                    </a:lnTo>
                    <a:lnTo>
                      <a:pt x="3841" y="5826"/>
                    </a:lnTo>
                    <a:lnTo>
                      <a:pt x="3853" y="5851"/>
                    </a:lnTo>
                    <a:lnTo>
                      <a:pt x="3862" y="5872"/>
                    </a:lnTo>
                    <a:lnTo>
                      <a:pt x="3870" y="5893"/>
                    </a:lnTo>
                    <a:lnTo>
                      <a:pt x="3875" y="5909"/>
                    </a:lnTo>
                    <a:lnTo>
                      <a:pt x="3881" y="5925"/>
                    </a:lnTo>
                    <a:lnTo>
                      <a:pt x="3884" y="5936"/>
                    </a:lnTo>
                    <a:lnTo>
                      <a:pt x="3886" y="5944"/>
                    </a:lnTo>
                    <a:lnTo>
                      <a:pt x="3888" y="5950"/>
                    </a:lnTo>
                    <a:lnTo>
                      <a:pt x="3888" y="5952"/>
                    </a:lnTo>
                    <a:lnTo>
                      <a:pt x="3514" y="6513"/>
                    </a:lnTo>
                    <a:lnTo>
                      <a:pt x="3515" y="6514"/>
                    </a:lnTo>
                    <a:lnTo>
                      <a:pt x="3516" y="6515"/>
                    </a:lnTo>
                    <a:lnTo>
                      <a:pt x="3518" y="6518"/>
                    </a:lnTo>
                    <a:lnTo>
                      <a:pt x="3522" y="6523"/>
                    </a:lnTo>
                    <a:lnTo>
                      <a:pt x="3526" y="6529"/>
                    </a:lnTo>
                    <a:lnTo>
                      <a:pt x="3532" y="6535"/>
                    </a:lnTo>
                    <a:lnTo>
                      <a:pt x="3538" y="6542"/>
                    </a:lnTo>
                    <a:lnTo>
                      <a:pt x="3545" y="6550"/>
                    </a:lnTo>
                    <a:lnTo>
                      <a:pt x="3562" y="6571"/>
                    </a:lnTo>
                    <a:lnTo>
                      <a:pt x="3581" y="6593"/>
                    </a:lnTo>
                    <a:lnTo>
                      <a:pt x="3604" y="6620"/>
                    </a:lnTo>
                    <a:lnTo>
                      <a:pt x="3630" y="6650"/>
                    </a:lnTo>
                    <a:lnTo>
                      <a:pt x="3658" y="6682"/>
                    </a:lnTo>
                    <a:lnTo>
                      <a:pt x="3690" y="6716"/>
                    </a:lnTo>
                    <a:lnTo>
                      <a:pt x="3723" y="6753"/>
                    </a:lnTo>
                    <a:lnTo>
                      <a:pt x="3759" y="6791"/>
                    </a:lnTo>
                    <a:lnTo>
                      <a:pt x="3797" y="6830"/>
                    </a:lnTo>
                    <a:lnTo>
                      <a:pt x="3837" y="6870"/>
                    </a:lnTo>
                    <a:lnTo>
                      <a:pt x="3879" y="6912"/>
                    </a:lnTo>
                    <a:lnTo>
                      <a:pt x="3923" y="6953"/>
                    </a:lnTo>
                    <a:lnTo>
                      <a:pt x="3968" y="6995"/>
                    </a:lnTo>
                    <a:lnTo>
                      <a:pt x="4015" y="7036"/>
                    </a:lnTo>
                    <a:lnTo>
                      <a:pt x="4063" y="7078"/>
                    </a:lnTo>
                    <a:lnTo>
                      <a:pt x="4112" y="7117"/>
                    </a:lnTo>
                    <a:lnTo>
                      <a:pt x="4162" y="7156"/>
                    </a:lnTo>
                    <a:lnTo>
                      <a:pt x="4213" y="7193"/>
                    </a:lnTo>
                    <a:lnTo>
                      <a:pt x="4263" y="7229"/>
                    </a:lnTo>
                    <a:lnTo>
                      <a:pt x="4316" y="7262"/>
                    </a:lnTo>
                    <a:lnTo>
                      <a:pt x="4368" y="7293"/>
                    </a:lnTo>
                    <a:lnTo>
                      <a:pt x="4420" y="7322"/>
                    </a:lnTo>
                    <a:lnTo>
                      <a:pt x="4473" y="7346"/>
                    </a:lnTo>
                    <a:lnTo>
                      <a:pt x="4525" y="7369"/>
                    </a:lnTo>
                    <a:lnTo>
                      <a:pt x="4576" y="7387"/>
                    </a:lnTo>
                    <a:lnTo>
                      <a:pt x="4602" y="7395"/>
                    </a:lnTo>
                    <a:lnTo>
                      <a:pt x="4628" y="7401"/>
                    </a:lnTo>
                    <a:lnTo>
                      <a:pt x="4654" y="7407"/>
                    </a:lnTo>
                    <a:lnTo>
                      <a:pt x="4680" y="7411"/>
                    </a:lnTo>
                    <a:lnTo>
                      <a:pt x="4704" y="7414"/>
                    </a:lnTo>
                    <a:lnTo>
                      <a:pt x="4729" y="7416"/>
                    </a:lnTo>
                    <a:lnTo>
                      <a:pt x="4776" y="7415"/>
                    </a:lnTo>
                    <a:lnTo>
                      <a:pt x="4822" y="7412"/>
                    </a:lnTo>
                    <a:lnTo>
                      <a:pt x="4867" y="7407"/>
                    </a:lnTo>
                    <a:lnTo>
                      <a:pt x="4914" y="7400"/>
                    </a:lnTo>
                    <a:lnTo>
                      <a:pt x="4959" y="7391"/>
                    </a:lnTo>
                    <a:lnTo>
                      <a:pt x="5004" y="7380"/>
                    </a:lnTo>
                    <a:lnTo>
                      <a:pt x="5049" y="7368"/>
                    </a:lnTo>
                    <a:lnTo>
                      <a:pt x="5093" y="7354"/>
                    </a:lnTo>
                    <a:lnTo>
                      <a:pt x="5139" y="7338"/>
                    </a:lnTo>
                    <a:lnTo>
                      <a:pt x="5183" y="7322"/>
                    </a:lnTo>
                    <a:lnTo>
                      <a:pt x="5228" y="7303"/>
                    </a:lnTo>
                    <a:lnTo>
                      <a:pt x="5272" y="7284"/>
                    </a:lnTo>
                    <a:lnTo>
                      <a:pt x="5316" y="7263"/>
                    </a:lnTo>
                    <a:lnTo>
                      <a:pt x="5361" y="7241"/>
                    </a:lnTo>
                    <a:lnTo>
                      <a:pt x="5450" y="7195"/>
                    </a:lnTo>
                    <a:lnTo>
                      <a:pt x="5539" y="7144"/>
                    </a:lnTo>
                    <a:lnTo>
                      <a:pt x="5629" y="7092"/>
                    </a:lnTo>
                    <a:lnTo>
                      <a:pt x="5720" y="7038"/>
                    </a:lnTo>
                    <a:lnTo>
                      <a:pt x="5812" y="6983"/>
                    </a:lnTo>
                    <a:lnTo>
                      <a:pt x="5905" y="6927"/>
                    </a:lnTo>
                    <a:lnTo>
                      <a:pt x="6000" y="6870"/>
                    </a:lnTo>
                    <a:lnTo>
                      <a:pt x="6096" y="6816"/>
                    </a:lnTo>
                    <a:lnTo>
                      <a:pt x="6194" y="6762"/>
                    </a:lnTo>
                    <a:lnTo>
                      <a:pt x="6229" y="6746"/>
                    </a:lnTo>
                    <a:lnTo>
                      <a:pt x="6265" y="6730"/>
                    </a:lnTo>
                    <a:lnTo>
                      <a:pt x="6302" y="6716"/>
                    </a:lnTo>
                    <a:lnTo>
                      <a:pt x="6339" y="6704"/>
                    </a:lnTo>
                    <a:lnTo>
                      <a:pt x="6377" y="6692"/>
                    </a:lnTo>
                    <a:lnTo>
                      <a:pt x="6414" y="6682"/>
                    </a:lnTo>
                    <a:lnTo>
                      <a:pt x="6452" y="6673"/>
                    </a:lnTo>
                    <a:lnTo>
                      <a:pt x="6490" y="6664"/>
                    </a:lnTo>
                    <a:lnTo>
                      <a:pt x="6528" y="6658"/>
                    </a:lnTo>
                    <a:lnTo>
                      <a:pt x="6567" y="6652"/>
                    </a:lnTo>
                    <a:lnTo>
                      <a:pt x="6641" y="6644"/>
                    </a:lnTo>
                    <a:lnTo>
                      <a:pt x="6715" y="6639"/>
                    </a:lnTo>
                    <a:lnTo>
                      <a:pt x="6786" y="6638"/>
                    </a:lnTo>
                    <a:lnTo>
                      <a:pt x="6849" y="6639"/>
                    </a:lnTo>
                    <a:lnTo>
                      <a:pt x="6910" y="6642"/>
                    </a:lnTo>
                    <a:lnTo>
                      <a:pt x="6968" y="6646"/>
                    </a:lnTo>
                    <a:lnTo>
                      <a:pt x="7024" y="6652"/>
                    </a:lnTo>
                    <a:lnTo>
                      <a:pt x="7076" y="6659"/>
                    </a:lnTo>
                    <a:lnTo>
                      <a:pt x="7124" y="6668"/>
                    </a:lnTo>
                    <a:lnTo>
                      <a:pt x="7169" y="6676"/>
                    </a:lnTo>
                    <a:lnTo>
                      <a:pt x="7211" y="6685"/>
                    </a:lnTo>
                    <a:lnTo>
                      <a:pt x="7230" y="6689"/>
                    </a:lnTo>
                    <a:lnTo>
                      <a:pt x="7248" y="6693"/>
                    </a:lnTo>
                    <a:lnTo>
                      <a:pt x="7265" y="6697"/>
                    </a:lnTo>
                    <a:lnTo>
                      <a:pt x="7281" y="6702"/>
                    </a:lnTo>
                    <a:lnTo>
                      <a:pt x="7296" y="6706"/>
                    </a:lnTo>
                    <a:lnTo>
                      <a:pt x="7310" y="6710"/>
                    </a:lnTo>
                    <a:lnTo>
                      <a:pt x="7322" y="6713"/>
                    </a:lnTo>
                    <a:lnTo>
                      <a:pt x="7334" y="6717"/>
                    </a:lnTo>
                    <a:lnTo>
                      <a:pt x="7344" y="6720"/>
                    </a:lnTo>
                    <a:lnTo>
                      <a:pt x="7353" y="6723"/>
                    </a:lnTo>
                    <a:lnTo>
                      <a:pt x="7360" y="6725"/>
                    </a:lnTo>
                    <a:lnTo>
                      <a:pt x="7367" y="6727"/>
                    </a:lnTo>
                    <a:lnTo>
                      <a:pt x="7372" y="6729"/>
                    </a:lnTo>
                    <a:lnTo>
                      <a:pt x="7375" y="6730"/>
                    </a:lnTo>
                    <a:lnTo>
                      <a:pt x="7377" y="6731"/>
                    </a:lnTo>
                    <a:lnTo>
                      <a:pt x="7378" y="6731"/>
                    </a:lnTo>
                    <a:lnTo>
                      <a:pt x="7378" y="6731"/>
                    </a:lnTo>
                    <a:lnTo>
                      <a:pt x="7379" y="6729"/>
                    </a:lnTo>
                    <a:lnTo>
                      <a:pt x="7379" y="6726"/>
                    </a:lnTo>
                    <a:lnTo>
                      <a:pt x="7380" y="6723"/>
                    </a:lnTo>
                    <a:lnTo>
                      <a:pt x="7383" y="6713"/>
                    </a:lnTo>
                    <a:lnTo>
                      <a:pt x="7387" y="6698"/>
                    </a:lnTo>
                    <a:lnTo>
                      <a:pt x="7392" y="6680"/>
                    </a:lnTo>
                    <a:lnTo>
                      <a:pt x="7399" y="6658"/>
                    </a:lnTo>
                    <a:lnTo>
                      <a:pt x="7405" y="6633"/>
                    </a:lnTo>
                    <a:lnTo>
                      <a:pt x="7413" y="6604"/>
                    </a:lnTo>
                    <a:lnTo>
                      <a:pt x="7421" y="6572"/>
                    </a:lnTo>
                    <a:lnTo>
                      <a:pt x="7430" y="6537"/>
                    </a:lnTo>
                    <a:lnTo>
                      <a:pt x="7439" y="6500"/>
                    </a:lnTo>
                    <a:lnTo>
                      <a:pt x="7449" y="6458"/>
                    </a:lnTo>
                    <a:lnTo>
                      <a:pt x="7460" y="6415"/>
                    </a:lnTo>
                    <a:lnTo>
                      <a:pt x="7470" y="6370"/>
                    </a:lnTo>
                    <a:lnTo>
                      <a:pt x="7480" y="6321"/>
                    </a:lnTo>
                    <a:lnTo>
                      <a:pt x="7492" y="6272"/>
                    </a:lnTo>
                    <a:lnTo>
                      <a:pt x="7502" y="6219"/>
                    </a:lnTo>
                    <a:lnTo>
                      <a:pt x="7513" y="6166"/>
                    </a:lnTo>
                    <a:lnTo>
                      <a:pt x="7525" y="6110"/>
                    </a:lnTo>
                    <a:lnTo>
                      <a:pt x="7535" y="6053"/>
                    </a:lnTo>
                    <a:lnTo>
                      <a:pt x="7546" y="5994"/>
                    </a:lnTo>
                    <a:lnTo>
                      <a:pt x="7557" y="5934"/>
                    </a:lnTo>
                    <a:lnTo>
                      <a:pt x="7566" y="5873"/>
                    </a:lnTo>
                    <a:lnTo>
                      <a:pt x="7576" y="5812"/>
                    </a:lnTo>
                    <a:lnTo>
                      <a:pt x="7594" y="5685"/>
                    </a:lnTo>
                    <a:lnTo>
                      <a:pt x="7608" y="5556"/>
                    </a:lnTo>
                    <a:lnTo>
                      <a:pt x="7620" y="5426"/>
                    </a:lnTo>
                    <a:lnTo>
                      <a:pt x="7625" y="5362"/>
                    </a:lnTo>
                    <a:lnTo>
                      <a:pt x="7628" y="5298"/>
                    </a:lnTo>
                    <a:lnTo>
                      <a:pt x="7629" y="5254"/>
                    </a:lnTo>
                    <a:lnTo>
                      <a:pt x="7629" y="5212"/>
                    </a:lnTo>
                    <a:lnTo>
                      <a:pt x="7629" y="5171"/>
                    </a:lnTo>
                    <a:lnTo>
                      <a:pt x="7628" y="5132"/>
                    </a:lnTo>
                    <a:lnTo>
                      <a:pt x="7624" y="5055"/>
                    </a:lnTo>
                    <a:lnTo>
                      <a:pt x="7618" y="4980"/>
                    </a:lnTo>
                    <a:lnTo>
                      <a:pt x="7608" y="4910"/>
                    </a:lnTo>
                    <a:lnTo>
                      <a:pt x="7598" y="4843"/>
                    </a:lnTo>
                    <a:lnTo>
                      <a:pt x="7584" y="4778"/>
                    </a:lnTo>
                    <a:lnTo>
                      <a:pt x="7571" y="4716"/>
                    </a:lnTo>
                    <a:lnTo>
                      <a:pt x="7556" y="4655"/>
                    </a:lnTo>
                    <a:lnTo>
                      <a:pt x="7539" y="4594"/>
                    </a:lnTo>
                    <a:lnTo>
                      <a:pt x="7503" y="4478"/>
                    </a:lnTo>
                    <a:lnTo>
                      <a:pt x="7466" y="4360"/>
                    </a:lnTo>
                    <a:lnTo>
                      <a:pt x="7447" y="4302"/>
                    </a:lnTo>
                    <a:lnTo>
                      <a:pt x="7429" y="4242"/>
                    </a:lnTo>
                    <a:lnTo>
                      <a:pt x="7411" y="4180"/>
                    </a:lnTo>
                    <a:lnTo>
                      <a:pt x="7393" y="4117"/>
                    </a:lnTo>
                    <a:lnTo>
                      <a:pt x="7377" y="4052"/>
                    </a:lnTo>
                    <a:lnTo>
                      <a:pt x="7361" y="3984"/>
                    </a:lnTo>
                    <a:lnTo>
                      <a:pt x="7348" y="3913"/>
                    </a:lnTo>
                    <a:lnTo>
                      <a:pt x="7336" y="3840"/>
                    </a:lnTo>
                    <a:lnTo>
                      <a:pt x="7325" y="3762"/>
                    </a:lnTo>
                    <a:lnTo>
                      <a:pt x="7320" y="3722"/>
                    </a:lnTo>
                    <a:lnTo>
                      <a:pt x="7316" y="3680"/>
                    </a:lnTo>
                    <a:lnTo>
                      <a:pt x="7313" y="3638"/>
                    </a:lnTo>
                    <a:lnTo>
                      <a:pt x="7310" y="3594"/>
                    </a:lnTo>
                    <a:lnTo>
                      <a:pt x="7308" y="3550"/>
                    </a:lnTo>
                    <a:lnTo>
                      <a:pt x="7306" y="3503"/>
                    </a:lnTo>
                    <a:lnTo>
                      <a:pt x="7306" y="3456"/>
                    </a:lnTo>
                    <a:lnTo>
                      <a:pt x="7305" y="3407"/>
                    </a:lnTo>
                    <a:lnTo>
                      <a:pt x="7306" y="3357"/>
                    </a:lnTo>
                    <a:lnTo>
                      <a:pt x="7307" y="3305"/>
                    </a:lnTo>
                    <a:lnTo>
                      <a:pt x="7309" y="3253"/>
                    </a:lnTo>
                    <a:lnTo>
                      <a:pt x="7312" y="3198"/>
                    </a:lnTo>
                    <a:lnTo>
                      <a:pt x="7315" y="3142"/>
                    </a:lnTo>
                    <a:lnTo>
                      <a:pt x="7320" y="3084"/>
                    </a:lnTo>
                    <a:lnTo>
                      <a:pt x="7325" y="3024"/>
                    </a:lnTo>
                    <a:lnTo>
                      <a:pt x="7332" y="2964"/>
                    </a:lnTo>
                    <a:lnTo>
                      <a:pt x="7339" y="2901"/>
                    </a:lnTo>
                    <a:lnTo>
                      <a:pt x="7347" y="2836"/>
                    </a:lnTo>
                    <a:lnTo>
                      <a:pt x="7326" y="2872"/>
                    </a:lnTo>
                    <a:lnTo>
                      <a:pt x="7307" y="2908"/>
                    </a:lnTo>
                    <a:lnTo>
                      <a:pt x="7287" y="2946"/>
                    </a:lnTo>
                    <a:lnTo>
                      <a:pt x="7268" y="2985"/>
                    </a:lnTo>
                    <a:lnTo>
                      <a:pt x="7249" y="3026"/>
                    </a:lnTo>
                    <a:lnTo>
                      <a:pt x="7230" y="3068"/>
                    </a:lnTo>
                    <a:lnTo>
                      <a:pt x="7213" y="3112"/>
                    </a:lnTo>
                    <a:lnTo>
                      <a:pt x="7196" y="3156"/>
                    </a:lnTo>
                    <a:lnTo>
                      <a:pt x="7180" y="3202"/>
                    </a:lnTo>
                    <a:lnTo>
                      <a:pt x="7164" y="3251"/>
                    </a:lnTo>
                    <a:lnTo>
                      <a:pt x="7150" y="3300"/>
                    </a:lnTo>
                    <a:lnTo>
                      <a:pt x="7136" y="3352"/>
                    </a:lnTo>
                    <a:lnTo>
                      <a:pt x="7124" y="3405"/>
                    </a:lnTo>
                    <a:lnTo>
                      <a:pt x="7113" y="3460"/>
                    </a:lnTo>
                    <a:lnTo>
                      <a:pt x="7102" y="3517"/>
                    </a:lnTo>
                    <a:lnTo>
                      <a:pt x="7094" y="3576"/>
                    </a:lnTo>
                    <a:lnTo>
                      <a:pt x="7087" y="3637"/>
                    </a:lnTo>
                    <a:lnTo>
                      <a:pt x="7081" y="3700"/>
                    </a:lnTo>
                    <a:lnTo>
                      <a:pt x="7077" y="3765"/>
                    </a:lnTo>
                    <a:lnTo>
                      <a:pt x="7073" y="3832"/>
                    </a:lnTo>
                    <a:lnTo>
                      <a:pt x="7072" y="3902"/>
                    </a:lnTo>
                    <a:lnTo>
                      <a:pt x="7073" y="3974"/>
                    </a:lnTo>
                    <a:lnTo>
                      <a:pt x="7076" y="4048"/>
                    </a:lnTo>
                    <a:lnTo>
                      <a:pt x="7080" y="4124"/>
                    </a:lnTo>
                    <a:lnTo>
                      <a:pt x="7086" y="4204"/>
                    </a:lnTo>
                    <a:lnTo>
                      <a:pt x="7094" y="4285"/>
                    </a:lnTo>
                    <a:lnTo>
                      <a:pt x="7104" y="4368"/>
                    </a:lnTo>
                    <a:lnTo>
                      <a:pt x="7118" y="4456"/>
                    </a:lnTo>
                    <a:lnTo>
                      <a:pt x="7132" y="4545"/>
                    </a:lnTo>
                    <a:lnTo>
                      <a:pt x="7150" y="4637"/>
                    </a:lnTo>
                    <a:lnTo>
                      <a:pt x="7169" y="4732"/>
                    </a:lnTo>
                    <a:lnTo>
                      <a:pt x="7191" y="4830"/>
                    </a:lnTo>
                    <a:lnTo>
                      <a:pt x="7205" y="4887"/>
                    </a:lnTo>
                    <a:lnTo>
                      <a:pt x="7215" y="4944"/>
                    </a:lnTo>
                    <a:lnTo>
                      <a:pt x="7222" y="5003"/>
                    </a:lnTo>
                    <a:lnTo>
                      <a:pt x="7228" y="5063"/>
                    </a:lnTo>
                    <a:lnTo>
                      <a:pt x="7231" y="5124"/>
                    </a:lnTo>
                    <a:lnTo>
                      <a:pt x="7231" y="5185"/>
                    </a:lnTo>
                    <a:lnTo>
                      <a:pt x="7230" y="5247"/>
                    </a:lnTo>
                    <a:lnTo>
                      <a:pt x="7227" y="5309"/>
                    </a:lnTo>
                    <a:lnTo>
                      <a:pt x="7223" y="5371"/>
                    </a:lnTo>
                    <a:lnTo>
                      <a:pt x="7217" y="5433"/>
                    </a:lnTo>
                    <a:lnTo>
                      <a:pt x="7210" y="5493"/>
                    </a:lnTo>
                    <a:lnTo>
                      <a:pt x="7200" y="5554"/>
                    </a:lnTo>
                    <a:lnTo>
                      <a:pt x="7191" y="5613"/>
                    </a:lnTo>
                    <a:lnTo>
                      <a:pt x="7180" y="5672"/>
                    </a:lnTo>
                    <a:lnTo>
                      <a:pt x="7168" y="5729"/>
                    </a:lnTo>
                    <a:lnTo>
                      <a:pt x="7156" y="5785"/>
                    </a:lnTo>
                    <a:lnTo>
                      <a:pt x="7144" y="5838"/>
                    </a:lnTo>
                    <a:lnTo>
                      <a:pt x="7130" y="5890"/>
                    </a:lnTo>
                    <a:lnTo>
                      <a:pt x="7118" y="5940"/>
                    </a:lnTo>
                    <a:lnTo>
                      <a:pt x="7104" y="5988"/>
                    </a:lnTo>
                    <a:lnTo>
                      <a:pt x="7092" y="6032"/>
                    </a:lnTo>
                    <a:lnTo>
                      <a:pt x="7079" y="6074"/>
                    </a:lnTo>
                    <a:lnTo>
                      <a:pt x="7067" y="6113"/>
                    </a:lnTo>
                    <a:lnTo>
                      <a:pt x="7056" y="6149"/>
                    </a:lnTo>
                    <a:lnTo>
                      <a:pt x="7045" y="6181"/>
                    </a:lnTo>
                    <a:lnTo>
                      <a:pt x="7035" y="6210"/>
                    </a:lnTo>
                    <a:lnTo>
                      <a:pt x="7026" y="6235"/>
                    </a:lnTo>
                    <a:lnTo>
                      <a:pt x="7022" y="6246"/>
                    </a:lnTo>
                    <a:lnTo>
                      <a:pt x="7019" y="6257"/>
                    </a:lnTo>
                    <a:lnTo>
                      <a:pt x="7016" y="6265"/>
                    </a:lnTo>
                    <a:lnTo>
                      <a:pt x="7013" y="6273"/>
                    </a:lnTo>
                    <a:lnTo>
                      <a:pt x="7010" y="6279"/>
                    </a:lnTo>
                    <a:lnTo>
                      <a:pt x="7008" y="6284"/>
                    </a:lnTo>
                    <a:lnTo>
                      <a:pt x="7006" y="6290"/>
                    </a:lnTo>
                    <a:lnTo>
                      <a:pt x="7005" y="6293"/>
                    </a:lnTo>
                    <a:lnTo>
                      <a:pt x="7004" y="6294"/>
                    </a:lnTo>
                    <a:lnTo>
                      <a:pt x="7004" y="6295"/>
                    </a:lnTo>
                    <a:lnTo>
                      <a:pt x="7003" y="6295"/>
                    </a:lnTo>
                    <a:lnTo>
                      <a:pt x="7000" y="6294"/>
                    </a:lnTo>
                    <a:lnTo>
                      <a:pt x="6995" y="6292"/>
                    </a:lnTo>
                    <a:lnTo>
                      <a:pt x="6987" y="6290"/>
                    </a:lnTo>
                    <a:lnTo>
                      <a:pt x="6977" y="6287"/>
                    </a:lnTo>
                    <a:lnTo>
                      <a:pt x="6966" y="6285"/>
                    </a:lnTo>
                    <a:lnTo>
                      <a:pt x="6953" y="6282"/>
                    </a:lnTo>
                    <a:lnTo>
                      <a:pt x="6938" y="6279"/>
                    </a:lnTo>
                    <a:lnTo>
                      <a:pt x="6921" y="6276"/>
                    </a:lnTo>
                    <a:lnTo>
                      <a:pt x="6902" y="6274"/>
                    </a:lnTo>
                    <a:lnTo>
                      <a:pt x="6881" y="6271"/>
                    </a:lnTo>
                    <a:lnTo>
                      <a:pt x="6860" y="6269"/>
                    </a:lnTo>
                    <a:lnTo>
                      <a:pt x="6836" y="6267"/>
                    </a:lnTo>
                    <a:lnTo>
                      <a:pt x="6810" y="6265"/>
                    </a:lnTo>
                    <a:lnTo>
                      <a:pt x="6783" y="6264"/>
                    </a:lnTo>
                    <a:lnTo>
                      <a:pt x="6756" y="6264"/>
                    </a:lnTo>
                    <a:lnTo>
                      <a:pt x="6737" y="6264"/>
                    </a:lnTo>
                    <a:lnTo>
                      <a:pt x="6717" y="6264"/>
                    </a:lnTo>
                    <a:lnTo>
                      <a:pt x="6697" y="6264"/>
                    </a:lnTo>
                    <a:lnTo>
                      <a:pt x="6674" y="6265"/>
                    </a:lnTo>
                    <a:lnTo>
                      <a:pt x="6651" y="6265"/>
                    </a:lnTo>
                    <a:lnTo>
                      <a:pt x="6628" y="6266"/>
                    </a:lnTo>
                    <a:lnTo>
                      <a:pt x="6576" y="6268"/>
                    </a:lnTo>
                    <a:lnTo>
                      <a:pt x="6522" y="6271"/>
                    </a:lnTo>
                    <a:lnTo>
                      <a:pt x="6465" y="6277"/>
                    </a:lnTo>
                    <a:lnTo>
                      <a:pt x="6409" y="6284"/>
                    </a:lnTo>
                    <a:lnTo>
                      <a:pt x="6350" y="6295"/>
                    </a:lnTo>
                    <a:lnTo>
                      <a:pt x="6305" y="6305"/>
                    </a:lnTo>
                    <a:lnTo>
                      <a:pt x="6259" y="6317"/>
                    </a:lnTo>
                    <a:lnTo>
                      <a:pt x="6213" y="6333"/>
                    </a:lnTo>
                    <a:lnTo>
                      <a:pt x="6164" y="6350"/>
                    </a:lnTo>
                    <a:lnTo>
                      <a:pt x="6114" y="6369"/>
                    </a:lnTo>
                    <a:lnTo>
                      <a:pt x="6065" y="6390"/>
                    </a:lnTo>
                    <a:lnTo>
                      <a:pt x="6014" y="6413"/>
                    </a:lnTo>
                    <a:lnTo>
                      <a:pt x="5963" y="6438"/>
                    </a:lnTo>
                    <a:lnTo>
                      <a:pt x="5911" y="6464"/>
                    </a:lnTo>
                    <a:lnTo>
                      <a:pt x="5858" y="6490"/>
                    </a:lnTo>
                    <a:lnTo>
                      <a:pt x="5753" y="6546"/>
                    </a:lnTo>
                    <a:lnTo>
                      <a:pt x="5648" y="6606"/>
                    </a:lnTo>
                    <a:lnTo>
                      <a:pt x="5544" y="6665"/>
                    </a:lnTo>
                    <a:lnTo>
                      <a:pt x="5440" y="6724"/>
                    </a:lnTo>
                    <a:lnTo>
                      <a:pt x="5341" y="6782"/>
                    </a:lnTo>
                    <a:lnTo>
                      <a:pt x="5293" y="6810"/>
                    </a:lnTo>
                    <a:lnTo>
                      <a:pt x="5245" y="6836"/>
                    </a:lnTo>
                    <a:lnTo>
                      <a:pt x="5199" y="6862"/>
                    </a:lnTo>
                    <a:lnTo>
                      <a:pt x="5153" y="6887"/>
                    </a:lnTo>
                    <a:lnTo>
                      <a:pt x="5110" y="6910"/>
                    </a:lnTo>
                    <a:lnTo>
                      <a:pt x="5068" y="6930"/>
                    </a:lnTo>
                    <a:lnTo>
                      <a:pt x="5027" y="6950"/>
                    </a:lnTo>
                    <a:lnTo>
                      <a:pt x="4988" y="6967"/>
                    </a:lnTo>
                    <a:lnTo>
                      <a:pt x="4952" y="6982"/>
                    </a:lnTo>
                    <a:lnTo>
                      <a:pt x="4917" y="6994"/>
                    </a:lnTo>
                    <a:lnTo>
                      <a:pt x="4884" y="7004"/>
                    </a:lnTo>
                    <a:lnTo>
                      <a:pt x="4854" y="7012"/>
                    </a:lnTo>
                    <a:lnTo>
                      <a:pt x="4792" y="7012"/>
                    </a:lnTo>
                    <a:lnTo>
                      <a:pt x="4754" y="7011"/>
                    </a:lnTo>
                    <a:lnTo>
                      <a:pt x="4717" y="7006"/>
                    </a:lnTo>
                    <a:lnTo>
                      <a:pt x="4680" y="7000"/>
                    </a:lnTo>
                    <a:lnTo>
                      <a:pt x="4642" y="6992"/>
                    </a:lnTo>
                    <a:lnTo>
                      <a:pt x="4605" y="6981"/>
                    </a:lnTo>
                    <a:lnTo>
                      <a:pt x="4569" y="6968"/>
                    </a:lnTo>
                    <a:lnTo>
                      <a:pt x="4534" y="6954"/>
                    </a:lnTo>
                    <a:lnTo>
                      <a:pt x="4499" y="6938"/>
                    </a:lnTo>
                    <a:lnTo>
                      <a:pt x="4465" y="6921"/>
                    </a:lnTo>
                    <a:lnTo>
                      <a:pt x="4432" y="6903"/>
                    </a:lnTo>
                    <a:lnTo>
                      <a:pt x="4367" y="6863"/>
                    </a:lnTo>
                    <a:lnTo>
                      <a:pt x="4337" y="6843"/>
                    </a:lnTo>
                    <a:lnTo>
                      <a:pt x="4307" y="6821"/>
                    </a:lnTo>
                    <a:lnTo>
                      <a:pt x="4278" y="6799"/>
                    </a:lnTo>
                    <a:lnTo>
                      <a:pt x="4250" y="6778"/>
                    </a:lnTo>
                    <a:lnTo>
                      <a:pt x="4224" y="6756"/>
                    </a:lnTo>
                    <a:lnTo>
                      <a:pt x="4198" y="6735"/>
                    </a:lnTo>
                    <a:lnTo>
                      <a:pt x="4175" y="6713"/>
                    </a:lnTo>
                    <a:lnTo>
                      <a:pt x="4152" y="6692"/>
                    </a:lnTo>
                    <a:lnTo>
                      <a:pt x="4131" y="6672"/>
                    </a:lnTo>
                    <a:lnTo>
                      <a:pt x="4112" y="6652"/>
                    </a:lnTo>
                    <a:lnTo>
                      <a:pt x="4094" y="6635"/>
                    </a:lnTo>
                    <a:lnTo>
                      <a:pt x="4078" y="6617"/>
                    </a:lnTo>
                    <a:lnTo>
                      <a:pt x="4063" y="6602"/>
                    </a:lnTo>
                    <a:lnTo>
                      <a:pt x="4050" y="6587"/>
                    </a:lnTo>
                    <a:lnTo>
                      <a:pt x="4038" y="6575"/>
                    </a:lnTo>
                    <a:lnTo>
                      <a:pt x="4029" y="6565"/>
                    </a:lnTo>
                    <a:lnTo>
                      <a:pt x="4022" y="6555"/>
                    </a:lnTo>
                    <a:lnTo>
                      <a:pt x="4017" y="6549"/>
                    </a:lnTo>
                    <a:lnTo>
                      <a:pt x="4014" y="6545"/>
                    </a:lnTo>
                    <a:lnTo>
                      <a:pt x="4013" y="6544"/>
                    </a:lnTo>
                    <a:lnTo>
                      <a:pt x="4854" y="4799"/>
                    </a:lnTo>
                    <a:lnTo>
                      <a:pt x="4138" y="5641"/>
                    </a:lnTo>
                    <a:lnTo>
                      <a:pt x="4137" y="5640"/>
                    </a:lnTo>
                    <a:lnTo>
                      <a:pt x="4134" y="5634"/>
                    </a:lnTo>
                    <a:lnTo>
                      <a:pt x="4130" y="5627"/>
                    </a:lnTo>
                    <a:lnTo>
                      <a:pt x="4125" y="5617"/>
                    </a:lnTo>
                    <a:lnTo>
                      <a:pt x="4118" y="5605"/>
                    </a:lnTo>
                    <a:lnTo>
                      <a:pt x="4110" y="5588"/>
                    </a:lnTo>
                    <a:lnTo>
                      <a:pt x="4099" y="5570"/>
                    </a:lnTo>
                    <a:lnTo>
                      <a:pt x="4087" y="5547"/>
                    </a:lnTo>
                    <a:lnTo>
                      <a:pt x="4073" y="5522"/>
                    </a:lnTo>
                    <a:lnTo>
                      <a:pt x="4056" y="5494"/>
                    </a:lnTo>
                    <a:lnTo>
                      <a:pt x="4038" y="5463"/>
                    </a:lnTo>
                    <a:lnTo>
                      <a:pt x="4019" y="5430"/>
                    </a:lnTo>
                    <a:lnTo>
                      <a:pt x="3997" y="5393"/>
                    </a:lnTo>
                    <a:lnTo>
                      <a:pt x="3972" y="5354"/>
                    </a:lnTo>
                    <a:lnTo>
                      <a:pt x="3947" y="5312"/>
                    </a:lnTo>
                    <a:lnTo>
                      <a:pt x="3919" y="5267"/>
                    </a:lnTo>
                    <a:lnTo>
                      <a:pt x="3888" y="5220"/>
                    </a:lnTo>
                    <a:lnTo>
                      <a:pt x="3854" y="5175"/>
                    </a:lnTo>
                    <a:lnTo>
                      <a:pt x="3818" y="5129"/>
                    </a:lnTo>
                    <a:lnTo>
                      <a:pt x="3780" y="5084"/>
                    </a:lnTo>
                    <a:lnTo>
                      <a:pt x="3702" y="4995"/>
                    </a:lnTo>
                    <a:lnTo>
                      <a:pt x="3664" y="4949"/>
                    </a:lnTo>
                    <a:lnTo>
                      <a:pt x="3627" y="4904"/>
                    </a:lnTo>
                    <a:lnTo>
                      <a:pt x="3591" y="4859"/>
                    </a:lnTo>
                    <a:lnTo>
                      <a:pt x="3558" y="4812"/>
                    </a:lnTo>
                    <a:lnTo>
                      <a:pt x="3528" y="4766"/>
                    </a:lnTo>
                    <a:lnTo>
                      <a:pt x="3515" y="4742"/>
                    </a:lnTo>
                    <a:lnTo>
                      <a:pt x="3503" y="4719"/>
                    </a:lnTo>
                    <a:lnTo>
                      <a:pt x="3491" y="4695"/>
                    </a:lnTo>
                    <a:lnTo>
                      <a:pt x="3481" y="4670"/>
                    </a:lnTo>
                    <a:lnTo>
                      <a:pt x="3472" y="4646"/>
                    </a:lnTo>
                    <a:lnTo>
                      <a:pt x="3464" y="4621"/>
                    </a:lnTo>
                    <a:lnTo>
                      <a:pt x="3459" y="4596"/>
                    </a:lnTo>
                    <a:lnTo>
                      <a:pt x="3454" y="4570"/>
                    </a:lnTo>
                    <a:lnTo>
                      <a:pt x="3452" y="4545"/>
                    </a:lnTo>
                    <a:lnTo>
                      <a:pt x="3451" y="4519"/>
                    </a:lnTo>
                    <a:lnTo>
                      <a:pt x="3453" y="4491"/>
                    </a:lnTo>
                    <a:lnTo>
                      <a:pt x="3457" y="4460"/>
                    </a:lnTo>
                    <a:lnTo>
                      <a:pt x="3464" y="4427"/>
                    </a:lnTo>
                    <a:lnTo>
                      <a:pt x="3475" y="4391"/>
                    </a:lnTo>
                    <a:lnTo>
                      <a:pt x="3488" y="4353"/>
                    </a:lnTo>
                    <a:lnTo>
                      <a:pt x="3504" y="4313"/>
                    </a:lnTo>
                    <a:lnTo>
                      <a:pt x="3522" y="4270"/>
                    </a:lnTo>
                    <a:lnTo>
                      <a:pt x="3543" y="4225"/>
                    </a:lnTo>
                    <a:lnTo>
                      <a:pt x="3566" y="4179"/>
                    </a:lnTo>
                    <a:lnTo>
                      <a:pt x="3591" y="4131"/>
                    </a:lnTo>
                    <a:lnTo>
                      <a:pt x="3619" y="4080"/>
                    </a:lnTo>
                    <a:lnTo>
                      <a:pt x="3648" y="4029"/>
                    </a:lnTo>
                    <a:lnTo>
                      <a:pt x="3680" y="3976"/>
                    </a:lnTo>
                    <a:lnTo>
                      <a:pt x="3714" y="3921"/>
                    </a:lnTo>
                    <a:lnTo>
                      <a:pt x="3749" y="3866"/>
                    </a:lnTo>
                    <a:lnTo>
                      <a:pt x="3787" y="3809"/>
                    </a:lnTo>
                    <a:lnTo>
                      <a:pt x="3826" y="3753"/>
                    </a:lnTo>
                    <a:lnTo>
                      <a:pt x="3866" y="3694"/>
                    </a:lnTo>
                    <a:lnTo>
                      <a:pt x="3907" y="3635"/>
                    </a:lnTo>
                    <a:lnTo>
                      <a:pt x="3951" y="3575"/>
                    </a:lnTo>
                    <a:lnTo>
                      <a:pt x="3995" y="3516"/>
                    </a:lnTo>
                    <a:lnTo>
                      <a:pt x="4041" y="3456"/>
                    </a:lnTo>
                    <a:lnTo>
                      <a:pt x="4088" y="3395"/>
                    </a:lnTo>
                    <a:lnTo>
                      <a:pt x="4135" y="3335"/>
                    </a:lnTo>
                    <a:lnTo>
                      <a:pt x="4234" y="3215"/>
                    </a:lnTo>
                    <a:lnTo>
                      <a:pt x="4335" y="3096"/>
                    </a:lnTo>
                    <a:lnTo>
                      <a:pt x="4438" y="2980"/>
                    </a:lnTo>
                    <a:lnTo>
                      <a:pt x="4490" y="2922"/>
                    </a:lnTo>
                    <a:lnTo>
                      <a:pt x="4542" y="2867"/>
                    </a:lnTo>
                    <a:lnTo>
                      <a:pt x="4642" y="2754"/>
                    </a:lnTo>
                    <a:lnTo>
                      <a:pt x="4741" y="2642"/>
                    </a:lnTo>
                    <a:lnTo>
                      <a:pt x="4842" y="2529"/>
                    </a:lnTo>
                    <a:lnTo>
                      <a:pt x="4940" y="2417"/>
                    </a:lnTo>
                    <a:lnTo>
                      <a:pt x="5038" y="2306"/>
                    </a:lnTo>
                    <a:lnTo>
                      <a:pt x="5134" y="2199"/>
                    </a:lnTo>
                    <a:lnTo>
                      <a:pt x="5180" y="2147"/>
                    </a:lnTo>
                    <a:lnTo>
                      <a:pt x="5227" y="2096"/>
                    </a:lnTo>
                    <a:lnTo>
                      <a:pt x="5272" y="2047"/>
                    </a:lnTo>
                    <a:lnTo>
                      <a:pt x="5317" y="1998"/>
                    </a:lnTo>
                    <a:lnTo>
                      <a:pt x="5362" y="1951"/>
                    </a:lnTo>
                    <a:lnTo>
                      <a:pt x="5405" y="1907"/>
                    </a:lnTo>
                    <a:lnTo>
                      <a:pt x="5448" y="1863"/>
                    </a:lnTo>
                    <a:lnTo>
                      <a:pt x="5489" y="1822"/>
                    </a:lnTo>
                    <a:lnTo>
                      <a:pt x="5529" y="1783"/>
                    </a:lnTo>
                    <a:lnTo>
                      <a:pt x="5568" y="1746"/>
                    </a:lnTo>
                    <a:lnTo>
                      <a:pt x="5606" y="1711"/>
                    </a:lnTo>
                    <a:lnTo>
                      <a:pt x="5643" y="1679"/>
                    </a:lnTo>
                    <a:lnTo>
                      <a:pt x="5678" y="1650"/>
                    </a:lnTo>
                    <a:lnTo>
                      <a:pt x="5712" y="1622"/>
                    </a:lnTo>
                    <a:lnTo>
                      <a:pt x="5744" y="1599"/>
                    </a:lnTo>
                    <a:lnTo>
                      <a:pt x="5775" y="1578"/>
                    </a:lnTo>
                    <a:lnTo>
                      <a:pt x="5805" y="1561"/>
                    </a:lnTo>
                    <a:lnTo>
                      <a:pt x="5832" y="1545"/>
                    </a:lnTo>
                    <a:lnTo>
                      <a:pt x="5858" y="1534"/>
                    </a:lnTo>
                    <a:lnTo>
                      <a:pt x="5882" y="1527"/>
                    </a:lnTo>
                    <a:lnTo>
                      <a:pt x="6475" y="1434"/>
                    </a:lnTo>
                    <a:lnTo>
                      <a:pt x="6533" y="1425"/>
                    </a:lnTo>
                    <a:lnTo>
                      <a:pt x="6587" y="1416"/>
                    </a:lnTo>
                    <a:lnTo>
                      <a:pt x="6641" y="1407"/>
                    </a:lnTo>
                    <a:lnTo>
                      <a:pt x="6693" y="1398"/>
                    </a:lnTo>
                    <a:lnTo>
                      <a:pt x="6742" y="1389"/>
                    </a:lnTo>
                    <a:lnTo>
                      <a:pt x="6790" y="1379"/>
                    </a:lnTo>
                    <a:lnTo>
                      <a:pt x="6835" y="1370"/>
                    </a:lnTo>
                    <a:lnTo>
                      <a:pt x="6879" y="1361"/>
                    </a:lnTo>
                    <a:lnTo>
                      <a:pt x="6921" y="1350"/>
                    </a:lnTo>
                    <a:lnTo>
                      <a:pt x="6961" y="1342"/>
                    </a:lnTo>
                    <a:lnTo>
                      <a:pt x="6998" y="1333"/>
                    </a:lnTo>
                    <a:lnTo>
                      <a:pt x="7034" y="1324"/>
                    </a:lnTo>
                    <a:lnTo>
                      <a:pt x="7068" y="1314"/>
                    </a:lnTo>
                    <a:lnTo>
                      <a:pt x="7101" y="1306"/>
                    </a:lnTo>
                    <a:lnTo>
                      <a:pt x="7131" y="1298"/>
                    </a:lnTo>
                    <a:lnTo>
                      <a:pt x="7160" y="1290"/>
                    </a:lnTo>
                    <a:lnTo>
                      <a:pt x="7187" y="1281"/>
                    </a:lnTo>
                    <a:lnTo>
                      <a:pt x="7212" y="1274"/>
                    </a:lnTo>
                    <a:lnTo>
                      <a:pt x="7236" y="1267"/>
                    </a:lnTo>
                    <a:lnTo>
                      <a:pt x="7256" y="1260"/>
                    </a:lnTo>
                    <a:lnTo>
                      <a:pt x="7276" y="1254"/>
                    </a:lnTo>
                    <a:lnTo>
                      <a:pt x="7294" y="1247"/>
                    </a:lnTo>
                    <a:lnTo>
                      <a:pt x="7310" y="1241"/>
                    </a:lnTo>
                    <a:lnTo>
                      <a:pt x="7324" y="1236"/>
                    </a:lnTo>
                    <a:lnTo>
                      <a:pt x="7337" y="1232"/>
                    </a:lnTo>
                    <a:lnTo>
                      <a:pt x="7348" y="1228"/>
                    </a:lnTo>
                    <a:lnTo>
                      <a:pt x="7357" y="1224"/>
                    </a:lnTo>
                    <a:lnTo>
                      <a:pt x="7365" y="1221"/>
                    </a:lnTo>
                    <a:lnTo>
                      <a:pt x="7371" y="1219"/>
                    </a:lnTo>
                    <a:lnTo>
                      <a:pt x="7375" y="1217"/>
                    </a:lnTo>
                    <a:lnTo>
                      <a:pt x="7377" y="1216"/>
                    </a:lnTo>
                    <a:lnTo>
                      <a:pt x="7378" y="1216"/>
                    </a:lnTo>
                    <a:lnTo>
                      <a:pt x="6381" y="1246"/>
                    </a:lnTo>
                    <a:lnTo>
                      <a:pt x="6383" y="1245"/>
                    </a:lnTo>
                    <a:lnTo>
                      <a:pt x="6385" y="1243"/>
                    </a:lnTo>
                    <a:lnTo>
                      <a:pt x="6389" y="1238"/>
                    </a:lnTo>
                    <a:lnTo>
                      <a:pt x="6393" y="1232"/>
                    </a:lnTo>
                    <a:lnTo>
                      <a:pt x="6398" y="1225"/>
                    </a:lnTo>
                    <a:lnTo>
                      <a:pt x="6405" y="1216"/>
                    </a:lnTo>
                    <a:lnTo>
                      <a:pt x="6411" y="1205"/>
                    </a:lnTo>
                    <a:lnTo>
                      <a:pt x="6419" y="1193"/>
                    </a:lnTo>
                    <a:lnTo>
                      <a:pt x="6427" y="1179"/>
                    </a:lnTo>
                    <a:lnTo>
                      <a:pt x="6438" y="1165"/>
                    </a:lnTo>
                    <a:lnTo>
                      <a:pt x="6448" y="1149"/>
                    </a:lnTo>
                    <a:lnTo>
                      <a:pt x="6459" y="1131"/>
                    </a:lnTo>
                    <a:lnTo>
                      <a:pt x="6472" y="1114"/>
                    </a:lnTo>
                    <a:lnTo>
                      <a:pt x="6485" y="1094"/>
                    </a:lnTo>
                    <a:lnTo>
                      <a:pt x="6501" y="1073"/>
                    </a:lnTo>
                    <a:lnTo>
                      <a:pt x="6516" y="1052"/>
                    </a:lnTo>
                    <a:lnTo>
                      <a:pt x="6533" y="1029"/>
                    </a:lnTo>
                    <a:lnTo>
                      <a:pt x="6550" y="1006"/>
                    </a:lnTo>
                    <a:lnTo>
                      <a:pt x="6569" y="982"/>
                    </a:lnTo>
                    <a:lnTo>
                      <a:pt x="6589" y="957"/>
                    </a:lnTo>
                    <a:lnTo>
                      <a:pt x="6610" y="932"/>
                    </a:lnTo>
                    <a:lnTo>
                      <a:pt x="6633" y="905"/>
                    </a:lnTo>
                    <a:lnTo>
                      <a:pt x="6655" y="880"/>
                    </a:lnTo>
                    <a:lnTo>
                      <a:pt x="6680" y="852"/>
                    </a:lnTo>
                    <a:lnTo>
                      <a:pt x="6706" y="824"/>
                    </a:lnTo>
                    <a:lnTo>
                      <a:pt x="6734" y="796"/>
                    </a:lnTo>
                    <a:lnTo>
                      <a:pt x="6762" y="768"/>
                    </a:lnTo>
                    <a:lnTo>
                      <a:pt x="6792" y="740"/>
                    </a:lnTo>
                    <a:lnTo>
                      <a:pt x="6822" y="711"/>
                    </a:lnTo>
                    <a:lnTo>
                      <a:pt x="6855" y="682"/>
                    </a:lnTo>
                    <a:lnTo>
                      <a:pt x="6888" y="652"/>
                    </a:lnTo>
                    <a:lnTo>
                      <a:pt x="6923" y="623"/>
                    </a:lnTo>
                    <a:lnTo>
                      <a:pt x="6959" y="594"/>
                    </a:lnTo>
                    <a:lnTo>
                      <a:pt x="6996" y="565"/>
                    </a:lnTo>
                    <a:lnTo>
                      <a:pt x="7035" y="536"/>
                    </a:lnTo>
                    <a:lnTo>
                      <a:pt x="7076" y="507"/>
                    </a:lnTo>
                    <a:lnTo>
                      <a:pt x="7117" y="478"/>
                    </a:lnTo>
                    <a:lnTo>
                      <a:pt x="7160" y="450"/>
                    </a:lnTo>
                    <a:lnTo>
                      <a:pt x="7205" y="422"/>
                    </a:lnTo>
                    <a:lnTo>
                      <a:pt x="7250" y="395"/>
                    </a:lnTo>
                    <a:lnTo>
                      <a:pt x="7297" y="368"/>
                    </a:lnTo>
                    <a:lnTo>
                      <a:pt x="7347" y="341"/>
                    </a:lnTo>
                    <a:lnTo>
                      <a:pt x="7398" y="314"/>
                    </a:lnTo>
                    <a:lnTo>
                      <a:pt x="7449" y="290"/>
                    </a:lnTo>
                    <a:lnTo>
                      <a:pt x="7503" y="265"/>
                    </a:lnTo>
                    <a:lnTo>
                      <a:pt x="7559" y="240"/>
                    </a:lnTo>
                    <a:lnTo>
                      <a:pt x="7615" y="217"/>
                    </a:lnTo>
                    <a:lnTo>
                      <a:pt x="7674" y="195"/>
                    </a:lnTo>
                    <a:lnTo>
                      <a:pt x="7734" y="173"/>
                    </a:lnTo>
                    <a:lnTo>
                      <a:pt x="7796" y="153"/>
                    </a:lnTo>
                    <a:lnTo>
                      <a:pt x="7859" y="134"/>
                    </a:lnTo>
                    <a:lnTo>
                      <a:pt x="7924" y="115"/>
                    </a:lnTo>
                    <a:lnTo>
                      <a:pt x="7991" y="98"/>
                    </a:lnTo>
                    <a:lnTo>
                      <a:pt x="8059" y="81"/>
                    </a:lnTo>
                    <a:lnTo>
                      <a:pt x="8130" y="67"/>
                    </a:lnTo>
                    <a:lnTo>
                      <a:pt x="8202" y="54"/>
                    </a:lnTo>
                    <a:lnTo>
                      <a:pt x="8275" y="41"/>
                    </a:lnTo>
                    <a:lnTo>
                      <a:pt x="8350" y="31"/>
                    </a:lnTo>
                    <a:lnTo>
                      <a:pt x="8428" y="22"/>
                    </a:lnTo>
                    <a:lnTo>
                      <a:pt x="8507" y="14"/>
                    </a:lnTo>
                    <a:lnTo>
                      <a:pt x="8589" y="8"/>
                    </a:lnTo>
                    <a:lnTo>
                      <a:pt x="8671" y="4"/>
                    </a:lnTo>
                    <a:lnTo>
                      <a:pt x="8756" y="1"/>
                    </a:lnTo>
                    <a:lnTo>
                      <a:pt x="8843" y="0"/>
                    </a:lnTo>
                    <a:lnTo>
                      <a:pt x="9062" y="0"/>
                    </a:lnTo>
                    <a:lnTo>
                      <a:pt x="9114" y="4"/>
                    </a:lnTo>
                    <a:lnTo>
                      <a:pt x="9166" y="8"/>
                    </a:lnTo>
                    <a:lnTo>
                      <a:pt x="9217" y="14"/>
                    </a:lnTo>
                    <a:lnTo>
                      <a:pt x="9266" y="23"/>
                    </a:lnTo>
                    <a:lnTo>
                      <a:pt x="9316" y="31"/>
                    </a:lnTo>
                    <a:lnTo>
                      <a:pt x="9365" y="41"/>
                    </a:lnTo>
                    <a:lnTo>
                      <a:pt x="9413" y="52"/>
                    </a:lnTo>
                    <a:lnTo>
                      <a:pt x="9460" y="64"/>
                    </a:lnTo>
                    <a:lnTo>
                      <a:pt x="9507" y="77"/>
                    </a:lnTo>
                    <a:lnTo>
                      <a:pt x="9553" y="91"/>
                    </a:lnTo>
                    <a:lnTo>
                      <a:pt x="9643" y="123"/>
                    </a:lnTo>
                    <a:lnTo>
                      <a:pt x="9731" y="158"/>
                    </a:lnTo>
                    <a:lnTo>
                      <a:pt x="9815" y="196"/>
                    </a:lnTo>
                    <a:lnTo>
                      <a:pt x="9897" y="237"/>
                    </a:lnTo>
                    <a:lnTo>
                      <a:pt x="9976" y="280"/>
                    </a:lnTo>
                    <a:lnTo>
                      <a:pt x="10053" y="327"/>
                    </a:lnTo>
                    <a:lnTo>
                      <a:pt x="10126" y="375"/>
                    </a:lnTo>
                    <a:lnTo>
                      <a:pt x="10197" y="425"/>
                    </a:lnTo>
                    <a:lnTo>
                      <a:pt x="10265" y="477"/>
                    </a:lnTo>
                    <a:lnTo>
                      <a:pt x="10330" y="531"/>
                    </a:lnTo>
                    <a:lnTo>
                      <a:pt x="10393" y="584"/>
                    </a:lnTo>
                    <a:lnTo>
                      <a:pt x="10453" y="639"/>
                    </a:lnTo>
                    <a:lnTo>
                      <a:pt x="10511" y="693"/>
                    </a:lnTo>
                    <a:lnTo>
                      <a:pt x="10565" y="747"/>
                    </a:lnTo>
                    <a:lnTo>
                      <a:pt x="10617" y="801"/>
                    </a:lnTo>
                    <a:lnTo>
                      <a:pt x="10666" y="855"/>
                    </a:lnTo>
                    <a:lnTo>
                      <a:pt x="10712" y="908"/>
                    </a:lnTo>
                    <a:lnTo>
                      <a:pt x="10756" y="958"/>
                    </a:lnTo>
                    <a:lnTo>
                      <a:pt x="10797" y="1007"/>
                    </a:lnTo>
                    <a:lnTo>
                      <a:pt x="10835" y="1056"/>
                    </a:lnTo>
                    <a:lnTo>
                      <a:pt x="10870" y="1101"/>
                    </a:lnTo>
                    <a:lnTo>
                      <a:pt x="10903" y="1143"/>
                    </a:lnTo>
                    <a:lnTo>
                      <a:pt x="10933" y="1184"/>
                    </a:lnTo>
                    <a:lnTo>
                      <a:pt x="10960" y="1221"/>
                    </a:lnTo>
                    <a:lnTo>
                      <a:pt x="10985" y="1254"/>
                    </a:lnTo>
                    <a:lnTo>
                      <a:pt x="11007" y="1284"/>
                    </a:lnTo>
                    <a:lnTo>
                      <a:pt x="11016" y="1297"/>
                    </a:lnTo>
                    <a:lnTo>
                      <a:pt x="11025" y="1309"/>
                    </a:lnTo>
                    <a:lnTo>
                      <a:pt x="10993" y="1309"/>
                    </a:lnTo>
                    <a:lnTo>
                      <a:pt x="10963" y="1311"/>
                    </a:lnTo>
                    <a:lnTo>
                      <a:pt x="10931" y="1316"/>
                    </a:lnTo>
                    <a:lnTo>
                      <a:pt x="10898" y="1324"/>
                    </a:lnTo>
                    <a:lnTo>
                      <a:pt x="10864" y="1334"/>
                    </a:lnTo>
                    <a:lnTo>
                      <a:pt x="10830" y="1345"/>
                    </a:lnTo>
                    <a:lnTo>
                      <a:pt x="10797" y="1359"/>
                    </a:lnTo>
                    <a:lnTo>
                      <a:pt x="10764" y="1372"/>
                    </a:lnTo>
                    <a:lnTo>
                      <a:pt x="10732" y="1388"/>
                    </a:lnTo>
                    <a:lnTo>
                      <a:pt x="10703" y="1402"/>
                    </a:lnTo>
                    <a:lnTo>
                      <a:pt x="10675" y="1415"/>
                    </a:lnTo>
                    <a:lnTo>
                      <a:pt x="10651" y="1429"/>
                    </a:lnTo>
                    <a:lnTo>
                      <a:pt x="10630" y="1440"/>
                    </a:lnTo>
                    <a:lnTo>
                      <a:pt x="10621" y="1446"/>
                    </a:lnTo>
                    <a:lnTo>
                      <a:pt x="10612" y="1450"/>
                    </a:lnTo>
                    <a:lnTo>
                      <a:pt x="10605" y="1454"/>
                    </a:lnTo>
                    <a:lnTo>
                      <a:pt x="10600" y="1459"/>
                    </a:lnTo>
                    <a:lnTo>
                      <a:pt x="10595" y="1461"/>
                    </a:lnTo>
                    <a:lnTo>
                      <a:pt x="10592" y="1463"/>
                    </a:lnTo>
                    <a:lnTo>
                      <a:pt x="10590" y="1465"/>
                    </a:lnTo>
                    <a:lnTo>
                      <a:pt x="10589" y="1465"/>
                    </a:lnTo>
                    <a:lnTo>
                      <a:pt x="10868" y="1465"/>
                    </a:lnTo>
                    <a:lnTo>
                      <a:pt x="10914" y="1465"/>
                    </a:lnTo>
                    <a:lnTo>
                      <a:pt x="10957" y="1466"/>
                    </a:lnTo>
                    <a:lnTo>
                      <a:pt x="10997" y="1467"/>
                    </a:lnTo>
                    <a:lnTo>
                      <a:pt x="11037" y="1469"/>
                    </a:lnTo>
                    <a:lnTo>
                      <a:pt x="11074" y="1472"/>
                    </a:lnTo>
                    <a:lnTo>
                      <a:pt x="11110" y="1478"/>
                    </a:lnTo>
                    <a:lnTo>
                      <a:pt x="11145" y="1485"/>
                    </a:lnTo>
                    <a:lnTo>
                      <a:pt x="11180" y="1496"/>
                    </a:lnTo>
                    <a:lnTo>
                      <a:pt x="11215" y="1508"/>
                    </a:lnTo>
                    <a:lnTo>
                      <a:pt x="11249" y="1521"/>
                    </a:lnTo>
                    <a:lnTo>
                      <a:pt x="11283" y="1535"/>
                    </a:lnTo>
                    <a:lnTo>
                      <a:pt x="11316" y="1551"/>
                    </a:lnTo>
                    <a:lnTo>
                      <a:pt x="11349" y="1568"/>
                    </a:lnTo>
                    <a:lnTo>
                      <a:pt x="11383" y="1587"/>
                    </a:lnTo>
                    <a:lnTo>
                      <a:pt x="11416" y="1609"/>
                    </a:lnTo>
                    <a:lnTo>
                      <a:pt x="11449" y="1633"/>
                    </a:lnTo>
                    <a:lnTo>
                      <a:pt x="11484" y="1658"/>
                    </a:lnTo>
                    <a:lnTo>
                      <a:pt x="11518" y="1687"/>
                    </a:lnTo>
                    <a:lnTo>
                      <a:pt x="11553" y="1719"/>
                    </a:lnTo>
                    <a:lnTo>
                      <a:pt x="11589" y="1754"/>
                    </a:lnTo>
                    <a:lnTo>
                      <a:pt x="11625" y="1793"/>
                    </a:lnTo>
                    <a:lnTo>
                      <a:pt x="11663" y="1836"/>
                    </a:lnTo>
                    <a:lnTo>
                      <a:pt x="11682" y="1858"/>
                    </a:lnTo>
                    <a:lnTo>
                      <a:pt x="11701" y="1882"/>
                    </a:lnTo>
                    <a:lnTo>
                      <a:pt x="11721" y="1907"/>
                    </a:lnTo>
                    <a:lnTo>
                      <a:pt x="11742" y="1932"/>
                    </a:lnTo>
                    <a:lnTo>
                      <a:pt x="11769" y="1967"/>
                    </a:lnTo>
                    <a:lnTo>
                      <a:pt x="11794" y="2004"/>
                    </a:lnTo>
                    <a:lnTo>
                      <a:pt x="11816" y="2040"/>
                    </a:lnTo>
                    <a:lnTo>
                      <a:pt x="11833" y="2075"/>
                    </a:lnTo>
                    <a:lnTo>
                      <a:pt x="11848" y="2109"/>
                    </a:lnTo>
                    <a:lnTo>
                      <a:pt x="11859" y="2143"/>
                    </a:lnTo>
                    <a:lnTo>
                      <a:pt x="11867" y="2174"/>
                    </a:lnTo>
                    <a:lnTo>
                      <a:pt x="11871" y="2204"/>
                    </a:lnTo>
                    <a:lnTo>
                      <a:pt x="11871" y="2219"/>
                    </a:lnTo>
                    <a:lnTo>
                      <a:pt x="11870" y="2233"/>
                    </a:lnTo>
                    <a:lnTo>
                      <a:pt x="11868" y="2246"/>
                    </a:lnTo>
                    <a:lnTo>
                      <a:pt x="11864" y="2258"/>
                    </a:lnTo>
                    <a:lnTo>
                      <a:pt x="11861" y="2270"/>
                    </a:lnTo>
                    <a:lnTo>
                      <a:pt x="11856" y="2281"/>
                    </a:lnTo>
                    <a:lnTo>
                      <a:pt x="11850" y="2291"/>
                    </a:lnTo>
                    <a:lnTo>
                      <a:pt x="11843" y="2300"/>
                    </a:lnTo>
                    <a:lnTo>
                      <a:pt x="11833" y="2308"/>
                    </a:lnTo>
                    <a:lnTo>
                      <a:pt x="11824" y="2316"/>
                    </a:lnTo>
                    <a:lnTo>
                      <a:pt x="11814" y="2322"/>
                    </a:lnTo>
                    <a:lnTo>
                      <a:pt x="11801" y="2328"/>
                    </a:lnTo>
                    <a:lnTo>
                      <a:pt x="11788" y="2332"/>
                    </a:lnTo>
                    <a:lnTo>
                      <a:pt x="11775" y="2335"/>
                    </a:lnTo>
                    <a:lnTo>
                      <a:pt x="11758" y="2336"/>
                    </a:lnTo>
                    <a:lnTo>
                      <a:pt x="11742" y="2337"/>
                    </a:lnTo>
                    <a:lnTo>
                      <a:pt x="11648" y="2337"/>
                    </a:lnTo>
                    <a:lnTo>
                      <a:pt x="11619" y="2337"/>
                    </a:lnTo>
                    <a:lnTo>
                      <a:pt x="11592" y="2338"/>
                    </a:lnTo>
                    <a:lnTo>
                      <a:pt x="11566" y="2339"/>
                    </a:lnTo>
                    <a:lnTo>
                      <a:pt x="11541" y="2340"/>
                    </a:lnTo>
                    <a:lnTo>
                      <a:pt x="11519" y="2341"/>
                    </a:lnTo>
                    <a:lnTo>
                      <a:pt x="11496" y="2343"/>
                    </a:lnTo>
                    <a:lnTo>
                      <a:pt x="11475" y="2345"/>
                    </a:lnTo>
                    <a:lnTo>
                      <a:pt x="11456" y="2348"/>
                    </a:lnTo>
                    <a:lnTo>
                      <a:pt x="11419" y="2354"/>
                    </a:lnTo>
                    <a:lnTo>
                      <a:pt x="11384" y="2360"/>
                    </a:lnTo>
                    <a:lnTo>
                      <a:pt x="11353" y="2368"/>
                    </a:lnTo>
                    <a:lnTo>
                      <a:pt x="11325" y="2376"/>
                    </a:lnTo>
                    <a:lnTo>
                      <a:pt x="11298" y="2385"/>
                    </a:lnTo>
                    <a:lnTo>
                      <a:pt x="11272" y="2395"/>
                    </a:lnTo>
                    <a:lnTo>
                      <a:pt x="11222" y="2416"/>
                    </a:lnTo>
                    <a:lnTo>
                      <a:pt x="11199" y="2427"/>
                    </a:lnTo>
                    <a:lnTo>
                      <a:pt x="11173" y="2438"/>
                    </a:lnTo>
                    <a:lnTo>
                      <a:pt x="11146" y="2451"/>
                    </a:lnTo>
                    <a:lnTo>
                      <a:pt x="11118" y="2462"/>
                    </a:lnTo>
                    <a:lnTo>
                      <a:pt x="11132" y="2461"/>
                    </a:lnTo>
                    <a:lnTo>
                      <a:pt x="11147" y="2457"/>
                    </a:lnTo>
                    <a:lnTo>
                      <a:pt x="11165" y="2453"/>
                    </a:lnTo>
                    <a:lnTo>
                      <a:pt x="11184" y="2446"/>
                    </a:lnTo>
                    <a:lnTo>
                      <a:pt x="11206" y="2441"/>
                    </a:lnTo>
                    <a:lnTo>
                      <a:pt x="11228" y="2436"/>
                    </a:lnTo>
                    <a:lnTo>
                      <a:pt x="11251" y="2432"/>
                    </a:lnTo>
                    <a:lnTo>
                      <a:pt x="11274" y="2431"/>
                    </a:lnTo>
                    <a:lnTo>
                      <a:pt x="11321" y="2432"/>
                    </a:lnTo>
                    <a:lnTo>
                      <a:pt x="11345" y="2433"/>
                    </a:lnTo>
                    <a:lnTo>
                      <a:pt x="11369" y="2435"/>
                    </a:lnTo>
                    <a:lnTo>
                      <a:pt x="11393" y="2439"/>
                    </a:lnTo>
                    <a:lnTo>
                      <a:pt x="11415" y="2444"/>
                    </a:lnTo>
                    <a:lnTo>
                      <a:pt x="11438" y="2453"/>
                    </a:lnTo>
                    <a:lnTo>
                      <a:pt x="11461" y="2463"/>
                    </a:lnTo>
                    <a:lnTo>
                      <a:pt x="11483" y="2476"/>
                    </a:lnTo>
                    <a:lnTo>
                      <a:pt x="11503" y="2493"/>
                    </a:lnTo>
                    <a:lnTo>
                      <a:pt x="11523" y="2513"/>
                    </a:lnTo>
                    <a:lnTo>
                      <a:pt x="11532" y="2526"/>
                    </a:lnTo>
                    <a:lnTo>
                      <a:pt x="11540" y="2538"/>
                    </a:lnTo>
                    <a:lnTo>
                      <a:pt x="11550" y="2551"/>
                    </a:lnTo>
                    <a:lnTo>
                      <a:pt x="11558" y="2567"/>
                    </a:lnTo>
                    <a:lnTo>
                      <a:pt x="11566" y="2582"/>
                    </a:lnTo>
                    <a:lnTo>
                      <a:pt x="11573" y="2600"/>
                    </a:lnTo>
                    <a:lnTo>
                      <a:pt x="11581" y="2618"/>
                    </a:lnTo>
                    <a:lnTo>
                      <a:pt x="11588" y="2638"/>
                    </a:lnTo>
                    <a:lnTo>
                      <a:pt x="11594" y="2660"/>
                    </a:lnTo>
                    <a:lnTo>
                      <a:pt x="11600" y="2682"/>
                    </a:lnTo>
                    <a:lnTo>
                      <a:pt x="11600" y="2715"/>
                    </a:lnTo>
                    <a:lnTo>
                      <a:pt x="11600" y="2746"/>
                    </a:lnTo>
                    <a:lnTo>
                      <a:pt x="11599" y="2774"/>
                    </a:lnTo>
                    <a:lnTo>
                      <a:pt x="11598" y="2800"/>
                    </a:lnTo>
                    <a:lnTo>
                      <a:pt x="11595" y="2824"/>
                    </a:lnTo>
                    <a:lnTo>
                      <a:pt x="11592" y="2846"/>
                    </a:lnTo>
                    <a:lnTo>
                      <a:pt x="11588" y="2866"/>
                    </a:lnTo>
                    <a:lnTo>
                      <a:pt x="11583" y="2883"/>
                    </a:lnTo>
                    <a:lnTo>
                      <a:pt x="11575" y="2900"/>
                    </a:lnTo>
                    <a:lnTo>
                      <a:pt x="11568" y="2913"/>
                    </a:lnTo>
                    <a:lnTo>
                      <a:pt x="11559" y="2925"/>
                    </a:lnTo>
                    <a:lnTo>
                      <a:pt x="11549" y="2937"/>
                    </a:lnTo>
                    <a:lnTo>
                      <a:pt x="11537" y="2946"/>
                    </a:lnTo>
                    <a:lnTo>
                      <a:pt x="11524" y="2953"/>
                    </a:lnTo>
                    <a:lnTo>
                      <a:pt x="11509" y="2959"/>
                    </a:lnTo>
                    <a:lnTo>
                      <a:pt x="11493" y="2965"/>
                    </a:lnTo>
                    <a:lnTo>
                      <a:pt x="11518" y="2955"/>
                    </a:lnTo>
                    <a:lnTo>
                      <a:pt x="11540" y="2948"/>
                    </a:lnTo>
                    <a:lnTo>
                      <a:pt x="11564" y="2943"/>
                    </a:lnTo>
                    <a:lnTo>
                      <a:pt x="11577" y="2940"/>
                    </a:lnTo>
                    <a:lnTo>
                      <a:pt x="11591" y="2938"/>
                    </a:lnTo>
                    <a:lnTo>
                      <a:pt x="11606" y="2937"/>
                    </a:lnTo>
                    <a:lnTo>
                      <a:pt x="11623" y="2935"/>
                    </a:lnTo>
                    <a:lnTo>
                      <a:pt x="11641" y="2934"/>
                    </a:lnTo>
                    <a:lnTo>
                      <a:pt x="11662" y="2933"/>
                    </a:lnTo>
                    <a:lnTo>
                      <a:pt x="11686" y="2932"/>
                    </a:lnTo>
                    <a:lnTo>
                      <a:pt x="11712" y="2931"/>
                    </a:lnTo>
                    <a:lnTo>
                      <a:pt x="11741" y="2931"/>
                    </a:lnTo>
                    <a:lnTo>
                      <a:pt x="11773" y="2930"/>
                    </a:lnTo>
                    <a:lnTo>
                      <a:pt x="11796" y="2931"/>
                    </a:lnTo>
                    <a:lnTo>
                      <a:pt x="11820" y="2933"/>
                    </a:lnTo>
                    <a:lnTo>
                      <a:pt x="11844" y="2937"/>
                    </a:lnTo>
                    <a:lnTo>
                      <a:pt x="11868" y="2943"/>
                    </a:lnTo>
                    <a:lnTo>
                      <a:pt x="11890" y="2950"/>
                    </a:lnTo>
                    <a:lnTo>
                      <a:pt x="11914" y="2959"/>
                    </a:lnTo>
                    <a:lnTo>
                      <a:pt x="11936" y="2970"/>
                    </a:lnTo>
                    <a:lnTo>
                      <a:pt x="11957" y="2981"/>
                    </a:lnTo>
                    <a:lnTo>
                      <a:pt x="11978" y="2994"/>
                    </a:lnTo>
                    <a:lnTo>
                      <a:pt x="11998" y="3008"/>
                    </a:lnTo>
                    <a:lnTo>
                      <a:pt x="12016" y="3023"/>
                    </a:lnTo>
                    <a:lnTo>
                      <a:pt x="12033" y="3040"/>
                    </a:lnTo>
                    <a:lnTo>
                      <a:pt x="12048" y="3057"/>
                    </a:lnTo>
                    <a:lnTo>
                      <a:pt x="12063" y="3076"/>
                    </a:lnTo>
                    <a:lnTo>
                      <a:pt x="12074" y="3095"/>
                    </a:lnTo>
                    <a:lnTo>
                      <a:pt x="12084" y="3116"/>
                    </a:lnTo>
                    <a:lnTo>
                      <a:pt x="12094" y="3137"/>
                    </a:lnTo>
                    <a:lnTo>
                      <a:pt x="12102" y="3157"/>
                    </a:lnTo>
                    <a:lnTo>
                      <a:pt x="12110" y="3176"/>
                    </a:lnTo>
                    <a:lnTo>
                      <a:pt x="12117" y="3194"/>
                    </a:lnTo>
                    <a:lnTo>
                      <a:pt x="12124" y="3213"/>
                    </a:lnTo>
                    <a:lnTo>
                      <a:pt x="12128" y="3231"/>
                    </a:lnTo>
                    <a:lnTo>
                      <a:pt x="12130" y="3251"/>
                    </a:lnTo>
                    <a:lnTo>
                      <a:pt x="12130" y="3269"/>
                    </a:lnTo>
                    <a:lnTo>
                      <a:pt x="12127" y="3290"/>
                    </a:lnTo>
                    <a:lnTo>
                      <a:pt x="12120" y="3312"/>
                    </a:lnTo>
                    <a:lnTo>
                      <a:pt x="12111" y="3334"/>
                    </a:lnTo>
                    <a:lnTo>
                      <a:pt x="12105" y="3347"/>
                    </a:lnTo>
                    <a:lnTo>
                      <a:pt x="12098" y="3359"/>
                    </a:lnTo>
                    <a:lnTo>
                      <a:pt x="12090" y="3371"/>
                    </a:lnTo>
                    <a:lnTo>
                      <a:pt x="12080" y="3385"/>
                    </a:lnTo>
                    <a:lnTo>
                      <a:pt x="12070" y="3399"/>
                    </a:lnTo>
                    <a:lnTo>
                      <a:pt x="12058" y="3414"/>
                    </a:lnTo>
                    <a:lnTo>
                      <a:pt x="12045" y="3429"/>
                    </a:lnTo>
                    <a:lnTo>
                      <a:pt x="12031" y="3445"/>
                    </a:lnTo>
                    <a:lnTo>
                      <a:pt x="12015" y="3461"/>
                    </a:lnTo>
                    <a:lnTo>
                      <a:pt x="11999" y="3479"/>
                    </a:lnTo>
                    <a:lnTo>
                      <a:pt x="12016" y="3462"/>
                    </a:lnTo>
                    <a:lnTo>
                      <a:pt x="12035" y="3446"/>
                    </a:lnTo>
                    <a:lnTo>
                      <a:pt x="12053" y="3431"/>
                    </a:lnTo>
                    <a:lnTo>
                      <a:pt x="12073" y="3418"/>
                    </a:lnTo>
                    <a:lnTo>
                      <a:pt x="12093" y="3405"/>
                    </a:lnTo>
                    <a:lnTo>
                      <a:pt x="12113" y="3394"/>
                    </a:lnTo>
                    <a:lnTo>
                      <a:pt x="12134" y="3385"/>
                    </a:lnTo>
                    <a:lnTo>
                      <a:pt x="12156" y="3376"/>
                    </a:lnTo>
                    <a:lnTo>
                      <a:pt x="12199" y="3360"/>
                    </a:lnTo>
                    <a:lnTo>
                      <a:pt x="12243" y="3348"/>
                    </a:lnTo>
                    <a:lnTo>
                      <a:pt x="12288" y="3339"/>
                    </a:lnTo>
                    <a:lnTo>
                      <a:pt x="12333" y="3334"/>
                    </a:lnTo>
                    <a:lnTo>
                      <a:pt x="12350" y="3333"/>
                    </a:lnTo>
                    <a:lnTo>
                      <a:pt x="12367" y="3333"/>
                    </a:lnTo>
                    <a:lnTo>
                      <a:pt x="12385" y="3334"/>
                    </a:lnTo>
                    <a:lnTo>
                      <a:pt x="12401" y="3336"/>
                    </a:lnTo>
                    <a:lnTo>
                      <a:pt x="12418" y="3341"/>
                    </a:lnTo>
                    <a:lnTo>
                      <a:pt x="12433" y="3347"/>
                    </a:lnTo>
                    <a:lnTo>
                      <a:pt x="12447" y="3355"/>
                    </a:lnTo>
                    <a:lnTo>
                      <a:pt x="12458" y="3365"/>
                    </a:lnTo>
                    <a:lnTo>
                      <a:pt x="12474" y="3382"/>
                    </a:lnTo>
                    <a:lnTo>
                      <a:pt x="12487" y="3397"/>
                    </a:lnTo>
                    <a:lnTo>
                      <a:pt x="12499" y="3413"/>
                    </a:lnTo>
                    <a:lnTo>
                      <a:pt x="12511" y="3427"/>
                    </a:lnTo>
                    <a:lnTo>
                      <a:pt x="12520" y="3442"/>
                    </a:lnTo>
                    <a:lnTo>
                      <a:pt x="12528" y="3458"/>
                    </a:lnTo>
                    <a:lnTo>
                      <a:pt x="12534" y="3474"/>
                    </a:lnTo>
                    <a:lnTo>
                      <a:pt x="12539" y="3492"/>
                    </a:lnTo>
                    <a:lnTo>
                      <a:pt x="12542" y="3511"/>
                    </a:lnTo>
                    <a:lnTo>
                      <a:pt x="12544" y="3534"/>
                    </a:lnTo>
                    <a:lnTo>
                      <a:pt x="12543" y="3558"/>
                    </a:lnTo>
                    <a:lnTo>
                      <a:pt x="12541" y="3586"/>
                    </a:lnTo>
                    <a:lnTo>
                      <a:pt x="12537" y="3618"/>
                    </a:lnTo>
                    <a:lnTo>
                      <a:pt x="12533" y="3634"/>
                    </a:lnTo>
                    <a:lnTo>
                      <a:pt x="12529" y="3653"/>
                    </a:lnTo>
                    <a:lnTo>
                      <a:pt x="12526" y="3671"/>
                    </a:lnTo>
                    <a:lnTo>
                      <a:pt x="12521" y="3692"/>
                    </a:lnTo>
                    <a:lnTo>
                      <a:pt x="12516" y="3713"/>
                    </a:lnTo>
                    <a:lnTo>
                      <a:pt x="12511" y="3736"/>
                    </a:lnTo>
                    <a:lnTo>
                      <a:pt x="12505" y="3766"/>
                    </a:lnTo>
                    <a:lnTo>
                      <a:pt x="12497" y="3797"/>
                    </a:lnTo>
                    <a:lnTo>
                      <a:pt x="12483" y="3861"/>
                    </a:lnTo>
                    <a:lnTo>
                      <a:pt x="12465" y="3927"/>
                    </a:lnTo>
                    <a:lnTo>
                      <a:pt x="12447" y="3995"/>
                    </a:lnTo>
                    <a:lnTo>
                      <a:pt x="12427" y="4063"/>
                    </a:lnTo>
                    <a:lnTo>
                      <a:pt x="12407" y="4131"/>
                    </a:lnTo>
                    <a:lnTo>
                      <a:pt x="12387" y="4196"/>
                    </a:lnTo>
                    <a:lnTo>
                      <a:pt x="12367" y="4259"/>
                    </a:lnTo>
                    <a:lnTo>
                      <a:pt x="12358" y="4290"/>
                    </a:lnTo>
                    <a:lnTo>
                      <a:pt x="12349" y="4319"/>
                    </a:lnTo>
                    <a:lnTo>
                      <a:pt x="12339" y="4348"/>
                    </a:lnTo>
                    <a:lnTo>
                      <a:pt x="12330" y="4375"/>
                    </a:lnTo>
                    <a:lnTo>
                      <a:pt x="12322" y="4399"/>
                    </a:lnTo>
                    <a:lnTo>
                      <a:pt x="12315" y="4424"/>
                    </a:lnTo>
                    <a:lnTo>
                      <a:pt x="12306" y="4446"/>
                    </a:lnTo>
                    <a:lnTo>
                      <a:pt x="12300" y="4466"/>
                    </a:lnTo>
                    <a:lnTo>
                      <a:pt x="12294" y="4485"/>
                    </a:lnTo>
                    <a:lnTo>
                      <a:pt x="12288" y="4501"/>
                    </a:lnTo>
                    <a:lnTo>
                      <a:pt x="12283" y="4516"/>
                    </a:lnTo>
                    <a:lnTo>
                      <a:pt x="12278" y="4527"/>
                    </a:lnTo>
                    <a:lnTo>
                      <a:pt x="12275" y="4537"/>
                    </a:lnTo>
                    <a:lnTo>
                      <a:pt x="12273" y="4544"/>
                    </a:lnTo>
                    <a:lnTo>
                      <a:pt x="12272" y="4549"/>
                    </a:lnTo>
                    <a:lnTo>
                      <a:pt x="12271" y="4550"/>
                    </a:lnTo>
                    <a:lnTo>
                      <a:pt x="12272" y="4548"/>
                    </a:lnTo>
                    <a:lnTo>
                      <a:pt x="12276" y="4544"/>
                    </a:lnTo>
                    <a:lnTo>
                      <a:pt x="12283" y="4535"/>
                    </a:lnTo>
                    <a:lnTo>
                      <a:pt x="12291" y="4525"/>
                    </a:lnTo>
                    <a:lnTo>
                      <a:pt x="12301" y="4511"/>
                    </a:lnTo>
                    <a:lnTo>
                      <a:pt x="12314" y="4493"/>
                    </a:lnTo>
                    <a:lnTo>
                      <a:pt x="12328" y="4473"/>
                    </a:lnTo>
                    <a:lnTo>
                      <a:pt x="12343" y="4449"/>
                    </a:lnTo>
                    <a:lnTo>
                      <a:pt x="12360" y="4422"/>
                    </a:lnTo>
                    <a:lnTo>
                      <a:pt x="12379" y="4392"/>
                    </a:lnTo>
                    <a:lnTo>
                      <a:pt x="12398" y="4359"/>
                    </a:lnTo>
                    <a:lnTo>
                      <a:pt x="12419" y="4323"/>
                    </a:lnTo>
                    <a:lnTo>
                      <a:pt x="12439" y="4284"/>
                    </a:lnTo>
                    <a:lnTo>
                      <a:pt x="12462" y="4242"/>
                    </a:lnTo>
                    <a:lnTo>
                      <a:pt x="12484" y="4196"/>
                    </a:lnTo>
                    <a:lnTo>
                      <a:pt x="12507" y="4147"/>
                    </a:lnTo>
                    <a:lnTo>
                      <a:pt x="12529" y="4096"/>
                    </a:lnTo>
                    <a:lnTo>
                      <a:pt x="12553" y="4041"/>
                    </a:lnTo>
                    <a:lnTo>
                      <a:pt x="12576" y="3983"/>
                    </a:lnTo>
                    <a:lnTo>
                      <a:pt x="12597" y="3922"/>
                    </a:lnTo>
                    <a:lnTo>
                      <a:pt x="12620" y="3858"/>
                    </a:lnTo>
                    <a:lnTo>
                      <a:pt x="12642" y="3791"/>
                    </a:lnTo>
                    <a:lnTo>
                      <a:pt x="12662" y="3721"/>
                    </a:lnTo>
                    <a:lnTo>
                      <a:pt x="12682" y="3647"/>
                    </a:lnTo>
                    <a:lnTo>
                      <a:pt x="12701" y="3571"/>
                    </a:lnTo>
                    <a:lnTo>
                      <a:pt x="12718" y="3491"/>
                    </a:lnTo>
                    <a:lnTo>
                      <a:pt x="12735" y="3408"/>
                    </a:lnTo>
                    <a:lnTo>
                      <a:pt x="12749" y="3323"/>
                    </a:lnTo>
                    <a:lnTo>
                      <a:pt x="12763" y="3234"/>
                    </a:lnTo>
                    <a:lnTo>
                      <a:pt x="12773" y="3143"/>
                    </a:lnTo>
                    <a:lnTo>
                      <a:pt x="12782" y="3048"/>
                    </a:lnTo>
                    <a:lnTo>
                      <a:pt x="12789" y="2950"/>
                    </a:lnTo>
                    <a:lnTo>
                      <a:pt x="12793" y="2897"/>
                    </a:lnTo>
                    <a:lnTo>
                      <a:pt x="12795" y="2844"/>
                    </a:lnTo>
                    <a:lnTo>
                      <a:pt x="12796" y="2794"/>
                    </a:lnTo>
                    <a:lnTo>
                      <a:pt x="12797" y="2743"/>
                    </a:lnTo>
                    <a:lnTo>
                      <a:pt x="12798" y="2695"/>
                    </a:lnTo>
                    <a:lnTo>
                      <a:pt x="12798" y="2647"/>
                    </a:lnTo>
                    <a:lnTo>
                      <a:pt x="12798" y="2601"/>
                    </a:lnTo>
                    <a:lnTo>
                      <a:pt x="12798" y="2556"/>
                    </a:lnTo>
                    <a:lnTo>
                      <a:pt x="12797" y="2511"/>
                    </a:lnTo>
                    <a:lnTo>
                      <a:pt x="12796" y="2468"/>
                    </a:lnTo>
                    <a:lnTo>
                      <a:pt x="12794" y="2426"/>
                    </a:lnTo>
                    <a:lnTo>
                      <a:pt x="12791" y="2385"/>
                    </a:lnTo>
                    <a:lnTo>
                      <a:pt x="12789" y="2344"/>
                    </a:lnTo>
                    <a:lnTo>
                      <a:pt x="12787" y="2305"/>
                    </a:lnTo>
                    <a:lnTo>
                      <a:pt x="12781" y="2231"/>
                    </a:lnTo>
                    <a:lnTo>
                      <a:pt x="12774" y="2159"/>
                    </a:lnTo>
                    <a:lnTo>
                      <a:pt x="12767" y="2092"/>
                    </a:lnTo>
                    <a:lnTo>
                      <a:pt x="12759" y="2028"/>
                    </a:lnTo>
                    <a:lnTo>
                      <a:pt x="12751" y="1968"/>
                    </a:lnTo>
                    <a:lnTo>
                      <a:pt x="12742" y="1911"/>
                    </a:lnTo>
                    <a:lnTo>
                      <a:pt x="12734" y="1857"/>
                    </a:lnTo>
                    <a:lnTo>
                      <a:pt x="12724" y="1808"/>
                    </a:lnTo>
                    <a:lnTo>
                      <a:pt x="12716" y="1760"/>
                    </a:lnTo>
                    <a:lnTo>
                      <a:pt x="12708" y="1715"/>
                    </a:lnTo>
                    <a:lnTo>
                      <a:pt x="12701" y="1674"/>
                    </a:lnTo>
                    <a:lnTo>
                      <a:pt x="12693" y="1635"/>
                    </a:lnTo>
                    <a:lnTo>
                      <a:pt x="12687" y="1599"/>
                    </a:lnTo>
                    <a:lnTo>
                      <a:pt x="12683" y="1565"/>
                    </a:lnTo>
                    <a:lnTo>
                      <a:pt x="12679" y="1533"/>
                    </a:lnTo>
                    <a:lnTo>
                      <a:pt x="12676" y="1504"/>
                    </a:lnTo>
                    <a:lnTo>
                      <a:pt x="12675" y="1476"/>
                    </a:lnTo>
                    <a:lnTo>
                      <a:pt x="12676" y="1450"/>
                    </a:lnTo>
                    <a:lnTo>
                      <a:pt x="12678" y="1427"/>
                    </a:lnTo>
                    <a:lnTo>
                      <a:pt x="12682" y="1405"/>
                    </a:lnTo>
                    <a:lnTo>
                      <a:pt x="12688" y="1385"/>
                    </a:lnTo>
                    <a:lnTo>
                      <a:pt x="12697" y="1366"/>
                    </a:lnTo>
                    <a:lnTo>
                      <a:pt x="12707" y="1348"/>
                    </a:lnTo>
                    <a:lnTo>
                      <a:pt x="12720" y="1333"/>
                    </a:lnTo>
                    <a:lnTo>
                      <a:pt x="12737" y="1317"/>
                    </a:lnTo>
                    <a:lnTo>
                      <a:pt x="12752" y="1301"/>
                    </a:lnTo>
                    <a:lnTo>
                      <a:pt x="12769" y="1286"/>
                    </a:lnTo>
                    <a:lnTo>
                      <a:pt x="12786" y="1271"/>
                    </a:lnTo>
                    <a:lnTo>
                      <a:pt x="12805" y="1258"/>
                    </a:lnTo>
                    <a:lnTo>
                      <a:pt x="12825" y="1245"/>
                    </a:lnTo>
                    <a:lnTo>
                      <a:pt x="12845" y="1234"/>
                    </a:lnTo>
                    <a:lnTo>
                      <a:pt x="12890" y="1213"/>
                    </a:lnTo>
                    <a:lnTo>
                      <a:pt x="12938" y="1196"/>
                    </a:lnTo>
                    <a:lnTo>
                      <a:pt x="12989" y="1179"/>
                    </a:lnTo>
                    <a:lnTo>
                      <a:pt x="13041" y="1165"/>
                    </a:lnTo>
                    <a:lnTo>
                      <a:pt x="13096" y="1150"/>
                    </a:lnTo>
                    <a:lnTo>
                      <a:pt x="13153" y="1133"/>
                    </a:lnTo>
                    <a:lnTo>
                      <a:pt x="13210" y="1117"/>
                    </a:lnTo>
                    <a:lnTo>
                      <a:pt x="13267" y="1096"/>
                    </a:lnTo>
                    <a:lnTo>
                      <a:pt x="13326" y="1073"/>
                    </a:lnTo>
                    <a:lnTo>
                      <a:pt x="13355" y="1061"/>
                    </a:lnTo>
                    <a:lnTo>
                      <a:pt x="13383" y="1047"/>
                    </a:lnTo>
                    <a:lnTo>
                      <a:pt x="13412" y="1031"/>
                    </a:lnTo>
                    <a:lnTo>
                      <a:pt x="13440" y="1015"/>
                    </a:lnTo>
                    <a:lnTo>
                      <a:pt x="13468" y="997"/>
                    </a:lnTo>
                    <a:lnTo>
                      <a:pt x="13496" y="978"/>
                    </a:lnTo>
                    <a:lnTo>
                      <a:pt x="13522" y="957"/>
                    </a:lnTo>
                    <a:lnTo>
                      <a:pt x="13549" y="934"/>
                    </a:lnTo>
                    <a:lnTo>
                      <a:pt x="13569" y="919"/>
                    </a:lnTo>
                    <a:lnTo>
                      <a:pt x="13588" y="903"/>
                    </a:lnTo>
                    <a:lnTo>
                      <a:pt x="13625" y="868"/>
                    </a:lnTo>
                    <a:lnTo>
                      <a:pt x="13658" y="830"/>
                    </a:lnTo>
                    <a:lnTo>
                      <a:pt x="13689" y="791"/>
                    </a:lnTo>
                    <a:lnTo>
                      <a:pt x="13717" y="750"/>
                    </a:lnTo>
                    <a:lnTo>
                      <a:pt x="13745" y="709"/>
                    </a:lnTo>
                    <a:lnTo>
                      <a:pt x="13772" y="667"/>
                    </a:lnTo>
                    <a:lnTo>
                      <a:pt x="13799" y="626"/>
                    </a:lnTo>
                    <a:lnTo>
                      <a:pt x="13825" y="588"/>
                    </a:lnTo>
                    <a:lnTo>
                      <a:pt x="13852" y="552"/>
                    </a:lnTo>
                    <a:lnTo>
                      <a:pt x="13865" y="536"/>
                    </a:lnTo>
                    <a:lnTo>
                      <a:pt x="13880" y="520"/>
                    </a:lnTo>
                    <a:lnTo>
                      <a:pt x="13894" y="506"/>
                    </a:lnTo>
                    <a:lnTo>
                      <a:pt x="13908" y="491"/>
                    </a:lnTo>
                    <a:lnTo>
                      <a:pt x="13924" y="479"/>
                    </a:lnTo>
                    <a:lnTo>
                      <a:pt x="13939" y="469"/>
                    </a:lnTo>
                    <a:lnTo>
                      <a:pt x="13956" y="458"/>
                    </a:lnTo>
                    <a:lnTo>
                      <a:pt x="13972" y="451"/>
                    </a:lnTo>
                    <a:lnTo>
                      <a:pt x="13990" y="444"/>
                    </a:lnTo>
                    <a:lnTo>
                      <a:pt x="14009" y="440"/>
                    </a:lnTo>
                    <a:lnTo>
                      <a:pt x="14028" y="437"/>
                    </a:lnTo>
                    <a:lnTo>
                      <a:pt x="14048" y="436"/>
                    </a:lnTo>
                    <a:lnTo>
                      <a:pt x="14063" y="438"/>
                    </a:lnTo>
                    <a:lnTo>
                      <a:pt x="14081" y="442"/>
                    </a:lnTo>
                    <a:lnTo>
                      <a:pt x="14100" y="450"/>
                    </a:lnTo>
                    <a:lnTo>
                      <a:pt x="14122" y="463"/>
                    </a:lnTo>
                    <a:lnTo>
                      <a:pt x="14145" y="478"/>
                    </a:lnTo>
                    <a:lnTo>
                      <a:pt x="14170" y="498"/>
                    </a:lnTo>
                    <a:lnTo>
                      <a:pt x="14182" y="509"/>
                    </a:lnTo>
                    <a:lnTo>
                      <a:pt x="14195" y="521"/>
                    </a:lnTo>
                    <a:lnTo>
                      <a:pt x="14209" y="535"/>
                    </a:lnTo>
                    <a:lnTo>
                      <a:pt x="14222" y="549"/>
                    </a:lnTo>
                    <a:lnTo>
                      <a:pt x="14236" y="565"/>
                    </a:lnTo>
                    <a:lnTo>
                      <a:pt x="14250" y="582"/>
                    </a:lnTo>
                    <a:lnTo>
                      <a:pt x="14265" y="600"/>
                    </a:lnTo>
                    <a:lnTo>
                      <a:pt x="14279" y="619"/>
                    </a:lnTo>
                    <a:lnTo>
                      <a:pt x="14294" y="639"/>
                    </a:lnTo>
                    <a:lnTo>
                      <a:pt x="14308" y="660"/>
                    </a:lnTo>
                    <a:lnTo>
                      <a:pt x="14323" y="683"/>
                    </a:lnTo>
                    <a:lnTo>
                      <a:pt x="14338" y="707"/>
                    </a:lnTo>
                    <a:lnTo>
                      <a:pt x="14353" y="732"/>
                    </a:lnTo>
                    <a:lnTo>
                      <a:pt x="14369" y="759"/>
                    </a:lnTo>
                    <a:lnTo>
                      <a:pt x="14384" y="787"/>
                    </a:lnTo>
                    <a:lnTo>
                      <a:pt x="14399" y="816"/>
                    </a:lnTo>
                    <a:lnTo>
                      <a:pt x="14414" y="847"/>
                    </a:lnTo>
                    <a:lnTo>
                      <a:pt x="14430" y="879"/>
                    </a:lnTo>
                    <a:lnTo>
                      <a:pt x="14445" y="912"/>
                    </a:lnTo>
                    <a:lnTo>
                      <a:pt x="14461" y="947"/>
                    </a:lnTo>
                    <a:lnTo>
                      <a:pt x="14476" y="983"/>
                    </a:lnTo>
                    <a:lnTo>
                      <a:pt x="14492" y="1020"/>
                    </a:lnTo>
                    <a:lnTo>
                      <a:pt x="14506" y="1059"/>
                    </a:lnTo>
                    <a:lnTo>
                      <a:pt x="14522" y="1100"/>
                    </a:lnTo>
                    <a:lnTo>
                      <a:pt x="14536" y="1142"/>
                    </a:lnTo>
                    <a:lnTo>
                      <a:pt x="14552" y="1186"/>
                    </a:lnTo>
                    <a:lnTo>
                      <a:pt x="14566" y="1231"/>
                    </a:lnTo>
                    <a:lnTo>
                      <a:pt x="14580" y="1277"/>
                    </a:lnTo>
                    <a:lnTo>
                      <a:pt x="14595" y="1326"/>
                    </a:lnTo>
                    <a:lnTo>
                      <a:pt x="14608" y="1376"/>
                    </a:lnTo>
                    <a:lnTo>
                      <a:pt x="14623" y="1428"/>
                    </a:lnTo>
                    <a:lnTo>
                      <a:pt x="14636" y="1481"/>
                    </a:lnTo>
                    <a:lnTo>
                      <a:pt x="14650" y="1536"/>
                    </a:lnTo>
                    <a:lnTo>
                      <a:pt x="14663" y="1593"/>
                    </a:lnTo>
                    <a:lnTo>
                      <a:pt x="14675" y="1651"/>
                    </a:lnTo>
                    <a:lnTo>
                      <a:pt x="14688" y="1712"/>
                    </a:lnTo>
                    <a:lnTo>
                      <a:pt x="14700" y="1774"/>
                    </a:lnTo>
                    <a:lnTo>
                      <a:pt x="14712" y="1838"/>
                    </a:lnTo>
                    <a:lnTo>
                      <a:pt x="14723" y="1903"/>
                    </a:lnTo>
                    <a:lnTo>
                      <a:pt x="14734" y="1971"/>
                    </a:lnTo>
                    <a:lnTo>
                      <a:pt x="14745" y="2040"/>
                    </a:lnTo>
                    <a:lnTo>
                      <a:pt x="14754" y="2111"/>
                    </a:lnTo>
                    <a:lnTo>
                      <a:pt x="14764" y="2184"/>
                    </a:lnTo>
                    <a:lnTo>
                      <a:pt x="14774" y="2259"/>
                    </a:lnTo>
                    <a:lnTo>
                      <a:pt x="14782" y="2335"/>
                    </a:lnTo>
                    <a:lnTo>
                      <a:pt x="14790" y="2414"/>
                    </a:lnTo>
                    <a:lnTo>
                      <a:pt x="14797" y="2495"/>
                    </a:lnTo>
                    <a:lnTo>
                      <a:pt x="14805" y="2578"/>
                    </a:lnTo>
                    <a:lnTo>
                      <a:pt x="14812" y="2663"/>
                    </a:lnTo>
                    <a:lnTo>
                      <a:pt x="14817" y="2749"/>
                    </a:lnTo>
                    <a:lnTo>
                      <a:pt x="14822" y="2839"/>
                    </a:lnTo>
                    <a:lnTo>
                      <a:pt x="14827" y="2930"/>
                    </a:lnTo>
                    <a:lnTo>
                      <a:pt x="14830" y="3041"/>
                    </a:lnTo>
                    <a:lnTo>
                      <a:pt x="14832" y="3151"/>
                    </a:lnTo>
                    <a:lnTo>
                      <a:pt x="14831" y="3260"/>
                    </a:lnTo>
                    <a:lnTo>
                      <a:pt x="14829" y="3366"/>
                    </a:lnTo>
                    <a:lnTo>
                      <a:pt x="14825" y="3471"/>
                    </a:lnTo>
                    <a:lnTo>
                      <a:pt x="14819" y="3575"/>
                    </a:lnTo>
                    <a:lnTo>
                      <a:pt x="14811" y="3677"/>
                    </a:lnTo>
                    <a:lnTo>
                      <a:pt x="14800" y="3777"/>
                    </a:lnTo>
                    <a:lnTo>
                      <a:pt x="14789" y="3876"/>
                    </a:lnTo>
                    <a:lnTo>
                      <a:pt x="14777" y="3974"/>
                    </a:lnTo>
                    <a:lnTo>
                      <a:pt x="14761" y="4069"/>
                    </a:lnTo>
                    <a:lnTo>
                      <a:pt x="14746" y="4162"/>
                    </a:lnTo>
                    <a:lnTo>
                      <a:pt x="14727" y="4255"/>
                    </a:lnTo>
                    <a:lnTo>
                      <a:pt x="14707" y="4346"/>
                    </a:lnTo>
                    <a:lnTo>
                      <a:pt x="14687" y="4434"/>
                    </a:lnTo>
                    <a:lnTo>
                      <a:pt x="14664" y="4522"/>
                    </a:lnTo>
                    <a:lnTo>
                      <a:pt x="14640" y="4607"/>
                    </a:lnTo>
                    <a:lnTo>
                      <a:pt x="14615" y="4691"/>
                    </a:lnTo>
                    <a:lnTo>
                      <a:pt x="14589" y="4773"/>
                    </a:lnTo>
                    <a:lnTo>
                      <a:pt x="14560" y="4854"/>
                    </a:lnTo>
                    <a:lnTo>
                      <a:pt x="14531" y="4932"/>
                    </a:lnTo>
                    <a:lnTo>
                      <a:pt x="14500" y="5009"/>
                    </a:lnTo>
                    <a:lnTo>
                      <a:pt x="14469" y="5085"/>
                    </a:lnTo>
                    <a:lnTo>
                      <a:pt x="14436" y="5159"/>
                    </a:lnTo>
                    <a:lnTo>
                      <a:pt x="14402" y="5231"/>
                    </a:lnTo>
                    <a:lnTo>
                      <a:pt x="14366" y="5301"/>
                    </a:lnTo>
                    <a:lnTo>
                      <a:pt x="14330" y="5370"/>
                    </a:lnTo>
                    <a:lnTo>
                      <a:pt x="14292" y="5437"/>
                    </a:lnTo>
                    <a:lnTo>
                      <a:pt x="14254" y="5502"/>
                    </a:lnTo>
                    <a:lnTo>
                      <a:pt x="14215" y="5565"/>
                    </a:lnTo>
                    <a:lnTo>
                      <a:pt x="14175" y="5627"/>
                    </a:lnTo>
                    <a:lnTo>
                      <a:pt x="14134" y="5687"/>
                    </a:lnTo>
                    <a:lnTo>
                      <a:pt x="14091" y="5746"/>
                    </a:lnTo>
                    <a:lnTo>
                      <a:pt x="14048" y="5802"/>
                    </a:lnTo>
                    <a:lnTo>
                      <a:pt x="14004" y="5857"/>
                    </a:lnTo>
                    <a:lnTo>
                      <a:pt x="13960" y="5909"/>
                    </a:lnTo>
                    <a:lnTo>
                      <a:pt x="13915" y="5961"/>
                    </a:lnTo>
                    <a:lnTo>
                      <a:pt x="13869" y="6010"/>
                    </a:lnTo>
                    <a:lnTo>
                      <a:pt x="13823" y="6059"/>
                    </a:lnTo>
                    <a:lnTo>
                      <a:pt x="13775" y="6104"/>
                    </a:lnTo>
                    <a:lnTo>
                      <a:pt x="13728" y="6148"/>
                    </a:lnTo>
                    <a:lnTo>
                      <a:pt x="13679" y="6192"/>
                    </a:lnTo>
                    <a:lnTo>
                      <a:pt x="13631" y="6232"/>
                    </a:lnTo>
                    <a:lnTo>
                      <a:pt x="13581" y="6271"/>
                    </a:lnTo>
                    <a:lnTo>
                      <a:pt x="13532" y="6308"/>
                    </a:lnTo>
                    <a:lnTo>
                      <a:pt x="13482" y="6343"/>
                    </a:lnTo>
                    <a:lnTo>
                      <a:pt x="13432" y="6377"/>
                    </a:lnTo>
                    <a:lnTo>
                      <a:pt x="13381" y="6409"/>
                    </a:lnTo>
                    <a:lnTo>
                      <a:pt x="13329" y="6439"/>
                    </a:lnTo>
                    <a:lnTo>
                      <a:pt x="13278" y="6467"/>
                    </a:lnTo>
                    <a:lnTo>
                      <a:pt x="13226" y="6493"/>
                    </a:lnTo>
                    <a:lnTo>
                      <a:pt x="13174" y="6517"/>
                    </a:lnTo>
                    <a:lnTo>
                      <a:pt x="13123" y="6541"/>
                    </a:lnTo>
                    <a:lnTo>
                      <a:pt x="13071" y="6561"/>
                    </a:lnTo>
                    <a:lnTo>
                      <a:pt x="13019" y="6580"/>
                    </a:lnTo>
                    <a:lnTo>
                      <a:pt x="12967" y="6598"/>
                    </a:lnTo>
                    <a:lnTo>
                      <a:pt x="12914" y="6613"/>
                    </a:lnTo>
                    <a:lnTo>
                      <a:pt x="12863" y="6626"/>
                    </a:lnTo>
                    <a:lnTo>
                      <a:pt x="12810" y="6638"/>
                    </a:lnTo>
                    <a:lnTo>
                      <a:pt x="12758" y="6648"/>
                    </a:lnTo>
                    <a:lnTo>
                      <a:pt x="12707" y="6656"/>
                    </a:lnTo>
                    <a:lnTo>
                      <a:pt x="12655" y="6662"/>
                    </a:lnTo>
                    <a:lnTo>
                      <a:pt x="12604" y="6667"/>
                    </a:lnTo>
                    <a:lnTo>
                      <a:pt x="12552" y="6669"/>
                    </a:lnTo>
                    <a:lnTo>
                      <a:pt x="12458" y="6669"/>
                    </a:lnTo>
                    <a:lnTo>
                      <a:pt x="12375" y="6668"/>
                    </a:lnTo>
                    <a:lnTo>
                      <a:pt x="12294" y="6665"/>
                    </a:lnTo>
                    <a:lnTo>
                      <a:pt x="12214" y="6660"/>
                    </a:lnTo>
                    <a:lnTo>
                      <a:pt x="12136" y="6654"/>
                    </a:lnTo>
                    <a:lnTo>
                      <a:pt x="12059" y="6647"/>
                    </a:lnTo>
                    <a:lnTo>
                      <a:pt x="11982" y="6638"/>
                    </a:lnTo>
                    <a:lnTo>
                      <a:pt x="11908" y="6627"/>
                    </a:lnTo>
                    <a:lnTo>
                      <a:pt x="11835" y="6615"/>
                    </a:lnTo>
                    <a:lnTo>
                      <a:pt x="11762" y="6602"/>
                    </a:lnTo>
                    <a:lnTo>
                      <a:pt x="11691" y="6587"/>
                    </a:lnTo>
                    <a:lnTo>
                      <a:pt x="11622" y="6571"/>
                    </a:lnTo>
                    <a:lnTo>
                      <a:pt x="11554" y="6553"/>
                    </a:lnTo>
                    <a:lnTo>
                      <a:pt x="11487" y="6536"/>
                    </a:lnTo>
                    <a:lnTo>
                      <a:pt x="11422" y="6516"/>
                    </a:lnTo>
                    <a:lnTo>
                      <a:pt x="11358" y="6496"/>
                    </a:lnTo>
                    <a:lnTo>
                      <a:pt x="11295" y="6474"/>
                    </a:lnTo>
                    <a:lnTo>
                      <a:pt x="11233" y="6451"/>
                    </a:lnTo>
                    <a:lnTo>
                      <a:pt x="11173" y="6429"/>
                    </a:lnTo>
                    <a:lnTo>
                      <a:pt x="11114" y="6404"/>
                    </a:lnTo>
                    <a:lnTo>
                      <a:pt x="11056" y="6379"/>
                    </a:lnTo>
                    <a:lnTo>
                      <a:pt x="11000" y="6354"/>
                    </a:lnTo>
                    <a:lnTo>
                      <a:pt x="10946" y="6328"/>
                    </a:lnTo>
                    <a:lnTo>
                      <a:pt x="10892" y="6302"/>
                    </a:lnTo>
                    <a:lnTo>
                      <a:pt x="10839" y="6274"/>
                    </a:lnTo>
                    <a:lnTo>
                      <a:pt x="10788" y="6246"/>
                    </a:lnTo>
                    <a:lnTo>
                      <a:pt x="10738" y="6218"/>
                    </a:lnTo>
                    <a:lnTo>
                      <a:pt x="10690" y="6191"/>
                    </a:lnTo>
                    <a:lnTo>
                      <a:pt x="10643" y="6162"/>
                    </a:lnTo>
                    <a:lnTo>
                      <a:pt x="10597" y="6133"/>
                    </a:lnTo>
                    <a:lnTo>
                      <a:pt x="10552" y="6104"/>
                    </a:lnTo>
                    <a:lnTo>
                      <a:pt x="10509" y="6074"/>
                    </a:lnTo>
                    <a:lnTo>
                      <a:pt x="10468" y="6045"/>
                    </a:lnTo>
                    <a:lnTo>
                      <a:pt x="10426" y="6017"/>
                    </a:lnTo>
                    <a:lnTo>
                      <a:pt x="10387" y="5987"/>
                    </a:lnTo>
                    <a:lnTo>
                      <a:pt x="10349" y="5958"/>
                    </a:lnTo>
                    <a:lnTo>
                      <a:pt x="10313" y="5929"/>
                    </a:lnTo>
                    <a:lnTo>
                      <a:pt x="10278" y="5900"/>
                    </a:lnTo>
                    <a:lnTo>
                      <a:pt x="10243" y="5872"/>
                    </a:lnTo>
                    <a:lnTo>
                      <a:pt x="10211" y="5845"/>
                    </a:lnTo>
                    <a:lnTo>
                      <a:pt x="10179" y="5817"/>
                    </a:lnTo>
                    <a:lnTo>
                      <a:pt x="10149" y="5790"/>
                    </a:lnTo>
                    <a:lnTo>
                      <a:pt x="10120" y="5763"/>
                    </a:lnTo>
                    <a:lnTo>
                      <a:pt x="10092" y="5736"/>
                    </a:lnTo>
                    <a:lnTo>
                      <a:pt x="10066" y="5712"/>
                    </a:lnTo>
                    <a:lnTo>
                      <a:pt x="10040" y="5687"/>
                    </a:lnTo>
                    <a:lnTo>
                      <a:pt x="10017" y="5662"/>
                    </a:lnTo>
                    <a:lnTo>
                      <a:pt x="9994" y="5640"/>
                    </a:lnTo>
                    <a:lnTo>
                      <a:pt x="9973" y="5617"/>
                    </a:lnTo>
                    <a:lnTo>
                      <a:pt x="9954" y="5595"/>
                    </a:lnTo>
                    <a:lnTo>
                      <a:pt x="9935" y="5575"/>
                    </a:lnTo>
                    <a:lnTo>
                      <a:pt x="9918" y="5556"/>
                    </a:lnTo>
                    <a:lnTo>
                      <a:pt x="9901" y="5538"/>
                    </a:lnTo>
                    <a:lnTo>
                      <a:pt x="9887" y="5520"/>
                    </a:lnTo>
                    <a:lnTo>
                      <a:pt x="9873" y="5504"/>
                    </a:lnTo>
                    <a:lnTo>
                      <a:pt x="9861" y="5489"/>
                    </a:lnTo>
                    <a:lnTo>
                      <a:pt x="9850" y="5476"/>
                    </a:lnTo>
                    <a:lnTo>
                      <a:pt x="9840" y="5463"/>
                    </a:lnTo>
                    <a:lnTo>
                      <a:pt x="9832" y="5453"/>
                    </a:lnTo>
                    <a:lnTo>
                      <a:pt x="9826" y="5444"/>
                    </a:lnTo>
                    <a:lnTo>
                      <a:pt x="9819" y="5437"/>
                    </a:lnTo>
                    <a:lnTo>
                      <a:pt x="9815" y="5430"/>
                    </a:lnTo>
                    <a:lnTo>
                      <a:pt x="9812" y="5426"/>
                    </a:lnTo>
                    <a:lnTo>
                      <a:pt x="9810" y="5423"/>
                    </a:lnTo>
                    <a:lnTo>
                      <a:pt x="9809" y="5422"/>
                    </a:lnTo>
                    <a:lnTo>
                      <a:pt x="9809" y="5423"/>
                    </a:lnTo>
                    <a:lnTo>
                      <a:pt x="9808" y="5427"/>
                    </a:lnTo>
                    <a:lnTo>
                      <a:pt x="9807" y="5434"/>
                    </a:lnTo>
                    <a:lnTo>
                      <a:pt x="9806" y="5443"/>
                    </a:lnTo>
                    <a:lnTo>
                      <a:pt x="9805" y="5454"/>
                    </a:lnTo>
                    <a:lnTo>
                      <a:pt x="9803" y="5468"/>
                    </a:lnTo>
                    <a:lnTo>
                      <a:pt x="9801" y="5484"/>
                    </a:lnTo>
                    <a:lnTo>
                      <a:pt x="9799" y="5502"/>
                    </a:lnTo>
                    <a:lnTo>
                      <a:pt x="9797" y="5521"/>
                    </a:lnTo>
                    <a:lnTo>
                      <a:pt x="9795" y="5543"/>
                    </a:lnTo>
                    <a:lnTo>
                      <a:pt x="9792" y="5567"/>
                    </a:lnTo>
                    <a:lnTo>
                      <a:pt x="9790" y="5592"/>
                    </a:lnTo>
                    <a:lnTo>
                      <a:pt x="9786" y="5620"/>
                    </a:lnTo>
                    <a:lnTo>
                      <a:pt x="9784" y="5649"/>
                    </a:lnTo>
                    <a:lnTo>
                      <a:pt x="9781" y="5679"/>
                    </a:lnTo>
                    <a:lnTo>
                      <a:pt x="9779" y="5711"/>
                    </a:lnTo>
                    <a:lnTo>
                      <a:pt x="9777" y="5745"/>
                    </a:lnTo>
                    <a:lnTo>
                      <a:pt x="9775" y="5779"/>
                    </a:lnTo>
                    <a:lnTo>
                      <a:pt x="9773" y="5815"/>
                    </a:lnTo>
                    <a:lnTo>
                      <a:pt x="9772" y="5852"/>
                    </a:lnTo>
                    <a:lnTo>
                      <a:pt x="9770" y="5890"/>
                    </a:lnTo>
                    <a:lnTo>
                      <a:pt x="9769" y="5928"/>
                    </a:lnTo>
                    <a:lnTo>
                      <a:pt x="9768" y="6009"/>
                    </a:lnTo>
                    <a:lnTo>
                      <a:pt x="9769" y="6093"/>
                    </a:lnTo>
                    <a:lnTo>
                      <a:pt x="9771" y="6178"/>
                    </a:lnTo>
                    <a:lnTo>
                      <a:pt x="9775" y="6265"/>
                    </a:lnTo>
                    <a:lnTo>
                      <a:pt x="9782" y="6353"/>
                    </a:lnTo>
                    <a:lnTo>
                      <a:pt x="9792" y="6442"/>
                    </a:lnTo>
                    <a:lnTo>
                      <a:pt x="9804" y="6530"/>
                    </a:lnTo>
                    <a:lnTo>
                      <a:pt x="9819" y="6617"/>
                    </a:lnTo>
                    <a:lnTo>
                      <a:pt x="9838" y="6702"/>
                    </a:lnTo>
                    <a:lnTo>
                      <a:pt x="9861" y="6785"/>
                    </a:lnTo>
                    <a:lnTo>
                      <a:pt x="9873" y="6825"/>
                    </a:lnTo>
                    <a:lnTo>
                      <a:pt x="9888" y="6865"/>
                    </a:lnTo>
                    <a:lnTo>
                      <a:pt x="9902" y="6903"/>
                    </a:lnTo>
                    <a:lnTo>
                      <a:pt x="9919" y="6942"/>
                    </a:lnTo>
                    <a:lnTo>
                      <a:pt x="9935" y="6978"/>
                    </a:lnTo>
                    <a:lnTo>
                      <a:pt x="9954" y="7014"/>
                    </a:lnTo>
                    <a:lnTo>
                      <a:pt x="9973" y="7048"/>
                    </a:lnTo>
                    <a:lnTo>
                      <a:pt x="9994" y="7081"/>
                    </a:lnTo>
                    <a:lnTo>
                      <a:pt x="10016" y="7112"/>
                    </a:lnTo>
                    <a:lnTo>
                      <a:pt x="10039" y="7141"/>
                    </a:lnTo>
                    <a:lnTo>
                      <a:pt x="10064" y="7170"/>
                    </a:lnTo>
                    <a:lnTo>
                      <a:pt x="10090" y="7197"/>
                    </a:lnTo>
                    <a:lnTo>
                      <a:pt x="10118" y="7222"/>
                    </a:lnTo>
                    <a:lnTo>
                      <a:pt x="10147" y="7244"/>
                    </a:lnTo>
                    <a:lnTo>
                      <a:pt x="10177" y="7266"/>
                    </a:lnTo>
                    <a:lnTo>
                      <a:pt x="10209" y="7286"/>
                    </a:lnTo>
                    <a:lnTo>
                      <a:pt x="10242" y="7302"/>
                    </a:lnTo>
                    <a:lnTo>
                      <a:pt x="10277" y="7318"/>
                    </a:lnTo>
                    <a:lnTo>
                      <a:pt x="10313" y="7330"/>
                    </a:lnTo>
                    <a:lnTo>
                      <a:pt x="10351" y="7341"/>
                    </a:lnTo>
                    <a:lnTo>
                      <a:pt x="10391" y="7349"/>
                    </a:lnTo>
                    <a:lnTo>
                      <a:pt x="10433" y="7355"/>
                    </a:lnTo>
                    <a:lnTo>
                      <a:pt x="10495" y="7355"/>
                    </a:lnTo>
                    <a:lnTo>
                      <a:pt x="10535" y="7353"/>
                    </a:lnTo>
                    <a:lnTo>
                      <a:pt x="10574" y="7348"/>
                    </a:lnTo>
                    <a:lnTo>
                      <a:pt x="10612" y="7340"/>
                    </a:lnTo>
                    <a:lnTo>
                      <a:pt x="10649" y="7329"/>
                    </a:lnTo>
                    <a:lnTo>
                      <a:pt x="10686" y="7315"/>
                    </a:lnTo>
                    <a:lnTo>
                      <a:pt x="10720" y="7300"/>
                    </a:lnTo>
                    <a:lnTo>
                      <a:pt x="10754" y="7282"/>
                    </a:lnTo>
                    <a:lnTo>
                      <a:pt x="10786" y="7262"/>
                    </a:lnTo>
                    <a:lnTo>
                      <a:pt x="10817" y="7240"/>
                    </a:lnTo>
                    <a:lnTo>
                      <a:pt x="10847" y="7218"/>
                    </a:lnTo>
                    <a:lnTo>
                      <a:pt x="10876" y="7193"/>
                    </a:lnTo>
                    <a:lnTo>
                      <a:pt x="10903" y="7167"/>
                    </a:lnTo>
                    <a:lnTo>
                      <a:pt x="10929" y="7140"/>
                    </a:lnTo>
                    <a:lnTo>
                      <a:pt x="10955" y="7114"/>
                    </a:lnTo>
                    <a:lnTo>
                      <a:pt x="10979" y="7086"/>
                    </a:lnTo>
                    <a:lnTo>
                      <a:pt x="11001" y="7059"/>
                    </a:lnTo>
                    <a:lnTo>
                      <a:pt x="11022" y="7031"/>
                    </a:lnTo>
                    <a:lnTo>
                      <a:pt x="11043" y="7003"/>
                    </a:lnTo>
                    <a:lnTo>
                      <a:pt x="11061" y="6977"/>
                    </a:lnTo>
                    <a:lnTo>
                      <a:pt x="11078" y="6950"/>
                    </a:lnTo>
                    <a:lnTo>
                      <a:pt x="11094" y="6924"/>
                    </a:lnTo>
                    <a:lnTo>
                      <a:pt x="11109" y="6899"/>
                    </a:lnTo>
                    <a:lnTo>
                      <a:pt x="11122" y="6877"/>
                    </a:lnTo>
                    <a:lnTo>
                      <a:pt x="11135" y="6855"/>
                    </a:lnTo>
                    <a:lnTo>
                      <a:pt x="11145" y="6835"/>
                    </a:lnTo>
                    <a:lnTo>
                      <a:pt x="11154" y="6817"/>
                    </a:lnTo>
                    <a:lnTo>
                      <a:pt x="11162" y="6801"/>
                    </a:lnTo>
                    <a:lnTo>
                      <a:pt x="11169" y="6788"/>
                    </a:lnTo>
                    <a:lnTo>
                      <a:pt x="11174" y="6777"/>
                    </a:lnTo>
                    <a:lnTo>
                      <a:pt x="11177" y="6769"/>
                    </a:lnTo>
                    <a:lnTo>
                      <a:pt x="11179" y="6764"/>
                    </a:lnTo>
                    <a:lnTo>
                      <a:pt x="11180" y="6762"/>
                    </a:lnTo>
                    <a:lnTo>
                      <a:pt x="11336" y="6793"/>
                    </a:lnTo>
                    <a:lnTo>
                      <a:pt x="11336" y="6794"/>
                    </a:lnTo>
                    <a:lnTo>
                      <a:pt x="11335" y="6796"/>
                    </a:lnTo>
                    <a:lnTo>
                      <a:pt x="11334" y="6799"/>
                    </a:lnTo>
                    <a:lnTo>
                      <a:pt x="11333" y="6804"/>
                    </a:lnTo>
                    <a:lnTo>
                      <a:pt x="11332" y="6810"/>
                    </a:lnTo>
                    <a:lnTo>
                      <a:pt x="11330" y="6816"/>
                    </a:lnTo>
                    <a:lnTo>
                      <a:pt x="11327" y="6824"/>
                    </a:lnTo>
                    <a:lnTo>
                      <a:pt x="11324" y="6833"/>
                    </a:lnTo>
                    <a:lnTo>
                      <a:pt x="11317" y="6855"/>
                    </a:lnTo>
                    <a:lnTo>
                      <a:pt x="11308" y="6880"/>
                    </a:lnTo>
                    <a:lnTo>
                      <a:pt x="11298" y="6908"/>
                    </a:lnTo>
                    <a:lnTo>
                      <a:pt x="11286" y="6939"/>
                    </a:lnTo>
                    <a:lnTo>
                      <a:pt x="11272" y="6973"/>
                    </a:lnTo>
                    <a:lnTo>
                      <a:pt x="11256" y="7011"/>
                    </a:lnTo>
                    <a:lnTo>
                      <a:pt x="11239" y="7049"/>
                    </a:lnTo>
                    <a:lnTo>
                      <a:pt x="11219" y="7089"/>
                    </a:lnTo>
                    <a:lnTo>
                      <a:pt x="11198" y="7131"/>
                    </a:lnTo>
                    <a:lnTo>
                      <a:pt x="11175" y="7173"/>
                    </a:lnTo>
                    <a:lnTo>
                      <a:pt x="11149" y="7218"/>
                    </a:lnTo>
                    <a:lnTo>
                      <a:pt x="11122" y="7261"/>
                    </a:lnTo>
                    <a:lnTo>
                      <a:pt x="11092" y="7305"/>
                    </a:lnTo>
                    <a:lnTo>
                      <a:pt x="11061" y="7348"/>
                    </a:lnTo>
                    <a:lnTo>
                      <a:pt x="11027" y="7391"/>
                    </a:lnTo>
                    <a:lnTo>
                      <a:pt x="10991" y="7433"/>
                    </a:lnTo>
                    <a:lnTo>
                      <a:pt x="10953" y="7473"/>
                    </a:lnTo>
                    <a:lnTo>
                      <a:pt x="10912" y="7511"/>
                    </a:lnTo>
                    <a:lnTo>
                      <a:pt x="10869" y="7548"/>
                    </a:lnTo>
                    <a:lnTo>
                      <a:pt x="10824" y="7582"/>
                    </a:lnTo>
                    <a:lnTo>
                      <a:pt x="10776" y="7614"/>
                    </a:lnTo>
                    <a:lnTo>
                      <a:pt x="10726" y="7642"/>
                    </a:lnTo>
                    <a:lnTo>
                      <a:pt x="10673" y="7667"/>
                    </a:lnTo>
                    <a:lnTo>
                      <a:pt x="10617" y="7688"/>
                    </a:lnTo>
                    <a:lnTo>
                      <a:pt x="10590" y="7698"/>
                    </a:lnTo>
                    <a:lnTo>
                      <a:pt x="10560" y="7706"/>
                    </a:lnTo>
                    <a:lnTo>
                      <a:pt x="10530" y="7712"/>
                    </a:lnTo>
                    <a:lnTo>
                      <a:pt x="10500" y="7718"/>
                    </a:lnTo>
                    <a:lnTo>
                      <a:pt x="10469" y="7722"/>
                    </a:lnTo>
                    <a:lnTo>
                      <a:pt x="10437" y="7725"/>
                    </a:lnTo>
                    <a:lnTo>
                      <a:pt x="10404" y="7727"/>
                    </a:lnTo>
                    <a:lnTo>
                      <a:pt x="10371" y="7729"/>
                    </a:lnTo>
                    <a:lnTo>
                      <a:pt x="10324" y="7727"/>
                    </a:lnTo>
                    <a:lnTo>
                      <a:pt x="10277" y="7722"/>
                    </a:lnTo>
                    <a:lnTo>
                      <a:pt x="10230" y="7715"/>
                    </a:lnTo>
                    <a:lnTo>
                      <a:pt x="10184" y="7705"/>
                    </a:lnTo>
                    <a:lnTo>
                      <a:pt x="10136" y="7692"/>
                    </a:lnTo>
                    <a:lnTo>
                      <a:pt x="10090" y="7676"/>
                    </a:lnTo>
                    <a:lnTo>
                      <a:pt x="10042" y="7656"/>
                    </a:lnTo>
                    <a:lnTo>
                      <a:pt x="9996" y="7635"/>
                    </a:lnTo>
                    <a:lnTo>
                      <a:pt x="9943" y="7610"/>
                    </a:lnTo>
                    <a:lnTo>
                      <a:pt x="9889" y="7581"/>
                    </a:lnTo>
                    <a:lnTo>
                      <a:pt x="9833" y="7549"/>
                    </a:lnTo>
                    <a:lnTo>
                      <a:pt x="9778" y="7515"/>
                    </a:lnTo>
                    <a:lnTo>
                      <a:pt x="9721" y="7478"/>
                    </a:lnTo>
                    <a:lnTo>
                      <a:pt x="9666" y="7439"/>
                    </a:lnTo>
                    <a:lnTo>
                      <a:pt x="9611" y="7398"/>
                    </a:lnTo>
                    <a:lnTo>
                      <a:pt x="9556" y="7355"/>
                    </a:lnTo>
                    <a:lnTo>
                      <a:pt x="9503" y="7310"/>
                    </a:lnTo>
                    <a:lnTo>
                      <a:pt x="9450" y="7264"/>
                    </a:lnTo>
                    <a:lnTo>
                      <a:pt x="9400" y="7218"/>
                    </a:lnTo>
                    <a:lnTo>
                      <a:pt x="9352" y="7170"/>
                    </a:lnTo>
                    <a:lnTo>
                      <a:pt x="9305" y="7123"/>
                    </a:lnTo>
                    <a:lnTo>
                      <a:pt x="9263" y="7075"/>
                    </a:lnTo>
                    <a:lnTo>
                      <a:pt x="9223" y="7028"/>
                    </a:lnTo>
                    <a:lnTo>
                      <a:pt x="9186" y="6981"/>
                    </a:lnTo>
                    <a:lnTo>
                      <a:pt x="9136" y="6968"/>
                    </a:lnTo>
                    <a:lnTo>
                      <a:pt x="9086" y="6953"/>
                    </a:lnTo>
                    <a:lnTo>
                      <a:pt x="9038" y="6936"/>
                    </a:lnTo>
                    <a:lnTo>
                      <a:pt x="8989" y="6918"/>
                    </a:lnTo>
                    <a:lnTo>
                      <a:pt x="8941" y="6898"/>
                    </a:lnTo>
                    <a:lnTo>
                      <a:pt x="8894" y="6877"/>
                    </a:lnTo>
                    <a:lnTo>
                      <a:pt x="8847" y="6854"/>
                    </a:lnTo>
                    <a:lnTo>
                      <a:pt x="8802" y="6830"/>
                    </a:lnTo>
                    <a:lnTo>
                      <a:pt x="8756" y="6807"/>
                    </a:lnTo>
                    <a:lnTo>
                      <a:pt x="8713" y="6781"/>
                    </a:lnTo>
                    <a:lnTo>
                      <a:pt x="8669" y="6755"/>
                    </a:lnTo>
                    <a:lnTo>
                      <a:pt x="8627" y="6728"/>
                    </a:lnTo>
                    <a:lnTo>
                      <a:pt x="8587" y="6703"/>
                    </a:lnTo>
                    <a:lnTo>
                      <a:pt x="8548" y="6676"/>
                    </a:lnTo>
                    <a:lnTo>
                      <a:pt x="8509" y="6649"/>
                    </a:lnTo>
                    <a:lnTo>
                      <a:pt x="8473" y="6622"/>
                    </a:lnTo>
                    <a:lnTo>
                      <a:pt x="8438" y="6596"/>
                    </a:lnTo>
                    <a:lnTo>
                      <a:pt x="8404" y="6571"/>
                    </a:lnTo>
                    <a:lnTo>
                      <a:pt x="8373" y="6546"/>
                    </a:lnTo>
                    <a:lnTo>
                      <a:pt x="8343" y="6522"/>
                    </a:lnTo>
                    <a:lnTo>
                      <a:pt x="8315" y="6499"/>
                    </a:lnTo>
                    <a:lnTo>
                      <a:pt x="8290" y="6477"/>
                    </a:lnTo>
                    <a:lnTo>
                      <a:pt x="8266" y="6456"/>
                    </a:lnTo>
                    <a:lnTo>
                      <a:pt x="8244" y="6438"/>
                    </a:lnTo>
                    <a:lnTo>
                      <a:pt x="8225" y="6420"/>
                    </a:lnTo>
                    <a:lnTo>
                      <a:pt x="8207" y="6404"/>
                    </a:lnTo>
                    <a:lnTo>
                      <a:pt x="8193" y="6390"/>
                    </a:lnTo>
                    <a:lnTo>
                      <a:pt x="8180" y="6379"/>
                    </a:lnTo>
                    <a:lnTo>
                      <a:pt x="8170" y="6370"/>
                    </a:lnTo>
                    <a:lnTo>
                      <a:pt x="8164" y="6363"/>
                    </a:lnTo>
                    <a:lnTo>
                      <a:pt x="8158" y="6359"/>
                    </a:lnTo>
                    <a:lnTo>
                      <a:pt x="8157" y="6358"/>
                    </a:lnTo>
                    <a:lnTo>
                      <a:pt x="8157" y="6360"/>
                    </a:lnTo>
                    <a:lnTo>
                      <a:pt x="8159" y="6365"/>
                    </a:lnTo>
                    <a:lnTo>
                      <a:pt x="8162" y="6374"/>
                    </a:lnTo>
                    <a:lnTo>
                      <a:pt x="8166" y="6385"/>
                    </a:lnTo>
                    <a:lnTo>
                      <a:pt x="8171" y="6401"/>
                    </a:lnTo>
                    <a:lnTo>
                      <a:pt x="8177" y="6420"/>
                    </a:lnTo>
                    <a:lnTo>
                      <a:pt x="8185" y="6442"/>
                    </a:lnTo>
                    <a:lnTo>
                      <a:pt x="8197" y="6467"/>
                    </a:lnTo>
                    <a:lnTo>
                      <a:pt x="8209" y="6495"/>
                    </a:lnTo>
                    <a:lnTo>
                      <a:pt x="8225" y="6524"/>
                    </a:lnTo>
                    <a:lnTo>
                      <a:pt x="8242" y="6558"/>
                    </a:lnTo>
                    <a:lnTo>
                      <a:pt x="8263" y="6594"/>
                    </a:lnTo>
                    <a:lnTo>
                      <a:pt x="8285" y="6633"/>
                    </a:lnTo>
                    <a:lnTo>
                      <a:pt x="8312" y="6674"/>
                    </a:lnTo>
                    <a:lnTo>
                      <a:pt x="8342" y="6717"/>
                    </a:lnTo>
                    <a:lnTo>
                      <a:pt x="8375" y="6762"/>
                    </a:lnTo>
                    <a:lnTo>
                      <a:pt x="8424" y="6820"/>
                    </a:lnTo>
                    <a:lnTo>
                      <a:pt x="8473" y="6876"/>
                    </a:lnTo>
                    <a:lnTo>
                      <a:pt x="8526" y="6930"/>
                    </a:lnTo>
                    <a:lnTo>
                      <a:pt x="8579" y="6982"/>
                    </a:lnTo>
                    <a:lnTo>
                      <a:pt x="8630" y="7031"/>
                    </a:lnTo>
                    <a:lnTo>
                      <a:pt x="8682" y="7078"/>
                    </a:lnTo>
                    <a:lnTo>
                      <a:pt x="8732" y="7121"/>
                    </a:lnTo>
                    <a:lnTo>
                      <a:pt x="8781" y="7160"/>
                    </a:lnTo>
                    <a:lnTo>
                      <a:pt x="8826" y="7196"/>
                    </a:lnTo>
                    <a:lnTo>
                      <a:pt x="8847" y="7212"/>
                    </a:lnTo>
                    <a:lnTo>
                      <a:pt x="8868" y="7228"/>
                    </a:lnTo>
                    <a:lnTo>
                      <a:pt x="8886" y="7243"/>
                    </a:lnTo>
                    <a:lnTo>
                      <a:pt x="8905" y="7257"/>
                    </a:lnTo>
                    <a:lnTo>
                      <a:pt x="8921" y="7269"/>
                    </a:lnTo>
                    <a:lnTo>
                      <a:pt x="8937" y="7279"/>
                    </a:lnTo>
                    <a:lnTo>
                      <a:pt x="8950" y="7290"/>
                    </a:lnTo>
                    <a:lnTo>
                      <a:pt x="8963" y="7299"/>
                    </a:lnTo>
                    <a:lnTo>
                      <a:pt x="8973" y="7306"/>
                    </a:lnTo>
                    <a:lnTo>
                      <a:pt x="8982" y="7312"/>
                    </a:lnTo>
                    <a:lnTo>
                      <a:pt x="8989" y="7318"/>
                    </a:lnTo>
                    <a:lnTo>
                      <a:pt x="8995" y="7321"/>
                    </a:lnTo>
                    <a:lnTo>
                      <a:pt x="8998" y="7323"/>
                    </a:lnTo>
                    <a:lnTo>
                      <a:pt x="8999" y="7324"/>
                    </a:lnTo>
                    <a:lnTo>
                      <a:pt x="8999" y="7325"/>
                    </a:lnTo>
                    <a:lnTo>
                      <a:pt x="8997" y="7329"/>
                    </a:lnTo>
                    <a:lnTo>
                      <a:pt x="8995" y="7334"/>
                    </a:lnTo>
                    <a:lnTo>
                      <a:pt x="8992" y="7342"/>
                    </a:lnTo>
                    <a:lnTo>
                      <a:pt x="8987" y="7353"/>
                    </a:lnTo>
                    <a:lnTo>
                      <a:pt x="8983" y="7365"/>
                    </a:lnTo>
                    <a:lnTo>
                      <a:pt x="8978" y="7379"/>
                    </a:lnTo>
                    <a:lnTo>
                      <a:pt x="8971" y="7396"/>
                    </a:lnTo>
                    <a:lnTo>
                      <a:pt x="8965" y="7413"/>
                    </a:lnTo>
                    <a:lnTo>
                      <a:pt x="8956" y="7434"/>
                    </a:lnTo>
                    <a:lnTo>
                      <a:pt x="8948" y="7456"/>
                    </a:lnTo>
                    <a:lnTo>
                      <a:pt x="8939" y="7479"/>
                    </a:lnTo>
                    <a:lnTo>
                      <a:pt x="8930" y="7504"/>
                    </a:lnTo>
                    <a:lnTo>
                      <a:pt x="8918" y="7531"/>
                    </a:lnTo>
                    <a:lnTo>
                      <a:pt x="8908" y="7559"/>
                    </a:lnTo>
                    <a:lnTo>
                      <a:pt x="8896" y="7588"/>
                    </a:lnTo>
                    <a:lnTo>
                      <a:pt x="8884" y="7619"/>
                    </a:lnTo>
                    <a:lnTo>
                      <a:pt x="8871" y="7652"/>
                    </a:lnTo>
                    <a:lnTo>
                      <a:pt x="8857" y="7685"/>
                    </a:lnTo>
                    <a:lnTo>
                      <a:pt x="8844" y="7720"/>
                    </a:lnTo>
                    <a:lnTo>
                      <a:pt x="8829" y="7756"/>
                    </a:lnTo>
                    <a:lnTo>
                      <a:pt x="8815" y="7792"/>
                    </a:lnTo>
                    <a:lnTo>
                      <a:pt x="8783" y="7870"/>
                    </a:lnTo>
                    <a:lnTo>
                      <a:pt x="8751" y="7949"/>
                    </a:lnTo>
                    <a:lnTo>
                      <a:pt x="8717" y="8032"/>
                    </a:lnTo>
                    <a:lnTo>
                      <a:pt x="8681" y="8117"/>
                    </a:lnTo>
                    <a:lnTo>
                      <a:pt x="8645" y="8204"/>
                    </a:lnTo>
                    <a:lnTo>
                      <a:pt x="8606" y="8292"/>
                    </a:lnTo>
                    <a:lnTo>
                      <a:pt x="8568" y="8381"/>
                    </a:lnTo>
                    <a:lnTo>
                      <a:pt x="8489" y="8559"/>
                    </a:lnTo>
                    <a:lnTo>
                      <a:pt x="8449" y="8647"/>
                    </a:lnTo>
                    <a:lnTo>
                      <a:pt x="8408" y="8734"/>
                    </a:lnTo>
                    <a:lnTo>
                      <a:pt x="8368" y="8818"/>
                    </a:lnTo>
                    <a:lnTo>
                      <a:pt x="8328" y="8901"/>
                    </a:lnTo>
                    <a:lnTo>
                      <a:pt x="8289" y="8981"/>
                    </a:lnTo>
                    <a:lnTo>
                      <a:pt x="8249" y="9057"/>
                    </a:lnTo>
                    <a:lnTo>
                      <a:pt x="8230" y="9093"/>
                    </a:lnTo>
                    <a:lnTo>
                      <a:pt x="8210" y="9129"/>
                    </a:lnTo>
                    <a:lnTo>
                      <a:pt x="8191" y="9163"/>
                    </a:lnTo>
                    <a:lnTo>
                      <a:pt x="8173" y="9196"/>
                    </a:lnTo>
                    <a:lnTo>
                      <a:pt x="8154" y="9228"/>
                    </a:lnTo>
                    <a:lnTo>
                      <a:pt x="8136" y="9259"/>
                    </a:lnTo>
                    <a:lnTo>
                      <a:pt x="8117" y="9288"/>
                    </a:lnTo>
                    <a:lnTo>
                      <a:pt x="8100" y="9316"/>
                    </a:lnTo>
                    <a:lnTo>
                      <a:pt x="8082" y="9343"/>
                    </a:lnTo>
                    <a:lnTo>
                      <a:pt x="8066" y="9367"/>
                    </a:lnTo>
                    <a:lnTo>
                      <a:pt x="8049" y="9390"/>
                    </a:lnTo>
                    <a:lnTo>
                      <a:pt x="8032" y="9412"/>
                    </a:lnTo>
                    <a:lnTo>
                      <a:pt x="7999" y="9452"/>
                    </a:lnTo>
                    <a:lnTo>
                      <a:pt x="7966" y="9492"/>
                    </a:lnTo>
                    <a:lnTo>
                      <a:pt x="7896" y="9571"/>
                    </a:lnTo>
                    <a:lnTo>
                      <a:pt x="7822" y="9647"/>
                    </a:lnTo>
                    <a:lnTo>
                      <a:pt x="7744" y="9723"/>
                    </a:lnTo>
                    <a:lnTo>
                      <a:pt x="7664" y="9797"/>
                    </a:lnTo>
                    <a:lnTo>
                      <a:pt x="7581" y="9869"/>
                    </a:lnTo>
                    <a:lnTo>
                      <a:pt x="7497" y="9941"/>
                    </a:lnTo>
                    <a:lnTo>
                      <a:pt x="7409" y="10011"/>
                    </a:lnTo>
                    <a:lnTo>
                      <a:pt x="7321" y="10081"/>
                    </a:lnTo>
                    <a:lnTo>
                      <a:pt x="7231" y="10150"/>
                    </a:lnTo>
                    <a:lnTo>
                      <a:pt x="7051" y="10288"/>
                    </a:lnTo>
                    <a:lnTo>
                      <a:pt x="6870" y="10425"/>
                    </a:lnTo>
                    <a:lnTo>
                      <a:pt x="6781" y="10494"/>
                    </a:lnTo>
                    <a:lnTo>
                      <a:pt x="6693" y="10564"/>
                    </a:lnTo>
                    <a:lnTo>
                      <a:pt x="6658" y="10592"/>
                    </a:lnTo>
                    <a:lnTo>
                      <a:pt x="6625" y="10618"/>
                    </a:lnTo>
                    <a:lnTo>
                      <a:pt x="6593" y="10643"/>
                    </a:lnTo>
                    <a:lnTo>
                      <a:pt x="6564" y="10664"/>
                    </a:lnTo>
                    <a:lnTo>
                      <a:pt x="6534" y="10684"/>
                    </a:lnTo>
                    <a:lnTo>
                      <a:pt x="6506" y="10701"/>
                    </a:lnTo>
                    <a:lnTo>
                      <a:pt x="6478" y="10718"/>
                    </a:lnTo>
                    <a:lnTo>
                      <a:pt x="6451" y="10732"/>
                    </a:lnTo>
                    <a:lnTo>
                      <a:pt x="6425" y="10744"/>
                    </a:lnTo>
                    <a:lnTo>
                      <a:pt x="6400" y="10755"/>
                    </a:lnTo>
                    <a:lnTo>
                      <a:pt x="6376" y="10763"/>
                    </a:lnTo>
                    <a:lnTo>
                      <a:pt x="6351" y="10770"/>
                    </a:lnTo>
                    <a:lnTo>
                      <a:pt x="6327" y="10775"/>
                    </a:lnTo>
                    <a:lnTo>
                      <a:pt x="6303" y="10779"/>
                    </a:lnTo>
                    <a:lnTo>
                      <a:pt x="6281" y="10782"/>
                    </a:lnTo>
                    <a:lnTo>
                      <a:pt x="6257" y="10783"/>
                    </a:lnTo>
                    <a:lnTo>
                      <a:pt x="6239" y="10782"/>
                    </a:lnTo>
                    <a:lnTo>
                      <a:pt x="6222" y="10781"/>
                    </a:lnTo>
                    <a:lnTo>
                      <a:pt x="6204" y="10777"/>
                    </a:lnTo>
                    <a:lnTo>
                      <a:pt x="6188" y="10773"/>
                    </a:lnTo>
                    <a:lnTo>
                      <a:pt x="6170" y="10769"/>
                    </a:lnTo>
                    <a:lnTo>
                      <a:pt x="6154" y="10763"/>
                    </a:lnTo>
                    <a:lnTo>
                      <a:pt x="6136" y="10756"/>
                    </a:lnTo>
                    <a:lnTo>
                      <a:pt x="6119" y="10747"/>
                    </a:lnTo>
                    <a:lnTo>
                      <a:pt x="6101" y="10737"/>
                    </a:lnTo>
                    <a:lnTo>
                      <a:pt x="6083" y="10727"/>
                    </a:lnTo>
                    <a:lnTo>
                      <a:pt x="6066" y="10715"/>
                    </a:lnTo>
                    <a:lnTo>
                      <a:pt x="6047" y="10702"/>
                    </a:lnTo>
                    <a:lnTo>
                      <a:pt x="6029" y="10688"/>
                    </a:lnTo>
                    <a:lnTo>
                      <a:pt x="6010" y="10672"/>
                    </a:lnTo>
                    <a:lnTo>
                      <a:pt x="5992" y="10656"/>
                    </a:lnTo>
                    <a:lnTo>
                      <a:pt x="5972" y="10638"/>
                    </a:lnTo>
                    <a:lnTo>
                      <a:pt x="5951" y="10620"/>
                    </a:lnTo>
                    <a:lnTo>
                      <a:pt x="5932" y="10599"/>
                    </a:lnTo>
                    <a:lnTo>
                      <a:pt x="5910" y="10578"/>
                    </a:lnTo>
                    <a:lnTo>
                      <a:pt x="5888" y="10556"/>
                    </a:lnTo>
                    <a:lnTo>
                      <a:pt x="5867" y="10532"/>
                    </a:lnTo>
                    <a:lnTo>
                      <a:pt x="5844" y="10508"/>
                    </a:lnTo>
                    <a:lnTo>
                      <a:pt x="5820" y="10481"/>
                    </a:lnTo>
                    <a:lnTo>
                      <a:pt x="5795" y="10454"/>
                    </a:lnTo>
                    <a:lnTo>
                      <a:pt x="5771" y="10425"/>
                    </a:lnTo>
                    <a:lnTo>
                      <a:pt x="5745" y="10395"/>
                    </a:lnTo>
                    <a:lnTo>
                      <a:pt x="5718" y="10364"/>
                    </a:lnTo>
                    <a:lnTo>
                      <a:pt x="5690" y="10332"/>
                    </a:lnTo>
                    <a:lnTo>
                      <a:pt x="5662" y="10298"/>
                    </a:lnTo>
                    <a:lnTo>
                      <a:pt x="5632" y="10263"/>
                    </a:lnTo>
                    <a:lnTo>
                      <a:pt x="5602" y="10227"/>
                    </a:lnTo>
                    <a:lnTo>
                      <a:pt x="5570" y="10190"/>
                    </a:lnTo>
                    <a:lnTo>
                      <a:pt x="5570" y="10190"/>
                    </a:lnTo>
                    <a:close/>
                    <a:moveTo>
                      <a:pt x="9965" y="3553"/>
                    </a:moveTo>
                    <a:lnTo>
                      <a:pt x="10041" y="3496"/>
                    </a:lnTo>
                    <a:lnTo>
                      <a:pt x="10117" y="3444"/>
                    </a:lnTo>
                    <a:lnTo>
                      <a:pt x="10190" y="3394"/>
                    </a:lnTo>
                    <a:lnTo>
                      <a:pt x="10262" y="3348"/>
                    </a:lnTo>
                    <a:lnTo>
                      <a:pt x="10333" y="3305"/>
                    </a:lnTo>
                    <a:lnTo>
                      <a:pt x="10400" y="3267"/>
                    </a:lnTo>
                    <a:lnTo>
                      <a:pt x="10432" y="3250"/>
                    </a:lnTo>
                    <a:lnTo>
                      <a:pt x="10464" y="3233"/>
                    </a:lnTo>
                    <a:lnTo>
                      <a:pt x="10494" y="3217"/>
                    </a:lnTo>
                    <a:lnTo>
                      <a:pt x="10522" y="3201"/>
                    </a:lnTo>
                    <a:lnTo>
                      <a:pt x="10550" y="3188"/>
                    </a:lnTo>
                    <a:lnTo>
                      <a:pt x="10577" y="3175"/>
                    </a:lnTo>
                    <a:lnTo>
                      <a:pt x="10602" y="3162"/>
                    </a:lnTo>
                    <a:lnTo>
                      <a:pt x="10626" y="3151"/>
                    </a:lnTo>
                    <a:lnTo>
                      <a:pt x="10648" y="3141"/>
                    </a:lnTo>
                    <a:lnTo>
                      <a:pt x="10669" y="3130"/>
                    </a:lnTo>
                    <a:lnTo>
                      <a:pt x="10689" y="3122"/>
                    </a:lnTo>
                    <a:lnTo>
                      <a:pt x="10706" y="3114"/>
                    </a:lnTo>
                    <a:lnTo>
                      <a:pt x="10722" y="3108"/>
                    </a:lnTo>
                    <a:lnTo>
                      <a:pt x="10735" y="3102"/>
                    </a:lnTo>
                    <a:lnTo>
                      <a:pt x="10747" y="3096"/>
                    </a:lnTo>
                    <a:lnTo>
                      <a:pt x="10757" y="3092"/>
                    </a:lnTo>
                    <a:lnTo>
                      <a:pt x="10765" y="3089"/>
                    </a:lnTo>
                    <a:lnTo>
                      <a:pt x="10771" y="3087"/>
                    </a:lnTo>
                    <a:lnTo>
                      <a:pt x="10774" y="3085"/>
                    </a:lnTo>
                    <a:lnTo>
                      <a:pt x="10775" y="3085"/>
                    </a:lnTo>
                    <a:lnTo>
                      <a:pt x="10774" y="3085"/>
                    </a:lnTo>
                    <a:lnTo>
                      <a:pt x="10770" y="3085"/>
                    </a:lnTo>
                    <a:lnTo>
                      <a:pt x="10763" y="3085"/>
                    </a:lnTo>
                    <a:lnTo>
                      <a:pt x="10754" y="3086"/>
                    </a:lnTo>
                    <a:lnTo>
                      <a:pt x="10742" y="3087"/>
                    </a:lnTo>
                    <a:lnTo>
                      <a:pt x="10729" y="3088"/>
                    </a:lnTo>
                    <a:lnTo>
                      <a:pt x="10714" y="3090"/>
                    </a:lnTo>
                    <a:lnTo>
                      <a:pt x="10697" y="3093"/>
                    </a:lnTo>
                    <a:lnTo>
                      <a:pt x="10679" y="3096"/>
                    </a:lnTo>
                    <a:lnTo>
                      <a:pt x="10660" y="3101"/>
                    </a:lnTo>
                    <a:lnTo>
                      <a:pt x="10639" y="3106"/>
                    </a:lnTo>
                    <a:lnTo>
                      <a:pt x="10617" y="3112"/>
                    </a:lnTo>
                    <a:lnTo>
                      <a:pt x="10595" y="3119"/>
                    </a:lnTo>
                    <a:lnTo>
                      <a:pt x="10572" y="3127"/>
                    </a:lnTo>
                    <a:lnTo>
                      <a:pt x="10549" y="3137"/>
                    </a:lnTo>
                    <a:lnTo>
                      <a:pt x="10526" y="3148"/>
                    </a:lnTo>
                    <a:lnTo>
                      <a:pt x="10504" y="3154"/>
                    </a:lnTo>
                    <a:lnTo>
                      <a:pt x="10483" y="3159"/>
                    </a:lnTo>
                    <a:lnTo>
                      <a:pt x="10466" y="3165"/>
                    </a:lnTo>
                    <a:lnTo>
                      <a:pt x="10449" y="3171"/>
                    </a:lnTo>
                    <a:lnTo>
                      <a:pt x="10435" y="3176"/>
                    </a:lnTo>
                    <a:lnTo>
                      <a:pt x="10422" y="3181"/>
                    </a:lnTo>
                    <a:lnTo>
                      <a:pt x="10411" y="3186"/>
                    </a:lnTo>
                    <a:lnTo>
                      <a:pt x="10402" y="3190"/>
                    </a:lnTo>
                    <a:lnTo>
                      <a:pt x="10393" y="3194"/>
                    </a:lnTo>
                    <a:lnTo>
                      <a:pt x="10387" y="3198"/>
                    </a:lnTo>
                    <a:lnTo>
                      <a:pt x="10382" y="3201"/>
                    </a:lnTo>
                    <a:lnTo>
                      <a:pt x="10378" y="3205"/>
                    </a:lnTo>
                    <a:lnTo>
                      <a:pt x="10375" y="3207"/>
                    </a:lnTo>
                    <a:lnTo>
                      <a:pt x="10373" y="3209"/>
                    </a:lnTo>
                    <a:lnTo>
                      <a:pt x="10371" y="3210"/>
                    </a:lnTo>
                    <a:lnTo>
                      <a:pt x="10371" y="3208"/>
                    </a:lnTo>
                    <a:lnTo>
                      <a:pt x="10371" y="3202"/>
                    </a:lnTo>
                    <a:lnTo>
                      <a:pt x="10370" y="3194"/>
                    </a:lnTo>
                    <a:lnTo>
                      <a:pt x="10369" y="3184"/>
                    </a:lnTo>
                    <a:lnTo>
                      <a:pt x="10367" y="3170"/>
                    </a:lnTo>
                    <a:lnTo>
                      <a:pt x="10365" y="3154"/>
                    </a:lnTo>
                    <a:lnTo>
                      <a:pt x="10360" y="3136"/>
                    </a:lnTo>
                    <a:lnTo>
                      <a:pt x="10355" y="3116"/>
                    </a:lnTo>
                    <a:lnTo>
                      <a:pt x="10348" y="3095"/>
                    </a:lnTo>
                    <a:lnTo>
                      <a:pt x="10340" y="3073"/>
                    </a:lnTo>
                    <a:lnTo>
                      <a:pt x="10330" y="3050"/>
                    </a:lnTo>
                    <a:lnTo>
                      <a:pt x="10318" y="3026"/>
                    </a:lnTo>
                    <a:lnTo>
                      <a:pt x="10304" y="3002"/>
                    </a:lnTo>
                    <a:lnTo>
                      <a:pt x="10287" y="2977"/>
                    </a:lnTo>
                    <a:lnTo>
                      <a:pt x="10267" y="2953"/>
                    </a:lnTo>
                    <a:lnTo>
                      <a:pt x="10246" y="2930"/>
                    </a:lnTo>
                    <a:lnTo>
                      <a:pt x="10228" y="2907"/>
                    </a:lnTo>
                    <a:lnTo>
                      <a:pt x="10210" y="2887"/>
                    </a:lnTo>
                    <a:lnTo>
                      <a:pt x="10191" y="2869"/>
                    </a:lnTo>
                    <a:lnTo>
                      <a:pt x="10172" y="2852"/>
                    </a:lnTo>
                    <a:lnTo>
                      <a:pt x="10154" y="2838"/>
                    </a:lnTo>
                    <a:lnTo>
                      <a:pt x="10135" y="2825"/>
                    </a:lnTo>
                    <a:lnTo>
                      <a:pt x="10118" y="2814"/>
                    </a:lnTo>
                    <a:lnTo>
                      <a:pt x="10101" y="2805"/>
                    </a:lnTo>
                    <a:lnTo>
                      <a:pt x="10086" y="2797"/>
                    </a:lnTo>
                    <a:lnTo>
                      <a:pt x="10071" y="2789"/>
                    </a:lnTo>
                    <a:lnTo>
                      <a:pt x="10059" y="2784"/>
                    </a:lnTo>
                    <a:lnTo>
                      <a:pt x="10048" y="2780"/>
                    </a:lnTo>
                    <a:lnTo>
                      <a:pt x="10039" y="2777"/>
                    </a:lnTo>
                    <a:lnTo>
                      <a:pt x="10032" y="2775"/>
                    </a:lnTo>
                    <a:lnTo>
                      <a:pt x="10028" y="2773"/>
                    </a:lnTo>
                    <a:lnTo>
                      <a:pt x="10027" y="2773"/>
                    </a:lnTo>
                    <a:lnTo>
                      <a:pt x="10027" y="2772"/>
                    </a:lnTo>
                    <a:lnTo>
                      <a:pt x="10029" y="2768"/>
                    </a:lnTo>
                    <a:lnTo>
                      <a:pt x="10031" y="2765"/>
                    </a:lnTo>
                    <a:lnTo>
                      <a:pt x="10033" y="2762"/>
                    </a:lnTo>
                    <a:lnTo>
                      <a:pt x="10037" y="2758"/>
                    </a:lnTo>
                    <a:lnTo>
                      <a:pt x="10042" y="2753"/>
                    </a:lnTo>
                    <a:lnTo>
                      <a:pt x="10050" y="2749"/>
                    </a:lnTo>
                    <a:lnTo>
                      <a:pt x="10058" y="2744"/>
                    </a:lnTo>
                    <a:lnTo>
                      <a:pt x="10067" y="2739"/>
                    </a:lnTo>
                    <a:lnTo>
                      <a:pt x="10080" y="2734"/>
                    </a:lnTo>
                    <a:lnTo>
                      <a:pt x="10094" y="2729"/>
                    </a:lnTo>
                    <a:lnTo>
                      <a:pt x="10111" y="2722"/>
                    </a:lnTo>
                    <a:lnTo>
                      <a:pt x="10130" y="2717"/>
                    </a:lnTo>
                    <a:lnTo>
                      <a:pt x="10152" y="2711"/>
                    </a:lnTo>
                    <a:lnTo>
                      <a:pt x="10175" y="2705"/>
                    </a:lnTo>
                    <a:lnTo>
                      <a:pt x="10196" y="2700"/>
                    </a:lnTo>
                    <a:lnTo>
                      <a:pt x="10216" y="2694"/>
                    </a:lnTo>
                    <a:lnTo>
                      <a:pt x="10233" y="2688"/>
                    </a:lnTo>
                    <a:lnTo>
                      <a:pt x="10251" y="2683"/>
                    </a:lnTo>
                    <a:lnTo>
                      <a:pt x="10265" y="2678"/>
                    </a:lnTo>
                    <a:lnTo>
                      <a:pt x="10280" y="2673"/>
                    </a:lnTo>
                    <a:lnTo>
                      <a:pt x="10292" y="2668"/>
                    </a:lnTo>
                    <a:lnTo>
                      <a:pt x="10303" y="2664"/>
                    </a:lnTo>
                    <a:lnTo>
                      <a:pt x="10313" y="2660"/>
                    </a:lnTo>
                    <a:lnTo>
                      <a:pt x="10320" y="2657"/>
                    </a:lnTo>
                    <a:lnTo>
                      <a:pt x="10327" y="2653"/>
                    </a:lnTo>
                    <a:lnTo>
                      <a:pt x="10333" y="2651"/>
                    </a:lnTo>
                    <a:lnTo>
                      <a:pt x="10336" y="2649"/>
                    </a:lnTo>
                    <a:lnTo>
                      <a:pt x="10338" y="2648"/>
                    </a:lnTo>
                    <a:lnTo>
                      <a:pt x="10339" y="2648"/>
                    </a:lnTo>
                    <a:lnTo>
                      <a:pt x="10335" y="2648"/>
                    </a:lnTo>
                    <a:lnTo>
                      <a:pt x="10329" y="2648"/>
                    </a:lnTo>
                    <a:lnTo>
                      <a:pt x="10322" y="2648"/>
                    </a:lnTo>
                    <a:lnTo>
                      <a:pt x="10313" y="2649"/>
                    </a:lnTo>
                    <a:lnTo>
                      <a:pt x="10303" y="2649"/>
                    </a:lnTo>
                    <a:lnTo>
                      <a:pt x="10290" y="2650"/>
                    </a:lnTo>
                    <a:lnTo>
                      <a:pt x="10277" y="2651"/>
                    </a:lnTo>
                    <a:lnTo>
                      <a:pt x="10261" y="2652"/>
                    </a:lnTo>
                    <a:lnTo>
                      <a:pt x="10245" y="2653"/>
                    </a:lnTo>
                    <a:lnTo>
                      <a:pt x="10227" y="2656"/>
                    </a:lnTo>
                    <a:lnTo>
                      <a:pt x="10208" y="2659"/>
                    </a:lnTo>
                    <a:lnTo>
                      <a:pt x="10187" y="2662"/>
                    </a:lnTo>
                    <a:lnTo>
                      <a:pt x="10165" y="2665"/>
                    </a:lnTo>
                    <a:lnTo>
                      <a:pt x="10143" y="2669"/>
                    </a:lnTo>
                    <a:lnTo>
                      <a:pt x="10119" y="2674"/>
                    </a:lnTo>
                    <a:lnTo>
                      <a:pt x="10094" y="2679"/>
                    </a:lnTo>
                    <a:lnTo>
                      <a:pt x="10040" y="2693"/>
                    </a:lnTo>
                    <a:lnTo>
                      <a:pt x="9984" y="2709"/>
                    </a:lnTo>
                    <a:lnTo>
                      <a:pt x="9924" y="2730"/>
                    </a:lnTo>
                    <a:lnTo>
                      <a:pt x="9893" y="2741"/>
                    </a:lnTo>
                    <a:lnTo>
                      <a:pt x="9862" y="2754"/>
                    </a:lnTo>
                    <a:lnTo>
                      <a:pt x="9829" y="2768"/>
                    </a:lnTo>
                    <a:lnTo>
                      <a:pt x="9797" y="2782"/>
                    </a:lnTo>
                    <a:lnTo>
                      <a:pt x="9763" y="2799"/>
                    </a:lnTo>
                    <a:lnTo>
                      <a:pt x="9730" y="2816"/>
                    </a:lnTo>
                    <a:lnTo>
                      <a:pt x="9696" y="2835"/>
                    </a:lnTo>
                    <a:lnTo>
                      <a:pt x="9660" y="2854"/>
                    </a:lnTo>
                    <a:lnTo>
                      <a:pt x="9626" y="2876"/>
                    </a:lnTo>
                    <a:lnTo>
                      <a:pt x="9591" y="2899"/>
                    </a:lnTo>
                    <a:lnTo>
                      <a:pt x="9557" y="2920"/>
                    </a:lnTo>
                    <a:lnTo>
                      <a:pt x="9523" y="2942"/>
                    </a:lnTo>
                    <a:lnTo>
                      <a:pt x="9490" y="2966"/>
                    </a:lnTo>
                    <a:lnTo>
                      <a:pt x="9458" y="2990"/>
                    </a:lnTo>
                    <a:lnTo>
                      <a:pt x="9398" y="3043"/>
                    </a:lnTo>
                    <a:lnTo>
                      <a:pt x="9341" y="3097"/>
                    </a:lnTo>
                    <a:lnTo>
                      <a:pt x="9288" y="3154"/>
                    </a:lnTo>
                    <a:lnTo>
                      <a:pt x="9263" y="3182"/>
                    </a:lnTo>
                    <a:lnTo>
                      <a:pt x="9239" y="3211"/>
                    </a:lnTo>
                    <a:lnTo>
                      <a:pt x="9217" y="3240"/>
                    </a:lnTo>
                    <a:lnTo>
                      <a:pt x="9195" y="3267"/>
                    </a:lnTo>
                    <a:lnTo>
                      <a:pt x="9174" y="3295"/>
                    </a:lnTo>
                    <a:lnTo>
                      <a:pt x="9155" y="3323"/>
                    </a:lnTo>
                    <a:lnTo>
                      <a:pt x="9136" y="3350"/>
                    </a:lnTo>
                    <a:lnTo>
                      <a:pt x="9120" y="3376"/>
                    </a:lnTo>
                    <a:lnTo>
                      <a:pt x="9103" y="3400"/>
                    </a:lnTo>
                    <a:lnTo>
                      <a:pt x="9088" y="3424"/>
                    </a:lnTo>
                    <a:lnTo>
                      <a:pt x="9074" y="3447"/>
                    </a:lnTo>
                    <a:lnTo>
                      <a:pt x="9061" y="3468"/>
                    </a:lnTo>
                    <a:lnTo>
                      <a:pt x="9049" y="3489"/>
                    </a:lnTo>
                    <a:lnTo>
                      <a:pt x="9039" y="3507"/>
                    </a:lnTo>
                    <a:lnTo>
                      <a:pt x="9030" y="3524"/>
                    </a:lnTo>
                    <a:lnTo>
                      <a:pt x="9021" y="3539"/>
                    </a:lnTo>
                    <a:lnTo>
                      <a:pt x="9014" y="3552"/>
                    </a:lnTo>
                    <a:lnTo>
                      <a:pt x="9009" y="3563"/>
                    </a:lnTo>
                    <a:lnTo>
                      <a:pt x="9005" y="3572"/>
                    </a:lnTo>
                    <a:lnTo>
                      <a:pt x="9002" y="3578"/>
                    </a:lnTo>
                    <a:lnTo>
                      <a:pt x="9000" y="3583"/>
                    </a:lnTo>
                    <a:lnTo>
                      <a:pt x="8999" y="3584"/>
                    </a:lnTo>
                    <a:lnTo>
                      <a:pt x="9000" y="3583"/>
                    </a:lnTo>
                    <a:lnTo>
                      <a:pt x="9004" y="3578"/>
                    </a:lnTo>
                    <a:lnTo>
                      <a:pt x="9011" y="3571"/>
                    </a:lnTo>
                    <a:lnTo>
                      <a:pt x="9019" y="3563"/>
                    </a:lnTo>
                    <a:lnTo>
                      <a:pt x="9030" y="3553"/>
                    </a:lnTo>
                    <a:lnTo>
                      <a:pt x="9041" y="3541"/>
                    </a:lnTo>
                    <a:lnTo>
                      <a:pt x="9054" y="3528"/>
                    </a:lnTo>
                    <a:lnTo>
                      <a:pt x="9069" y="3514"/>
                    </a:lnTo>
                    <a:lnTo>
                      <a:pt x="9099" y="3484"/>
                    </a:lnTo>
                    <a:lnTo>
                      <a:pt x="9130" y="3453"/>
                    </a:lnTo>
                    <a:lnTo>
                      <a:pt x="9160" y="3423"/>
                    </a:lnTo>
                    <a:lnTo>
                      <a:pt x="9173" y="3410"/>
                    </a:lnTo>
                    <a:lnTo>
                      <a:pt x="9186" y="3397"/>
                    </a:lnTo>
                    <a:lnTo>
                      <a:pt x="9209" y="3376"/>
                    </a:lnTo>
                    <a:lnTo>
                      <a:pt x="9232" y="3356"/>
                    </a:lnTo>
                    <a:lnTo>
                      <a:pt x="9253" y="3339"/>
                    </a:lnTo>
                    <a:lnTo>
                      <a:pt x="9271" y="3327"/>
                    </a:lnTo>
                    <a:lnTo>
                      <a:pt x="9288" y="3317"/>
                    </a:lnTo>
                    <a:lnTo>
                      <a:pt x="9294" y="3313"/>
                    </a:lnTo>
                    <a:lnTo>
                      <a:pt x="9300" y="3310"/>
                    </a:lnTo>
                    <a:lnTo>
                      <a:pt x="9304" y="3307"/>
                    </a:lnTo>
                    <a:lnTo>
                      <a:pt x="9307" y="3304"/>
                    </a:lnTo>
                    <a:lnTo>
                      <a:pt x="9309" y="3303"/>
                    </a:lnTo>
                    <a:lnTo>
                      <a:pt x="9311" y="3303"/>
                    </a:lnTo>
                    <a:lnTo>
                      <a:pt x="9311" y="3310"/>
                    </a:lnTo>
                    <a:lnTo>
                      <a:pt x="9312" y="3318"/>
                    </a:lnTo>
                    <a:lnTo>
                      <a:pt x="9314" y="3327"/>
                    </a:lnTo>
                    <a:lnTo>
                      <a:pt x="9317" y="3337"/>
                    </a:lnTo>
                    <a:lnTo>
                      <a:pt x="9325" y="3360"/>
                    </a:lnTo>
                    <a:lnTo>
                      <a:pt x="9331" y="3372"/>
                    </a:lnTo>
                    <a:lnTo>
                      <a:pt x="9337" y="3385"/>
                    </a:lnTo>
                    <a:lnTo>
                      <a:pt x="9346" y="3398"/>
                    </a:lnTo>
                    <a:lnTo>
                      <a:pt x="9355" y="3412"/>
                    </a:lnTo>
                    <a:lnTo>
                      <a:pt x="9365" y="3426"/>
                    </a:lnTo>
                    <a:lnTo>
                      <a:pt x="9377" y="3439"/>
                    </a:lnTo>
                    <a:lnTo>
                      <a:pt x="9389" y="3453"/>
                    </a:lnTo>
                    <a:lnTo>
                      <a:pt x="9403" y="3465"/>
                    </a:lnTo>
                    <a:lnTo>
                      <a:pt x="9419" y="3478"/>
                    </a:lnTo>
                    <a:lnTo>
                      <a:pt x="9435" y="3490"/>
                    </a:lnTo>
                    <a:lnTo>
                      <a:pt x="9458" y="3513"/>
                    </a:lnTo>
                    <a:lnTo>
                      <a:pt x="9481" y="3532"/>
                    </a:lnTo>
                    <a:lnTo>
                      <a:pt x="9501" y="3551"/>
                    </a:lnTo>
                    <a:lnTo>
                      <a:pt x="9522" y="3567"/>
                    </a:lnTo>
                    <a:lnTo>
                      <a:pt x="9542" y="3582"/>
                    </a:lnTo>
                    <a:lnTo>
                      <a:pt x="9559" y="3594"/>
                    </a:lnTo>
                    <a:lnTo>
                      <a:pt x="9576" y="3605"/>
                    </a:lnTo>
                    <a:lnTo>
                      <a:pt x="9591" y="3615"/>
                    </a:lnTo>
                    <a:lnTo>
                      <a:pt x="9605" y="3623"/>
                    </a:lnTo>
                    <a:lnTo>
                      <a:pt x="9617" y="3630"/>
                    </a:lnTo>
                    <a:lnTo>
                      <a:pt x="9627" y="3635"/>
                    </a:lnTo>
                    <a:lnTo>
                      <a:pt x="9637" y="3639"/>
                    </a:lnTo>
                    <a:lnTo>
                      <a:pt x="9644" y="3642"/>
                    </a:lnTo>
                    <a:lnTo>
                      <a:pt x="9649" y="3644"/>
                    </a:lnTo>
                    <a:lnTo>
                      <a:pt x="9652" y="3646"/>
                    </a:lnTo>
                    <a:lnTo>
                      <a:pt x="9653" y="3646"/>
                    </a:lnTo>
                    <a:lnTo>
                      <a:pt x="9652" y="3647"/>
                    </a:lnTo>
                    <a:lnTo>
                      <a:pt x="9649" y="3651"/>
                    </a:lnTo>
                    <a:lnTo>
                      <a:pt x="9645" y="3656"/>
                    </a:lnTo>
                    <a:lnTo>
                      <a:pt x="9638" y="3663"/>
                    </a:lnTo>
                    <a:lnTo>
                      <a:pt x="9631" y="3671"/>
                    </a:lnTo>
                    <a:lnTo>
                      <a:pt x="9622" y="3680"/>
                    </a:lnTo>
                    <a:lnTo>
                      <a:pt x="9613" y="3692"/>
                    </a:lnTo>
                    <a:lnTo>
                      <a:pt x="9603" y="3704"/>
                    </a:lnTo>
                    <a:lnTo>
                      <a:pt x="9592" y="3719"/>
                    </a:lnTo>
                    <a:lnTo>
                      <a:pt x="9582" y="3733"/>
                    </a:lnTo>
                    <a:lnTo>
                      <a:pt x="9561" y="3764"/>
                    </a:lnTo>
                    <a:lnTo>
                      <a:pt x="9543" y="3798"/>
                    </a:lnTo>
                    <a:lnTo>
                      <a:pt x="9535" y="3815"/>
                    </a:lnTo>
                    <a:lnTo>
                      <a:pt x="9528" y="3833"/>
                    </a:lnTo>
                    <a:lnTo>
                      <a:pt x="9507" y="3869"/>
                    </a:lnTo>
                    <a:lnTo>
                      <a:pt x="9488" y="3907"/>
                    </a:lnTo>
                    <a:lnTo>
                      <a:pt x="9472" y="3943"/>
                    </a:lnTo>
                    <a:lnTo>
                      <a:pt x="9465" y="3961"/>
                    </a:lnTo>
                    <a:lnTo>
                      <a:pt x="9459" y="3977"/>
                    </a:lnTo>
                    <a:lnTo>
                      <a:pt x="9453" y="3993"/>
                    </a:lnTo>
                    <a:lnTo>
                      <a:pt x="9449" y="4007"/>
                    </a:lnTo>
                    <a:lnTo>
                      <a:pt x="9445" y="4019"/>
                    </a:lnTo>
                    <a:lnTo>
                      <a:pt x="9442" y="4031"/>
                    </a:lnTo>
                    <a:lnTo>
                      <a:pt x="9439" y="4039"/>
                    </a:lnTo>
                    <a:lnTo>
                      <a:pt x="9436" y="4046"/>
                    </a:lnTo>
                    <a:lnTo>
                      <a:pt x="9435" y="4050"/>
                    </a:lnTo>
                    <a:lnTo>
                      <a:pt x="9435" y="4051"/>
                    </a:lnTo>
                    <a:lnTo>
                      <a:pt x="9436" y="4050"/>
                    </a:lnTo>
                    <a:lnTo>
                      <a:pt x="9439" y="4048"/>
                    </a:lnTo>
                    <a:lnTo>
                      <a:pt x="9442" y="4044"/>
                    </a:lnTo>
                    <a:lnTo>
                      <a:pt x="9447" y="4039"/>
                    </a:lnTo>
                    <a:lnTo>
                      <a:pt x="9453" y="4032"/>
                    </a:lnTo>
                    <a:lnTo>
                      <a:pt x="9460" y="4024"/>
                    </a:lnTo>
                    <a:lnTo>
                      <a:pt x="9468" y="4014"/>
                    </a:lnTo>
                    <a:lnTo>
                      <a:pt x="9479" y="4004"/>
                    </a:lnTo>
                    <a:lnTo>
                      <a:pt x="9490" y="3993"/>
                    </a:lnTo>
                    <a:lnTo>
                      <a:pt x="9501" y="3979"/>
                    </a:lnTo>
                    <a:lnTo>
                      <a:pt x="9515" y="3966"/>
                    </a:lnTo>
                    <a:lnTo>
                      <a:pt x="9529" y="3951"/>
                    </a:lnTo>
                    <a:lnTo>
                      <a:pt x="9560" y="3919"/>
                    </a:lnTo>
                    <a:lnTo>
                      <a:pt x="9595" y="3884"/>
                    </a:lnTo>
                    <a:lnTo>
                      <a:pt x="9633" y="3846"/>
                    </a:lnTo>
                    <a:lnTo>
                      <a:pt x="9674" y="3806"/>
                    </a:lnTo>
                    <a:lnTo>
                      <a:pt x="9718" y="3765"/>
                    </a:lnTo>
                    <a:lnTo>
                      <a:pt x="9764" y="3723"/>
                    </a:lnTo>
                    <a:lnTo>
                      <a:pt x="9812" y="3679"/>
                    </a:lnTo>
                    <a:lnTo>
                      <a:pt x="9862" y="3637"/>
                    </a:lnTo>
                    <a:lnTo>
                      <a:pt x="9912" y="3594"/>
                    </a:lnTo>
                    <a:lnTo>
                      <a:pt x="9965" y="3553"/>
                    </a:lnTo>
                    <a:lnTo>
                      <a:pt x="9965" y="3553"/>
                    </a:lnTo>
                    <a:close/>
                    <a:moveTo>
                      <a:pt x="5828" y="2799"/>
                    </a:moveTo>
                    <a:lnTo>
                      <a:pt x="5843" y="2776"/>
                    </a:lnTo>
                    <a:lnTo>
                      <a:pt x="5857" y="2754"/>
                    </a:lnTo>
                    <a:lnTo>
                      <a:pt x="5871" y="2734"/>
                    </a:lnTo>
                    <a:lnTo>
                      <a:pt x="5884" y="2714"/>
                    </a:lnTo>
                    <a:lnTo>
                      <a:pt x="5909" y="2678"/>
                    </a:lnTo>
                    <a:lnTo>
                      <a:pt x="5933" y="2645"/>
                    </a:lnTo>
                    <a:lnTo>
                      <a:pt x="5955" y="2616"/>
                    </a:lnTo>
                    <a:lnTo>
                      <a:pt x="5976" y="2592"/>
                    </a:lnTo>
                    <a:lnTo>
                      <a:pt x="5995" y="2569"/>
                    </a:lnTo>
                    <a:lnTo>
                      <a:pt x="6011" y="2550"/>
                    </a:lnTo>
                    <a:lnTo>
                      <a:pt x="6027" y="2534"/>
                    </a:lnTo>
                    <a:lnTo>
                      <a:pt x="6040" y="2521"/>
                    </a:lnTo>
                    <a:lnTo>
                      <a:pt x="6051" y="2510"/>
                    </a:lnTo>
                    <a:lnTo>
                      <a:pt x="6061" y="2501"/>
                    </a:lnTo>
                    <a:lnTo>
                      <a:pt x="6068" y="2495"/>
                    </a:lnTo>
                    <a:lnTo>
                      <a:pt x="6073" y="2491"/>
                    </a:lnTo>
                    <a:lnTo>
                      <a:pt x="6076" y="2489"/>
                    </a:lnTo>
                    <a:lnTo>
                      <a:pt x="6077" y="2488"/>
                    </a:lnTo>
                    <a:lnTo>
                      <a:pt x="6076" y="2490"/>
                    </a:lnTo>
                    <a:lnTo>
                      <a:pt x="6075" y="2495"/>
                    </a:lnTo>
                    <a:lnTo>
                      <a:pt x="6072" y="2503"/>
                    </a:lnTo>
                    <a:lnTo>
                      <a:pt x="6068" y="2514"/>
                    </a:lnTo>
                    <a:lnTo>
                      <a:pt x="6064" y="2528"/>
                    </a:lnTo>
                    <a:lnTo>
                      <a:pt x="6060" y="2543"/>
                    </a:lnTo>
                    <a:lnTo>
                      <a:pt x="6055" y="2562"/>
                    </a:lnTo>
                    <a:lnTo>
                      <a:pt x="6050" y="2581"/>
                    </a:lnTo>
                    <a:lnTo>
                      <a:pt x="6046" y="2602"/>
                    </a:lnTo>
                    <a:lnTo>
                      <a:pt x="6042" y="2625"/>
                    </a:lnTo>
                    <a:lnTo>
                      <a:pt x="6040" y="2647"/>
                    </a:lnTo>
                    <a:lnTo>
                      <a:pt x="6038" y="2671"/>
                    </a:lnTo>
                    <a:lnTo>
                      <a:pt x="6038" y="2696"/>
                    </a:lnTo>
                    <a:lnTo>
                      <a:pt x="6039" y="2720"/>
                    </a:lnTo>
                    <a:lnTo>
                      <a:pt x="6041" y="2744"/>
                    </a:lnTo>
                    <a:lnTo>
                      <a:pt x="6046" y="2768"/>
                    </a:lnTo>
                    <a:lnTo>
                      <a:pt x="6053" y="2819"/>
                    </a:lnTo>
                    <a:lnTo>
                      <a:pt x="6061" y="2870"/>
                    </a:lnTo>
                    <a:lnTo>
                      <a:pt x="6069" y="2918"/>
                    </a:lnTo>
                    <a:lnTo>
                      <a:pt x="6079" y="2965"/>
                    </a:lnTo>
                    <a:lnTo>
                      <a:pt x="6089" y="3008"/>
                    </a:lnTo>
                    <a:lnTo>
                      <a:pt x="6100" y="3049"/>
                    </a:lnTo>
                    <a:lnTo>
                      <a:pt x="6110" y="3087"/>
                    </a:lnTo>
                    <a:lnTo>
                      <a:pt x="6121" y="3122"/>
                    </a:lnTo>
                    <a:lnTo>
                      <a:pt x="6131" y="3154"/>
                    </a:lnTo>
                    <a:lnTo>
                      <a:pt x="6140" y="3183"/>
                    </a:lnTo>
                    <a:lnTo>
                      <a:pt x="6149" y="3208"/>
                    </a:lnTo>
                    <a:lnTo>
                      <a:pt x="6153" y="3218"/>
                    </a:lnTo>
                    <a:lnTo>
                      <a:pt x="6156" y="3228"/>
                    </a:lnTo>
                    <a:lnTo>
                      <a:pt x="6160" y="3236"/>
                    </a:lnTo>
                    <a:lnTo>
                      <a:pt x="6162" y="3245"/>
                    </a:lnTo>
                    <a:lnTo>
                      <a:pt x="6165" y="3251"/>
                    </a:lnTo>
                    <a:lnTo>
                      <a:pt x="6167" y="3256"/>
                    </a:lnTo>
                    <a:lnTo>
                      <a:pt x="6169" y="3261"/>
                    </a:lnTo>
                    <a:lnTo>
                      <a:pt x="6170" y="3264"/>
                    </a:lnTo>
                    <a:lnTo>
                      <a:pt x="6171" y="3265"/>
                    </a:lnTo>
                    <a:lnTo>
                      <a:pt x="6171" y="3266"/>
                    </a:lnTo>
                    <a:lnTo>
                      <a:pt x="6171" y="3264"/>
                    </a:lnTo>
                    <a:lnTo>
                      <a:pt x="6171" y="3260"/>
                    </a:lnTo>
                    <a:lnTo>
                      <a:pt x="6172" y="3252"/>
                    </a:lnTo>
                    <a:lnTo>
                      <a:pt x="6173" y="3241"/>
                    </a:lnTo>
                    <a:lnTo>
                      <a:pt x="6174" y="3226"/>
                    </a:lnTo>
                    <a:lnTo>
                      <a:pt x="6175" y="3210"/>
                    </a:lnTo>
                    <a:lnTo>
                      <a:pt x="6177" y="3191"/>
                    </a:lnTo>
                    <a:lnTo>
                      <a:pt x="6179" y="3170"/>
                    </a:lnTo>
                    <a:lnTo>
                      <a:pt x="6183" y="3146"/>
                    </a:lnTo>
                    <a:lnTo>
                      <a:pt x="6185" y="3120"/>
                    </a:lnTo>
                    <a:lnTo>
                      <a:pt x="6189" y="3093"/>
                    </a:lnTo>
                    <a:lnTo>
                      <a:pt x="6193" y="3064"/>
                    </a:lnTo>
                    <a:lnTo>
                      <a:pt x="6197" y="3034"/>
                    </a:lnTo>
                    <a:lnTo>
                      <a:pt x="6202" y="3002"/>
                    </a:lnTo>
                    <a:lnTo>
                      <a:pt x="6207" y="2969"/>
                    </a:lnTo>
                    <a:lnTo>
                      <a:pt x="6214" y="2936"/>
                    </a:lnTo>
                    <a:lnTo>
                      <a:pt x="6228" y="2865"/>
                    </a:lnTo>
                    <a:lnTo>
                      <a:pt x="6246" y="2794"/>
                    </a:lnTo>
                    <a:lnTo>
                      <a:pt x="6266" y="2720"/>
                    </a:lnTo>
                    <a:lnTo>
                      <a:pt x="6289" y="2648"/>
                    </a:lnTo>
                    <a:lnTo>
                      <a:pt x="6316" y="2578"/>
                    </a:lnTo>
                    <a:lnTo>
                      <a:pt x="6331" y="2544"/>
                    </a:lnTo>
                    <a:lnTo>
                      <a:pt x="6347" y="2512"/>
                    </a:lnTo>
                    <a:lnTo>
                      <a:pt x="6363" y="2480"/>
                    </a:lnTo>
                    <a:lnTo>
                      <a:pt x="6382" y="2450"/>
                    </a:lnTo>
                    <a:lnTo>
                      <a:pt x="6400" y="2421"/>
                    </a:lnTo>
                    <a:lnTo>
                      <a:pt x="6420" y="2394"/>
                    </a:lnTo>
                    <a:lnTo>
                      <a:pt x="6444" y="2365"/>
                    </a:lnTo>
                    <a:lnTo>
                      <a:pt x="6470" y="2338"/>
                    </a:lnTo>
                    <a:lnTo>
                      <a:pt x="6496" y="2313"/>
                    </a:lnTo>
                    <a:lnTo>
                      <a:pt x="6525" y="2289"/>
                    </a:lnTo>
                    <a:lnTo>
                      <a:pt x="6554" y="2265"/>
                    </a:lnTo>
                    <a:lnTo>
                      <a:pt x="6585" y="2244"/>
                    </a:lnTo>
                    <a:lnTo>
                      <a:pt x="6617" y="2223"/>
                    </a:lnTo>
                    <a:lnTo>
                      <a:pt x="6650" y="2203"/>
                    </a:lnTo>
                    <a:lnTo>
                      <a:pt x="6684" y="2185"/>
                    </a:lnTo>
                    <a:lnTo>
                      <a:pt x="6719" y="2167"/>
                    </a:lnTo>
                    <a:lnTo>
                      <a:pt x="6793" y="2135"/>
                    </a:lnTo>
                    <a:lnTo>
                      <a:pt x="6869" y="2108"/>
                    </a:lnTo>
                    <a:lnTo>
                      <a:pt x="6950" y="2083"/>
                    </a:lnTo>
                    <a:lnTo>
                      <a:pt x="6992" y="2069"/>
                    </a:lnTo>
                    <a:lnTo>
                      <a:pt x="7035" y="2054"/>
                    </a:lnTo>
                    <a:lnTo>
                      <a:pt x="7080" y="2036"/>
                    </a:lnTo>
                    <a:lnTo>
                      <a:pt x="7125" y="2017"/>
                    </a:lnTo>
                    <a:lnTo>
                      <a:pt x="7169" y="1997"/>
                    </a:lnTo>
                    <a:lnTo>
                      <a:pt x="7214" y="1977"/>
                    </a:lnTo>
                    <a:lnTo>
                      <a:pt x="7256" y="1955"/>
                    </a:lnTo>
                    <a:lnTo>
                      <a:pt x="7297" y="1934"/>
                    </a:lnTo>
                    <a:lnTo>
                      <a:pt x="7335" y="1915"/>
                    </a:lnTo>
                    <a:lnTo>
                      <a:pt x="7370" y="1896"/>
                    </a:lnTo>
                    <a:lnTo>
                      <a:pt x="7386" y="1887"/>
                    </a:lnTo>
                    <a:lnTo>
                      <a:pt x="7402" y="1879"/>
                    </a:lnTo>
                    <a:lnTo>
                      <a:pt x="7415" y="1871"/>
                    </a:lnTo>
                    <a:lnTo>
                      <a:pt x="7429" y="1863"/>
                    </a:lnTo>
                    <a:lnTo>
                      <a:pt x="7440" y="1857"/>
                    </a:lnTo>
                    <a:lnTo>
                      <a:pt x="7450" y="1851"/>
                    </a:lnTo>
                    <a:lnTo>
                      <a:pt x="7459" y="1846"/>
                    </a:lnTo>
                    <a:lnTo>
                      <a:pt x="7467" y="1842"/>
                    </a:lnTo>
                    <a:lnTo>
                      <a:pt x="7472" y="1839"/>
                    </a:lnTo>
                    <a:lnTo>
                      <a:pt x="7477" y="1836"/>
                    </a:lnTo>
                    <a:lnTo>
                      <a:pt x="7479" y="1835"/>
                    </a:lnTo>
                    <a:lnTo>
                      <a:pt x="7480" y="1834"/>
                    </a:lnTo>
                    <a:lnTo>
                      <a:pt x="7479" y="1834"/>
                    </a:lnTo>
                    <a:lnTo>
                      <a:pt x="7478" y="1835"/>
                    </a:lnTo>
                    <a:lnTo>
                      <a:pt x="7475" y="1836"/>
                    </a:lnTo>
                    <a:lnTo>
                      <a:pt x="7471" y="1837"/>
                    </a:lnTo>
                    <a:lnTo>
                      <a:pt x="7467" y="1838"/>
                    </a:lnTo>
                    <a:lnTo>
                      <a:pt x="7461" y="1840"/>
                    </a:lnTo>
                    <a:lnTo>
                      <a:pt x="7453" y="1842"/>
                    </a:lnTo>
                    <a:lnTo>
                      <a:pt x="7444" y="1844"/>
                    </a:lnTo>
                    <a:lnTo>
                      <a:pt x="7435" y="1847"/>
                    </a:lnTo>
                    <a:lnTo>
                      <a:pt x="7424" y="1850"/>
                    </a:lnTo>
                    <a:lnTo>
                      <a:pt x="7412" y="1853"/>
                    </a:lnTo>
                    <a:lnTo>
                      <a:pt x="7400" y="1856"/>
                    </a:lnTo>
                    <a:lnTo>
                      <a:pt x="7385" y="1860"/>
                    </a:lnTo>
                    <a:lnTo>
                      <a:pt x="7370" y="1864"/>
                    </a:lnTo>
                    <a:lnTo>
                      <a:pt x="7353" y="1869"/>
                    </a:lnTo>
                    <a:lnTo>
                      <a:pt x="7336" y="1873"/>
                    </a:lnTo>
                    <a:lnTo>
                      <a:pt x="7317" y="1877"/>
                    </a:lnTo>
                    <a:lnTo>
                      <a:pt x="7296" y="1881"/>
                    </a:lnTo>
                    <a:lnTo>
                      <a:pt x="7276" y="1886"/>
                    </a:lnTo>
                    <a:lnTo>
                      <a:pt x="7253" y="1891"/>
                    </a:lnTo>
                    <a:lnTo>
                      <a:pt x="7229" y="1896"/>
                    </a:lnTo>
                    <a:lnTo>
                      <a:pt x="7205" y="1902"/>
                    </a:lnTo>
                    <a:lnTo>
                      <a:pt x="7179" y="1907"/>
                    </a:lnTo>
                    <a:lnTo>
                      <a:pt x="7151" y="1912"/>
                    </a:lnTo>
                    <a:lnTo>
                      <a:pt x="7122" y="1918"/>
                    </a:lnTo>
                    <a:lnTo>
                      <a:pt x="7093" y="1923"/>
                    </a:lnTo>
                    <a:lnTo>
                      <a:pt x="7062" y="1929"/>
                    </a:lnTo>
                    <a:lnTo>
                      <a:pt x="7029" y="1934"/>
                    </a:lnTo>
                    <a:lnTo>
                      <a:pt x="6996" y="1941"/>
                    </a:lnTo>
                    <a:lnTo>
                      <a:pt x="6961" y="1947"/>
                    </a:lnTo>
                    <a:lnTo>
                      <a:pt x="6925" y="1952"/>
                    </a:lnTo>
                    <a:lnTo>
                      <a:pt x="6888" y="1958"/>
                    </a:lnTo>
                    <a:lnTo>
                      <a:pt x="6818" y="1968"/>
                    </a:lnTo>
                    <a:lnTo>
                      <a:pt x="6752" y="1978"/>
                    </a:lnTo>
                    <a:lnTo>
                      <a:pt x="6687" y="1985"/>
                    </a:lnTo>
                    <a:lnTo>
                      <a:pt x="6624" y="1990"/>
                    </a:lnTo>
                    <a:lnTo>
                      <a:pt x="6565" y="1995"/>
                    </a:lnTo>
                    <a:lnTo>
                      <a:pt x="6507" y="2000"/>
                    </a:lnTo>
                    <a:lnTo>
                      <a:pt x="6451" y="2005"/>
                    </a:lnTo>
                    <a:lnTo>
                      <a:pt x="6397" y="2009"/>
                    </a:lnTo>
                    <a:lnTo>
                      <a:pt x="6346" y="2013"/>
                    </a:lnTo>
                    <a:lnTo>
                      <a:pt x="6296" y="2019"/>
                    </a:lnTo>
                    <a:lnTo>
                      <a:pt x="6249" y="2025"/>
                    </a:lnTo>
                    <a:lnTo>
                      <a:pt x="6204" y="2032"/>
                    </a:lnTo>
                    <a:lnTo>
                      <a:pt x="6161" y="2042"/>
                    </a:lnTo>
                    <a:lnTo>
                      <a:pt x="6121" y="2053"/>
                    </a:lnTo>
                    <a:lnTo>
                      <a:pt x="6082" y="2066"/>
                    </a:lnTo>
                    <a:lnTo>
                      <a:pt x="6046" y="2083"/>
                    </a:lnTo>
                    <a:lnTo>
                      <a:pt x="5996" y="2113"/>
                    </a:lnTo>
                    <a:lnTo>
                      <a:pt x="5948" y="2146"/>
                    </a:lnTo>
                    <a:lnTo>
                      <a:pt x="5904" y="2181"/>
                    </a:lnTo>
                    <a:lnTo>
                      <a:pt x="5863" y="2218"/>
                    </a:lnTo>
                    <a:lnTo>
                      <a:pt x="5824" y="2258"/>
                    </a:lnTo>
                    <a:lnTo>
                      <a:pt x="5788" y="2300"/>
                    </a:lnTo>
                    <a:lnTo>
                      <a:pt x="5754" y="2345"/>
                    </a:lnTo>
                    <a:lnTo>
                      <a:pt x="5723" y="2394"/>
                    </a:lnTo>
                    <a:lnTo>
                      <a:pt x="5693" y="2445"/>
                    </a:lnTo>
                    <a:lnTo>
                      <a:pt x="5664" y="2499"/>
                    </a:lnTo>
                    <a:lnTo>
                      <a:pt x="5638" y="2557"/>
                    </a:lnTo>
                    <a:lnTo>
                      <a:pt x="5613" y="2617"/>
                    </a:lnTo>
                    <a:lnTo>
                      <a:pt x="5588" y="2680"/>
                    </a:lnTo>
                    <a:lnTo>
                      <a:pt x="5563" y="2748"/>
                    </a:lnTo>
                    <a:lnTo>
                      <a:pt x="5540" y="2818"/>
                    </a:lnTo>
                    <a:lnTo>
                      <a:pt x="5517" y="2892"/>
                    </a:lnTo>
                    <a:lnTo>
                      <a:pt x="5502" y="2937"/>
                    </a:lnTo>
                    <a:lnTo>
                      <a:pt x="5490" y="2981"/>
                    </a:lnTo>
                    <a:lnTo>
                      <a:pt x="5466" y="3073"/>
                    </a:lnTo>
                    <a:lnTo>
                      <a:pt x="5448" y="3164"/>
                    </a:lnTo>
                    <a:lnTo>
                      <a:pt x="5431" y="3255"/>
                    </a:lnTo>
                    <a:lnTo>
                      <a:pt x="5419" y="3346"/>
                    </a:lnTo>
                    <a:lnTo>
                      <a:pt x="5408" y="3433"/>
                    </a:lnTo>
                    <a:lnTo>
                      <a:pt x="5404" y="3476"/>
                    </a:lnTo>
                    <a:lnTo>
                      <a:pt x="5401" y="3518"/>
                    </a:lnTo>
                    <a:lnTo>
                      <a:pt x="5398" y="3559"/>
                    </a:lnTo>
                    <a:lnTo>
                      <a:pt x="5396" y="3598"/>
                    </a:lnTo>
                    <a:lnTo>
                      <a:pt x="5394" y="3636"/>
                    </a:lnTo>
                    <a:lnTo>
                      <a:pt x="5392" y="3672"/>
                    </a:lnTo>
                    <a:lnTo>
                      <a:pt x="5391" y="3707"/>
                    </a:lnTo>
                    <a:lnTo>
                      <a:pt x="5391" y="3740"/>
                    </a:lnTo>
                    <a:lnTo>
                      <a:pt x="5390" y="3771"/>
                    </a:lnTo>
                    <a:lnTo>
                      <a:pt x="5390" y="3801"/>
                    </a:lnTo>
                    <a:lnTo>
                      <a:pt x="5390" y="3828"/>
                    </a:lnTo>
                    <a:lnTo>
                      <a:pt x="5390" y="3852"/>
                    </a:lnTo>
                    <a:lnTo>
                      <a:pt x="5390" y="3875"/>
                    </a:lnTo>
                    <a:lnTo>
                      <a:pt x="5390" y="3895"/>
                    </a:lnTo>
                    <a:lnTo>
                      <a:pt x="5391" y="3912"/>
                    </a:lnTo>
                    <a:lnTo>
                      <a:pt x="5391" y="3926"/>
                    </a:lnTo>
                    <a:lnTo>
                      <a:pt x="5391" y="3937"/>
                    </a:lnTo>
                    <a:lnTo>
                      <a:pt x="5392" y="3945"/>
                    </a:lnTo>
                    <a:lnTo>
                      <a:pt x="5392" y="3950"/>
                    </a:lnTo>
                    <a:lnTo>
                      <a:pt x="5392" y="3952"/>
                    </a:lnTo>
                    <a:lnTo>
                      <a:pt x="5392" y="3951"/>
                    </a:lnTo>
                    <a:lnTo>
                      <a:pt x="5393" y="3950"/>
                    </a:lnTo>
                    <a:lnTo>
                      <a:pt x="5393" y="3947"/>
                    </a:lnTo>
                    <a:lnTo>
                      <a:pt x="5394" y="3943"/>
                    </a:lnTo>
                    <a:lnTo>
                      <a:pt x="5396" y="3938"/>
                    </a:lnTo>
                    <a:lnTo>
                      <a:pt x="5397" y="3932"/>
                    </a:lnTo>
                    <a:lnTo>
                      <a:pt x="5399" y="3924"/>
                    </a:lnTo>
                    <a:lnTo>
                      <a:pt x="5402" y="3915"/>
                    </a:lnTo>
                    <a:lnTo>
                      <a:pt x="5407" y="3896"/>
                    </a:lnTo>
                    <a:lnTo>
                      <a:pt x="5413" y="3873"/>
                    </a:lnTo>
                    <a:lnTo>
                      <a:pt x="5421" y="3846"/>
                    </a:lnTo>
                    <a:lnTo>
                      <a:pt x="5429" y="3816"/>
                    </a:lnTo>
                    <a:lnTo>
                      <a:pt x="5438" y="3783"/>
                    </a:lnTo>
                    <a:lnTo>
                      <a:pt x="5449" y="3747"/>
                    </a:lnTo>
                    <a:lnTo>
                      <a:pt x="5460" y="3709"/>
                    </a:lnTo>
                    <a:lnTo>
                      <a:pt x="5472" y="3670"/>
                    </a:lnTo>
                    <a:lnTo>
                      <a:pt x="5485" y="3628"/>
                    </a:lnTo>
                    <a:lnTo>
                      <a:pt x="5499" y="3584"/>
                    </a:lnTo>
                    <a:lnTo>
                      <a:pt x="5513" y="3539"/>
                    </a:lnTo>
                    <a:lnTo>
                      <a:pt x="5528" y="3493"/>
                    </a:lnTo>
                    <a:lnTo>
                      <a:pt x="5560" y="3397"/>
                    </a:lnTo>
                    <a:lnTo>
                      <a:pt x="5594" y="3301"/>
                    </a:lnTo>
                    <a:lnTo>
                      <a:pt x="5630" y="3205"/>
                    </a:lnTo>
                    <a:lnTo>
                      <a:pt x="5649" y="3157"/>
                    </a:lnTo>
                    <a:lnTo>
                      <a:pt x="5668" y="3111"/>
                    </a:lnTo>
                    <a:lnTo>
                      <a:pt x="5687" y="3065"/>
                    </a:lnTo>
                    <a:lnTo>
                      <a:pt x="5707" y="3021"/>
                    </a:lnTo>
                    <a:lnTo>
                      <a:pt x="5727" y="2979"/>
                    </a:lnTo>
                    <a:lnTo>
                      <a:pt x="5747" y="2938"/>
                    </a:lnTo>
                    <a:lnTo>
                      <a:pt x="5768" y="2900"/>
                    </a:lnTo>
                    <a:lnTo>
                      <a:pt x="5787" y="2864"/>
                    </a:lnTo>
                    <a:lnTo>
                      <a:pt x="5808" y="2830"/>
                    </a:lnTo>
                    <a:lnTo>
                      <a:pt x="5828" y="2799"/>
                    </a:lnTo>
                    <a:lnTo>
                      <a:pt x="5828" y="2799"/>
                    </a:lnTo>
                    <a:close/>
                    <a:moveTo>
                      <a:pt x="8937" y="2088"/>
                    </a:moveTo>
                    <a:lnTo>
                      <a:pt x="8957" y="2070"/>
                    </a:lnTo>
                    <a:lnTo>
                      <a:pt x="8979" y="2055"/>
                    </a:lnTo>
                    <a:lnTo>
                      <a:pt x="9002" y="2040"/>
                    </a:lnTo>
                    <a:lnTo>
                      <a:pt x="9025" y="2026"/>
                    </a:lnTo>
                    <a:lnTo>
                      <a:pt x="9072" y="2001"/>
                    </a:lnTo>
                    <a:lnTo>
                      <a:pt x="9122" y="1980"/>
                    </a:lnTo>
                    <a:lnTo>
                      <a:pt x="9170" y="1961"/>
                    </a:lnTo>
                    <a:lnTo>
                      <a:pt x="9220" y="1946"/>
                    </a:lnTo>
                    <a:lnTo>
                      <a:pt x="9268" y="1933"/>
                    </a:lnTo>
                    <a:lnTo>
                      <a:pt x="9315" y="1924"/>
                    </a:lnTo>
                    <a:lnTo>
                      <a:pt x="9358" y="1916"/>
                    </a:lnTo>
                    <a:lnTo>
                      <a:pt x="9398" y="1911"/>
                    </a:lnTo>
                    <a:lnTo>
                      <a:pt x="9418" y="1908"/>
                    </a:lnTo>
                    <a:lnTo>
                      <a:pt x="9435" y="1907"/>
                    </a:lnTo>
                    <a:lnTo>
                      <a:pt x="9452" y="1905"/>
                    </a:lnTo>
                    <a:lnTo>
                      <a:pt x="9466" y="1904"/>
                    </a:lnTo>
                    <a:lnTo>
                      <a:pt x="9480" y="1903"/>
                    </a:lnTo>
                    <a:lnTo>
                      <a:pt x="9492" y="1902"/>
                    </a:lnTo>
                    <a:lnTo>
                      <a:pt x="9503" y="1902"/>
                    </a:lnTo>
                    <a:lnTo>
                      <a:pt x="9512" y="1901"/>
                    </a:lnTo>
                    <a:lnTo>
                      <a:pt x="9519" y="1901"/>
                    </a:lnTo>
                    <a:lnTo>
                      <a:pt x="9524" y="1901"/>
                    </a:lnTo>
                    <a:lnTo>
                      <a:pt x="9527" y="1901"/>
                    </a:lnTo>
                    <a:lnTo>
                      <a:pt x="9528" y="1901"/>
                    </a:lnTo>
                    <a:lnTo>
                      <a:pt x="9527" y="1901"/>
                    </a:lnTo>
                    <a:lnTo>
                      <a:pt x="9525" y="1899"/>
                    </a:lnTo>
                    <a:lnTo>
                      <a:pt x="9520" y="1898"/>
                    </a:lnTo>
                    <a:lnTo>
                      <a:pt x="9515" y="1896"/>
                    </a:lnTo>
                    <a:lnTo>
                      <a:pt x="9507" y="1894"/>
                    </a:lnTo>
                    <a:lnTo>
                      <a:pt x="9498" y="1892"/>
                    </a:lnTo>
                    <a:lnTo>
                      <a:pt x="9488" y="1889"/>
                    </a:lnTo>
                    <a:lnTo>
                      <a:pt x="9476" y="1886"/>
                    </a:lnTo>
                    <a:lnTo>
                      <a:pt x="9463" y="1883"/>
                    </a:lnTo>
                    <a:lnTo>
                      <a:pt x="9449" y="1879"/>
                    </a:lnTo>
                    <a:lnTo>
                      <a:pt x="9433" y="1875"/>
                    </a:lnTo>
                    <a:lnTo>
                      <a:pt x="9417" y="1872"/>
                    </a:lnTo>
                    <a:lnTo>
                      <a:pt x="9381" y="1862"/>
                    </a:lnTo>
                    <a:lnTo>
                      <a:pt x="9341" y="1854"/>
                    </a:lnTo>
                    <a:lnTo>
                      <a:pt x="9299" y="1846"/>
                    </a:lnTo>
                    <a:lnTo>
                      <a:pt x="9255" y="1838"/>
                    </a:lnTo>
                    <a:lnTo>
                      <a:pt x="9208" y="1829"/>
                    </a:lnTo>
                    <a:lnTo>
                      <a:pt x="9161" y="1822"/>
                    </a:lnTo>
                    <a:lnTo>
                      <a:pt x="9112" y="1816"/>
                    </a:lnTo>
                    <a:lnTo>
                      <a:pt x="9064" y="1812"/>
                    </a:lnTo>
                    <a:lnTo>
                      <a:pt x="9015" y="1809"/>
                    </a:lnTo>
                    <a:lnTo>
                      <a:pt x="8968" y="1808"/>
                    </a:lnTo>
                    <a:lnTo>
                      <a:pt x="8933" y="1808"/>
                    </a:lnTo>
                    <a:lnTo>
                      <a:pt x="8898" y="1809"/>
                    </a:lnTo>
                    <a:lnTo>
                      <a:pt x="8865" y="1811"/>
                    </a:lnTo>
                    <a:lnTo>
                      <a:pt x="8832" y="1816"/>
                    </a:lnTo>
                    <a:lnTo>
                      <a:pt x="8800" y="1823"/>
                    </a:lnTo>
                    <a:lnTo>
                      <a:pt x="8785" y="1828"/>
                    </a:lnTo>
                    <a:lnTo>
                      <a:pt x="8771" y="1834"/>
                    </a:lnTo>
                    <a:lnTo>
                      <a:pt x="8756" y="1841"/>
                    </a:lnTo>
                    <a:lnTo>
                      <a:pt x="8743" y="1849"/>
                    </a:lnTo>
                    <a:lnTo>
                      <a:pt x="8730" y="1858"/>
                    </a:lnTo>
                    <a:lnTo>
                      <a:pt x="8718" y="1870"/>
                    </a:lnTo>
                    <a:lnTo>
                      <a:pt x="8711" y="1875"/>
                    </a:lnTo>
                    <a:lnTo>
                      <a:pt x="8704" y="1881"/>
                    </a:lnTo>
                    <a:lnTo>
                      <a:pt x="8689" y="1895"/>
                    </a:lnTo>
                    <a:lnTo>
                      <a:pt x="8676" y="1914"/>
                    </a:lnTo>
                    <a:lnTo>
                      <a:pt x="8662" y="1937"/>
                    </a:lnTo>
                    <a:lnTo>
                      <a:pt x="8650" y="1962"/>
                    </a:lnTo>
                    <a:lnTo>
                      <a:pt x="8637" y="1991"/>
                    </a:lnTo>
                    <a:lnTo>
                      <a:pt x="8625" y="2022"/>
                    </a:lnTo>
                    <a:lnTo>
                      <a:pt x="8614" y="2055"/>
                    </a:lnTo>
                    <a:lnTo>
                      <a:pt x="8602" y="2091"/>
                    </a:lnTo>
                    <a:lnTo>
                      <a:pt x="8591" y="2128"/>
                    </a:lnTo>
                    <a:lnTo>
                      <a:pt x="8581" y="2167"/>
                    </a:lnTo>
                    <a:lnTo>
                      <a:pt x="8570" y="2206"/>
                    </a:lnTo>
                    <a:lnTo>
                      <a:pt x="8552" y="2289"/>
                    </a:lnTo>
                    <a:lnTo>
                      <a:pt x="8535" y="2372"/>
                    </a:lnTo>
                    <a:lnTo>
                      <a:pt x="8520" y="2455"/>
                    </a:lnTo>
                    <a:lnTo>
                      <a:pt x="8514" y="2495"/>
                    </a:lnTo>
                    <a:lnTo>
                      <a:pt x="8506" y="2534"/>
                    </a:lnTo>
                    <a:lnTo>
                      <a:pt x="8501" y="2571"/>
                    </a:lnTo>
                    <a:lnTo>
                      <a:pt x="8496" y="2607"/>
                    </a:lnTo>
                    <a:lnTo>
                      <a:pt x="8491" y="2640"/>
                    </a:lnTo>
                    <a:lnTo>
                      <a:pt x="8486" y="2672"/>
                    </a:lnTo>
                    <a:lnTo>
                      <a:pt x="8483" y="2701"/>
                    </a:lnTo>
                    <a:lnTo>
                      <a:pt x="8478" y="2727"/>
                    </a:lnTo>
                    <a:lnTo>
                      <a:pt x="8476" y="2749"/>
                    </a:lnTo>
                    <a:lnTo>
                      <a:pt x="8473" y="2769"/>
                    </a:lnTo>
                    <a:lnTo>
                      <a:pt x="8471" y="2784"/>
                    </a:lnTo>
                    <a:lnTo>
                      <a:pt x="8471" y="2790"/>
                    </a:lnTo>
                    <a:lnTo>
                      <a:pt x="8470" y="2796"/>
                    </a:lnTo>
                    <a:lnTo>
                      <a:pt x="8470" y="2800"/>
                    </a:lnTo>
                    <a:lnTo>
                      <a:pt x="8469" y="2803"/>
                    </a:lnTo>
                    <a:lnTo>
                      <a:pt x="8469" y="2804"/>
                    </a:lnTo>
                    <a:lnTo>
                      <a:pt x="8469" y="2805"/>
                    </a:lnTo>
                    <a:lnTo>
                      <a:pt x="8470" y="2803"/>
                    </a:lnTo>
                    <a:lnTo>
                      <a:pt x="8472" y="2799"/>
                    </a:lnTo>
                    <a:lnTo>
                      <a:pt x="8476" y="2790"/>
                    </a:lnTo>
                    <a:lnTo>
                      <a:pt x="8482" y="2780"/>
                    </a:lnTo>
                    <a:lnTo>
                      <a:pt x="8489" y="2768"/>
                    </a:lnTo>
                    <a:lnTo>
                      <a:pt x="8496" y="2752"/>
                    </a:lnTo>
                    <a:lnTo>
                      <a:pt x="8505" y="2735"/>
                    </a:lnTo>
                    <a:lnTo>
                      <a:pt x="8516" y="2715"/>
                    </a:lnTo>
                    <a:lnTo>
                      <a:pt x="8528" y="2694"/>
                    </a:lnTo>
                    <a:lnTo>
                      <a:pt x="8540" y="2670"/>
                    </a:lnTo>
                    <a:lnTo>
                      <a:pt x="8554" y="2645"/>
                    </a:lnTo>
                    <a:lnTo>
                      <a:pt x="8568" y="2619"/>
                    </a:lnTo>
                    <a:lnTo>
                      <a:pt x="8583" y="2592"/>
                    </a:lnTo>
                    <a:lnTo>
                      <a:pt x="8599" y="2564"/>
                    </a:lnTo>
                    <a:lnTo>
                      <a:pt x="8633" y="2505"/>
                    </a:lnTo>
                    <a:lnTo>
                      <a:pt x="8669" y="2444"/>
                    </a:lnTo>
                    <a:lnTo>
                      <a:pt x="8707" y="2384"/>
                    </a:lnTo>
                    <a:lnTo>
                      <a:pt x="8746" y="2323"/>
                    </a:lnTo>
                    <a:lnTo>
                      <a:pt x="8785" y="2265"/>
                    </a:lnTo>
                    <a:lnTo>
                      <a:pt x="8805" y="2238"/>
                    </a:lnTo>
                    <a:lnTo>
                      <a:pt x="8824" y="2212"/>
                    </a:lnTo>
                    <a:lnTo>
                      <a:pt x="8844" y="2187"/>
                    </a:lnTo>
                    <a:lnTo>
                      <a:pt x="8864" y="2163"/>
                    </a:lnTo>
                    <a:lnTo>
                      <a:pt x="8882" y="2142"/>
                    </a:lnTo>
                    <a:lnTo>
                      <a:pt x="8901" y="2122"/>
                    </a:lnTo>
                    <a:lnTo>
                      <a:pt x="8919" y="2103"/>
                    </a:lnTo>
                    <a:lnTo>
                      <a:pt x="8937" y="2088"/>
                    </a:lnTo>
                    <a:lnTo>
                      <a:pt x="8937" y="2088"/>
                    </a:lnTo>
                    <a:close/>
                    <a:moveTo>
                      <a:pt x="13635" y="1364"/>
                    </a:moveTo>
                    <a:lnTo>
                      <a:pt x="13659" y="1346"/>
                    </a:lnTo>
                    <a:lnTo>
                      <a:pt x="13681" y="1327"/>
                    </a:lnTo>
                    <a:lnTo>
                      <a:pt x="13726" y="1287"/>
                    </a:lnTo>
                    <a:lnTo>
                      <a:pt x="13768" y="1242"/>
                    </a:lnTo>
                    <a:lnTo>
                      <a:pt x="13807" y="1196"/>
                    </a:lnTo>
                    <a:lnTo>
                      <a:pt x="13845" y="1149"/>
                    </a:lnTo>
                    <a:lnTo>
                      <a:pt x="13880" y="1100"/>
                    </a:lnTo>
                    <a:lnTo>
                      <a:pt x="13912" y="1051"/>
                    </a:lnTo>
                    <a:lnTo>
                      <a:pt x="13939" y="1002"/>
                    </a:lnTo>
                    <a:lnTo>
                      <a:pt x="13963" y="955"/>
                    </a:lnTo>
                    <a:lnTo>
                      <a:pt x="13975" y="931"/>
                    </a:lnTo>
                    <a:lnTo>
                      <a:pt x="13984" y="909"/>
                    </a:lnTo>
                    <a:lnTo>
                      <a:pt x="13993" y="887"/>
                    </a:lnTo>
                    <a:lnTo>
                      <a:pt x="14000" y="865"/>
                    </a:lnTo>
                    <a:lnTo>
                      <a:pt x="14007" y="845"/>
                    </a:lnTo>
                    <a:lnTo>
                      <a:pt x="14013" y="825"/>
                    </a:lnTo>
                    <a:lnTo>
                      <a:pt x="14017" y="807"/>
                    </a:lnTo>
                    <a:lnTo>
                      <a:pt x="14020" y="789"/>
                    </a:lnTo>
                    <a:lnTo>
                      <a:pt x="14021" y="773"/>
                    </a:lnTo>
                    <a:lnTo>
                      <a:pt x="14022" y="757"/>
                    </a:lnTo>
                    <a:lnTo>
                      <a:pt x="14021" y="743"/>
                    </a:lnTo>
                    <a:lnTo>
                      <a:pt x="14019" y="730"/>
                    </a:lnTo>
                    <a:lnTo>
                      <a:pt x="14015" y="719"/>
                    </a:lnTo>
                    <a:lnTo>
                      <a:pt x="14010" y="710"/>
                    </a:lnTo>
                    <a:lnTo>
                      <a:pt x="14010" y="709"/>
                    </a:lnTo>
                    <a:lnTo>
                      <a:pt x="14010" y="705"/>
                    </a:lnTo>
                    <a:lnTo>
                      <a:pt x="14008" y="701"/>
                    </a:lnTo>
                    <a:lnTo>
                      <a:pt x="14005" y="694"/>
                    </a:lnTo>
                    <a:lnTo>
                      <a:pt x="14001" y="689"/>
                    </a:lnTo>
                    <a:lnTo>
                      <a:pt x="13996" y="684"/>
                    </a:lnTo>
                    <a:lnTo>
                      <a:pt x="13988" y="680"/>
                    </a:lnTo>
                    <a:lnTo>
                      <a:pt x="13978" y="679"/>
                    </a:lnTo>
                    <a:lnTo>
                      <a:pt x="13968" y="680"/>
                    </a:lnTo>
                    <a:lnTo>
                      <a:pt x="13959" y="683"/>
                    </a:lnTo>
                    <a:lnTo>
                      <a:pt x="13950" y="687"/>
                    </a:lnTo>
                    <a:lnTo>
                      <a:pt x="13939" y="694"/>
                    </a:lnTo>
                    <a:lnTo>
                      <a:pt x="13929" y="702"/>
                    </a:lnTo>
                    <a:lnTo>
                      <a:pt x="13919" y="712"/>
                    </a:lnTo>
                    <a:lnTo>
                      <a:pt x="13907" y="722"/>
                    </a:lnTo>
                    <a:lnTo>
                      <a:pt x="13896" y="734"/>
                    </a:lnTo>
                    <a:lnTo>
                      <a:pt x="13885" y="748"/>
                    </a:lnTo>
                    <a:lnTo>
                      <a:pt x="13872" y="763"/>
                    </a:lnTo>
                    <a:lnTo>
                      <a:pt x="13860" y="779"/>
                    </a:lnTo>
                    <a:lnTo>
                      <a:pt x="13847" y="795"/>
                    </a:lnTo>
                    <a:lnTo>
                      <a:pt x="13820" y="831"/>
                    </a:lnTo>
                    <a:lnTo>
                      <a:pt x="13791" y="869"/>
                    </a:lnTo>
                    <a:lnTo>
                      <a:pt x="13761" y="910"/>
                    </a:lnTo>
                    <a:lnTo>
                      <a:pt x="13730" y="951"/>
                    </a:lnTo>
                    <a:lnTo>
                      <a:pt x="13697" y="992"/>
                    </a:lnTo>
                    <a:lnTo>
                      <a:pt x="13663" y="1033"/>
                    </a:lnTo>
                    <a:lnTo>
                      <a:pt x="13627" y="1073"/>
                    </a:lnTo>
                    <a:lnTo>
                      <a:pt x="13589" y="1111"/>
                    </a:lnTo>
                    <a:lnTo>
                      <a:pt x="13551" y="1147"/>
                    </a:lnTo>
                    <a:lnTo>
                      <a:pt x="13532" y="1162"/>
                    </a:lnTo>
                    <a:lnTo>
                      <a:pt x="13511" y="1177"/>
                    </a:lnTo>
                    <a:lnTo>
                      <a:pt x="13475" y="1206"/>
                    </a:lnTo>
                    <a:lnTo>
                      <a:pt x="13436" y="1233"/>
                    </a:lnTo>
                    <a:lnTo>
                      <a:pt x="13395" y="1258"/>
                    </a:lnTo>
                    <a:lnTo>
                      <a:pt x="13354" y="1282"/>
                    </a:lnTo>
                    <a:lnTo>
                      <a:pt x="13313" y="1304"/>
                    </a:lnTo>
                    <a:lnTo>
                      <a:pt x="13272" y="1325"/>
                    </a:lnTo>
                    <a:lnTo>
                      <a:pt x="13230" y="1343"/>
                    </a:lnTo>
                    <a:lnTo>
                      <a:pt x="13192" y="1361"/>
                    </a:lnTo>
                    <a:lnTo>
                      <a:pt x="13155" y="1375"/>
                    </a:lnTo>
                    <a:lnTo>
                      <a:pt x="13121" y="1389"/>
                    </a:lnTo>
                    <a:lnTo>
                      <a:pt x="13091" y="1400"/>
                    </a:lnTo>
                    <a:lnTo>
                      <a:pt x="13076" y="1405"/>
                    </a:lnTo>
                    <a:lnTo>
                      <a:pt x="13064" y="1409"/>
                    </a:lnTo>
                    <a:lnTo>
                      <a:pt x="13053" y="1413"/>
                    </a:lnTo>
                    <a:lnTo>
                      <a:pt x="13042" y="1417"/>
                    </a:lnTo>
                    <a:lnTo>
                      <a:pt x="13034" y="1419"/>
                    </a:lnTo>
                    <a:lnTo>
                      <a:pt x="13026" y="1423"/>
                    </a:lnTo>
                    <a:lnTo>
                      <a:pt x="13021" y="1425"/>
                    </a:lnTo>
                    <a:lnTo>
                      <a:pt x="13016" y="1426"/>
                    </a:lnTo>
                    <a:lnTo>
                      <a:pt x="13013" y="1427"/>
                    </a:lnTo>
                    <a:lnTo>
                      <a:pt x="13012" y="1427"/>
                    </a:lnTo>
                    <a:lnTo>
                      <a:pt x="13011" y="1427"/>
                    </a:lnTo>
                    <a:lnTo>
                      <a:pt x="13009" y="1427"/>
                    </a:lnTo>
                    <a:lnTo>
                      <a:pt x="13003" y="1428"/>
                    </a:lnTo>
                    <a:lnTo>
                      <a:pt x="12994" y="1432"/>
                    </a:lnTo>
                    <a:lnTo>
                      <a:pt x="12990" y="1435"/>
                    </a:lnTo>
                    <a:lnTo>
                      <a:pt x="12985" y="1438"/>
                    </a:lnTo>
                    <a:lnTo>
                      <a:pt x="12980" y="1443"/>
                    </a:lnTo>
                    <a:lnTo>
                      <a:pt x="12977" y="1449"/>
                    </a:lnTo>
                    <a:lnTo>
                      <a:pt x="12974" y="1457"/>
                    </a:lnTo>
                    <a:lnTo>
                      <a:pt x="12972" y="1466"/>
                    </a:lnTo>
                    <a:lnTo>
                      <a:pt x="12972" y="1476"/>
                    </a:lnTo>
                    <a:lnTo>
                      <a:pt x="12973" y="1488"/>
                    </a:lnTo>
                    <a:lnTo>
                      <a:pt x="12975" y="1503"/>
                    </a:lnTo>
                    <a:lnTo>
                      <a:pt x="12980" y="1519"/>
                    </a:lnTo>
                    <a:lnTo>
                      <a:pt x="12993" y="1532"/>
                    </a:lnTo>
                    <a:lnTo>
                      <a:pt x="13005" y="1543"/>
                    </a:lnTo>
                    <a:lnTo>
                      <a:pt x="13020" y="1553"/>
                    </a:lnTo>
                    <a:lnTo>
                      <a:pt x="13035" y="1563"/>
                    </a:lnTo>
                    <a:lnTo>
                      <a:pt x="13055" y="1571"/>
                    </a:lnTo>
                    <a:lnTo>
                      <a:pt x="13065" y="1574"/>
                    </a:lnTo>
                    <a:lnTo>
                      <a:pt x="13077" y="1577"/>
                    </a:lnTo>
                    <a:lnTo>
                      <a:pt x="13090" y="1579"/>
                    </a:lnTo>
                    <a:lnTo>
                      <a:pt x="13104" y="1581"/>
                    </a:lnTo>
                    <a:lnTo>
                      <a:pt x="13120" y="1582"/>
                    </a:lnTo>
                    <a:lnTo>
                      <a:pt x="13136" y="1582"/>
                    </a:lnTo>
                    <a:lnTo>
                      <a:pt x="13160" y="1581"/>
                    </a:lnTo>
                    <a:lnTo>
                      <a:pt x="13186" y="1579"/>
                    </a:lnTo>
                    <a:lnTo>
                      <a:pt x="13213" y="1575"/>
                    </a:lnTo>
                    <a:lnTo>
                      <a:pt x="13241" y="1570"/>
                    </a:lnTo>
                    <a:lnTo>
                      <a:pt x="13269" y="1563"/>
                    </a:lnTo>
                    <a:lnTo>
                      <a:pt x="13299" y="1554"/>
                    </a:lnTo>
                    <a:lnTo>
                      <a:pt x="13330" y="1544"/>
                    </a:lnTo>
                    <a:lnTo>
                      <a:pt x="13362" y="1532"/>
                    </a:lnTo>
                    <a:lnTo>
                      <a:pt x="13394" y="1517"/>
                    </a:lnTo>
                    <a:lnTo>
                      <a:pt x="13428" y="1501"/>
                    </a:lnTo>
                    <a:lnTo>
                      <a:pt x="13461" y="1483"/>
                    </a:lnTo>
                    <a:lnTo>
                      <a:pt x="13496" y="1464"/>
                    </a:lnTo>
                    <a:lnTo>
                      <a:pt x="13531" y="1442"/>
                    </a:lnTo>
                    <a:lnTo>
                      <a:pt x="13565" y="1417"/>
                    </a:lnTo>
                    <a:lnTo>
                      <a:pt x="13600" y="1392"/>
                    </a:lnTo>
                    <a:lnTo>
                      <a:pt x="13635" y="1364"/>
                    </a:lnTo>
                    <a:lnTo>
                      <a:pt x="13635" y="1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1" name="Freeform 50"/>
              <p:cNvSpPr>
                <a:spLocks/>
              </p:cNvSpPr>
              <p:nvPr/>
            </p:nvSpPr>
            <p:spPr bwMode="auto">
              <a:xfrm>
                <a:off x="3376613" y="4881563"/>
                <a:ext cx="173037" cy="225425"/>
              </a:xfrm>
              <a:custGeom>
                <a:avLst/>
                <a:gdLst>
                  <a:gd name="T0" fmla="*/ 51 w 1624"/>
                  <a:gd name="T1" fmla="*/ 1213 h 2120"/>
                  <a:gd name="T2" fmla="*/ 44 w 1624"/>
                  <a:gd name="T3" fmla="*/ 1202 h 2120"/>
                  <a:gd name="T4" fmla="*/ 23 w 1624"/>
                  <a:gd name="T5" fmla="*/ 1163 h 2120"/>
                  <a:gd name="T6" fmla="*/ 3 w 1624"/>
                  <a:gd name="T7" fmla="*/ 1084 h 2120"/>
                  <a:gd name="T8" fmla="*/ 2 w 1624"/>
                  <a:gd name="T9" fmla="*/ 992 h 2120"/>
                  <a:gd name="T10" fmla="*/ 14 w 1624"/>
                  <a:gd name="T11" fmla="*/ 926 h 2120"/>
                  <a:gd name="T12" fmla="*/ 39 w 1624"/>
                  <a:gd name="T13" fmla="*/ 854 h 2120"/>
                  <a:gd name="T14" fmla="*/ 79 w 1624"/>
                  <a:gd name="T15" fmla="*/ 774 h 2120"/>
                  <a:gd name="T16" fmla="*/ 157 w 1624"/>
                  <a:gd name="T17" fmla="*/ 663 h 2120"/>
                  <a:gd name="T18" fmla="*/ 295 w 1624"/>
                  <a:gd name="T19" fmla="*/ 491 h 2120"/>
                  <a:gd name="T20" fmla="*/ 434 w 1624"/>
                  <a:gd name="T21" fmla="*/ 322 h 2120"/>
                  <a:gd name="T22" fmla="*/ 538 w 1624"/>
                  <a:gd name="T23" fmla="*/ 197 h 2120"/>
                  <a:gd name="T24" fmla="*/ 591 w 1624"/>
                  <a:gd name="T25" fmla="*/ 134 h 2120"/>
                  <a:gd name="T26" fmla="*/ 632 w 1624"/>
                  <a:gd name="T27" fmla="*/ 85 h 2120"/>
                  <a:gd name="T28" fmla="*/ 661 w 1624"/>
                  <a:gd name="T29" fmla="*/ 49 h 2120"/>
                  <a:gd name="T30" fmla="*/ 676 w 1624"/>
                  <a:gd name="T31" fmla="*/ 33 h 2120"/>
                  <a:gd name="T32" fmla="*/ 735 w 1624"/>
                  <a:gd name="T33" fmla="*/ 45 h 2120"/>
                  <a:gd name="T34" fmla="*/ 801 w 1624"/>
                  <a:gd name="T35" fmla="*/ 214 h 2120"/>
                  <a:gd name="T36" fmla="*/ 967 w 1624"/>
                  <a:gd name="T37" fmla="*/ 585 h 2120"/>
                  <a:gd name="T38" fmla="*/ 1150 w 1624"/>
                  <a:gd name="T39" fmla="*/ 944 h 2120"/>
                  <a:gd name="T40" fmla="*/ 1242 w 1624"/>
                  <a:gd name="T41" fmla="*/ 1111 h 2120"/>
                  <a:gd name="T42" fmla="*/ 1332 w 1624"/>
                  <a:gd name="T43" fmla="*/ 1269 h 2120"/>
                  <a:gd name="T44" fmla="*/ 1417 w 1624"/>
                  <a:gd name="T45" fmla="*/ 1413 h 2120"/>
                  <a:gd name="T46" fmla="*/ 1495 w 1624"/>
                  <a:gd name="T47" fmla="*/ 1542 h 2120"/>
                  <a:gd name="T48" fmla="*/ 1566 w 1624"/>
                  <a:gd name="T49" fmla="*/ 1652 h 2120"/>
                  <a:gd name="T50" fmla="*/ 1624 w 1624"/>
                  <a:gd name="T51" fmla="*/ 1742 h 2120"/>
                  <a:gd name="T52" fmla="*/ 1616 w 1624"/>
                  <a:gd name="T53" fmla="*/ 1790 h 2120"/>
                  <a:gd name="T54" fmla="*/ 1602 w 1624"/>
                  <a:gd name="T55" fmla="*/ 1850 h 2120"/>
                  <a:gd name="T56" fmla="*/ 1547 w 1624"/>
                  <a:gd name="T57" fmla="*/ 1941 h 2120"/>
                  <a:gd name="T58" fmla="*/ 1459 w 1624"/>
                  <a:gd name="T59" fmla="*/ 2020 h 2120"/>
                  <a:gd name="T60" fmla="*/ 1389 w 1624"/>
                  <a:gd name="T61" fmla="*/ 2068 h 2120"/>
                  <a:gd name="T62" fmla="*/ 1315 w 1624"/>
                  <a:gd name="T63" fmla="*/ 2102 h 2120"/>
                  <a:gd name="T64" fmla="*/ 1234 w 1624"/>
                  <a:gd name="T65" fmla="*/ 2119 h 2120"/>
                  <a:gd name="T66" fmla="*/ 1091 w 1624"/>
                  <a:gd name="T67" fmla="*/ 2119 h 2120"/>
                  <a:gd name="T68" fmla="*/ 1025 w 1624"/>
                  <a:gd name="T69" fmla="*/ 2110 h 2120"/>
                  <a:gd name="T70" fmla="*/ 956 w 1624"/>
                  <a:gd name="T71" fmla="*/ 2090 h 2120"/>
                  <a:gd name="T72" fmla="*/ 843 w 1624"/>
                  <a:gd name="T73" fmla="*/ 2036 h 2120"/>
                  <a:gd name="T74" fmla="*/ 706 w 1624"/>
                  <a:gd name="T75" fmla="*/ 1946 h 2120"/>
                  <a:gd name="T76" fmla="*/ 574 w 1624"/>
                  <a:gd name="T77" fmla="*/ 1834 h 2120"/>
                  <a:gd name="T78" fmla="*/ 449 w 1624"/>
                  <a:gd name="T79" fmla="*/ 1710 h 2120"/>
                  <a:gd name="T80" fmla="*/ 334 w 1624"/>
                  <a:gd name="T81" fmla="*/ 1583 h 2120"/>
                  <a:gd name="T82" fmla="*/ 235 w 1624"/>
                  <a:gd name="T83" fmla="*/ 1463 h 2120"/>
                  <a:gd name="T84" fmla="*/ 153 w 1624"/>
                  <a:gd name="T85" fmla="*/ 1357 h 2120"/>
                  <a:gd name="T86" fmla="*/ 95 w 1624"/>
                  <a:gd name="T87" fmla="*/ 1275 h 2120"/>
                  <a:gd name="T88" fmla="*/ 69 w 1624"/>
                  <a:gd name="T89" fmla="*/ 1238 h 2120"/>
                  <a:gd name="T90" fmla="*/ 57 w 1624"/>
                  <a:gd name="T91" fmla="*/ 1222 h 2120"/>
                  <a:gd name="T92" fmla="*/ 53 w 1624"/>
                  <a:gd name="T93" fmla="*/ 1216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4" h="2120">
                    <a:moveTo>
                      <a:pt x="53" y="1216"/>
                    </a:moveTo>
                    <a:lnTo>
                      <a:pt x="53" y="1216"/>
                    </a:lnTo>
                    <a:lnTo>
                      <a:pt x="51" y="1213"/>
                    </a:lnTo>
                    <a:lnTo>
                      <a:pt x="49" y="1210"/>
                    </a:lnTo>
                    <a:lnTo>
                      <a:pt x="47" y="1207"/>
                    </a:lnTo>
                    <a:lnTo>
                      <a:pt x="44" y="1202"/>
                    </a:lnTo>
                    <a:lnTo>
                      <a:pt x="40" y="1196"/>
                    </a:lnTo>
                    <a:lnTo>
                      <a:pt x="33" y="1182"/>
                    </a:lnTo>
                    <a:lnTo>
                      <a:pt x="23" y="1163"/>
                    </a:lnTo>
                    <a:lnTo>
                      <a:pt x="15" y="1140"/>
                    </a:lnTo>
                    <a:lnTo>
                      <a:pt x="8" y="1114"/>
                    </a:lnTo>
                    <a:lnTo>
                      <a:pt x="3" y="1084"/>
                    </a:lnTo>
                    <a:lnTo>
                      <a:pt x="0" y="1050"/>
                    </a:lnTo>
                    <a:lnTo>
                      <a:pt x="0" y="1012"/>
                    </a:lnTo>
                    <a:lnTo>
                      <a:pt x="2" y="992"/>
                    </a:lnTo>
                    <a:lnTo>
                      <a:pt x="5" y="971"/>
                    </a:lnTo>
                    <a:lnTo>
                      <a:pt x="8" y="949"/>
                    </a:lnTo>
                    <a:lnTo>
                      <a:pt x="14" y="926"/>
                    </a:lnTo>
                    <a:lnTo>
                      <a:pt x="20" y="903"/>
                    </a:lnTo>
                    <a:lnTo>
                      <a:pt x="28" y="879"/>
                    </a:lnTo>
                    <a:lnTo>
                      <a:pt x="39" y="854"/>
                    </a:lnTo>
                    <a:lnTo>
                      <a:pt x="50" y="828"/>
                    </a:lnTo>
                    <a:lnTo>
                      <a:pt x="64" y="801"/>
                    </a:lnTo>
                    <a:lnTo>
                      <a:pt x="79" y="774"/>
                    </a:lnTo>
                    <a:lnTo>
                      <a:pt x="96" y="746"/>
                    </a:lnTo>
                    <a:lnTo>
                      <a:pt x="115" y="717"/>
                    </a:lnTo>
                    <a:lnTo>
                      <a:pt x="157" y="663"/>
                    </a:lnTo>
                    <a:lnTo>
                      <a:pt x="202" y="607"/>
                    </a:lnTo>
                    <a:lnTo>
                      <a:pt x="248" y="550"/>
                    </a:lnTo>
                    <a:lnTo>
                      <a:pt x="295" y="491"/>
                    </a:lnTo>
                    <a:lnTo>
                      <a:pt x="342" y="434"/>
                    </a:lnTo>
                    <a:lnTo>
                      <a:pt x="389" y="377"/>
                    </a:lnTo>
                    <a:lnTo>
                      <a:pt x="434" y="322"/>
                    </a:lnTo>
                    <a:lnTo>
                      <a:pt x="479" y="270"/>
                    </a:lnTo>
                    <a:lnTo>
                      <a:pt x="519" y="220"/>
                    </a:lnTo>
                    <a:lnTo>
                      <a:pt x="538" y="197"/>
                    </a:lnTo>
                    <a:lnTo>
                      <a:pt x="557" y="175"/>
                    </a:lnTo>
                    <a:lnTo>
                      <a:pt x="575" y="154"/>
                    </a:lnTo>
                    <a:lnTo>
                      <a:pt x="591" y="134"/>
                    </a:lnTo>
                    <a:lnTo>
                      <a:pt x="606" y="116"/>
                    </a:lnTo>
                    <a:lnTo>
                      <a:pt x="620" y="100"/>
                    </a:lnTo>
                    <a:lnTo>
                      <a:pt x="632" y="85"/>
                    </a:lnTo>
                    <a:lnTo>
                      <a:pt x="644" y="71"/>
                    </a:lnTo>
                    <a:lnTo>
                      <a:pt x="653" y="60"/>
                    </a:lnTo>
                    <a:lnTo>
                      <a:pt x="661" y="49"/>
                    </a:lnTo>
                    <a:lnTo>
                      <a:pt x="668" y="42"/>
                    </a:lnTo>
                    <a:lnTo>
                      <a:pt x="673" y="37"/>
                    </a:lnTo>
                    <a:lnTo>
                      <a:pt x="676" y="33"/>
                    </a:lnTo>
                    <a:lnTo>
                      <a:pt x="677" y="32"/>
                    </a:lnTo>
                    <a:lnTo>
                      <a:pt x="717" y="0"/>
                    </a:lnTo>
                    <a:lnTo>
                      <a:pt x="735" y="45"/>
                    </a:lnTo>
                    <a:lnTo>
                      <a:pt x="752" y="91"/>
                    </a:lnTo>
                    <a:lnTo>
                      <a:pt x="776" y="152"/>
                    </a:lnTo>
                    <a:lnTo>
                      <a:pt x="801" y="214"/>
                    </a:lnTo>
                    <a:lnTo>
                      <a:pt x="853" y="338"/>
                    </a:lnTo>
                    <a:lnTo>
                      <a:pt x="909" y="462"/>
                    </a:lnTo>
                    <a:lnTo>
                      <a:pt x="967" y="585"/>
                    </a:lnTo>
                    <a:lnTo>
                      <a:pt x="1027" y="707"/>
                    </a:lnTo>
                    <a:lnTo>
                      <a:pt x="1089" y="827"/>
                    </a:lnTo>
                    <a:lnTo>
                      <a:pt x="1150" y="944"/>
                    </a:lnTo>
                    <a:lnTo>
                      <a:pt x="1181" y="1000"/>
                    </a:lnTo>
                    <a:lnTo>
                      <a:pt x="1211" y="1057"/>
                    </a:lnTo>
                    <a:lnTo>
                      <a:pt x="1242" y="1111"/>
                    </a:lnTo>
                    <a:lnTo>
                      <a:pt x="1272" y="1165"/>
                    </a:lnTo>
                    <a:lnTo>
                      <a:pt x="1302" y="1218"/>
                    </a:lnTo>
                    <a:lnTo>
                      <a:pt x="1332" y="1269"/>
                    </a:lnTo>
                    <a:lnTo>
                      <a:pt x="1361" y="1319"/>
                    </a:lnTo>
                    <a:lnTo>
                      <a:pt x="1389" y="1367"/>
                    </a:lnTo>
                    <a:lnTo>
                      <a:pt x="1417" y="1413"/>
                    </a:lnTo>
                    <a:lnTo>
                      <a:pt x="1445" y="1458"/>
                    </a:lnTo>
                    <a:lnTo>
                      <a:pt x="1471" y="1501"/>
                    </a:lnTo>
                    <a:lnTo>
                      <a:pt x="1495" y="1542"/>
                    </a:lnTo>
                    <a:lnTo>
                      <a:pt x="1520" y="1580"/>
                    </a:lnTo>
                    <a:lnTo>
                      <a:pt x="1544" y="1617"/>
                    </a:lnTo>
                    <a:lnTo>
                      <a:pt x="1566" y="1652"/>
                    </a:lnTo>
                    <a:lnTo>
                      <a:pt x="1586" y="1684"/>
                    </a:lnTo>
                    <a:lnTo>
                      <a:pt x="1606" y="1714"/>
                    </a:lnTo>
                    <a:lnTo>
                      <a:pt x="1624" y="1742"/>
                    </a:lnTo>
                    <a:lnTo>
                      <a:pt x="1622" y="1757"/>
                    </a:lnTo>
                    <a:lnTo>
                      <a:pt x="1619" y="1773"/>
                    </a:lnTo>
                    <a:lnTo>
                      <a:pt x="1616" y="1790"/>
                    </a:lnTo>
                    <a:lnTo>
                      <a:pt x="1612" y="1810"/>
                    </a:lnTo>
                    <a:lnTo>
                      <a:pt x="1607" y="1829"/>
                    </a:lnTo>
                    <a:lnTo>
                      <a:pt x="1602" y="1850"/>
                    </a:lnTo>
                    <a:lnTo>
                      <a:pt x="1596" y="1873"/>
                    </a:lnTo>
                    <a:lnTo>
                      <a:pt x="1589" y="1895"/>
                    </a:lnTo>
                    <a:lnTo>
                      <a:pt x="1547" y="1941"/>
                    </a:lnTo>
                    <a:lnTo>
                      <a:pt x="1504" y="1982"/>
                    </a:lnTo>
                    <a:lnTo>
                      <a:pt x="1482" y="2001"/>
                    </a:lnTo>
                    <a:lnTo>
                      <a:pt x="1459" y="2020"/>
                    </a:lnTo>
                    <a:lnTo>
                      <a:pt x="1437" y="2037"/>
                    </a:lnTo>
                    <a:lnTo>
                      <a:pt x="1413" y="2054"/>
                    </a:lnTo>
                    <a:lnTo>
                      <a:pt x="1389" y="2068"/>
                    </a:lnTo>
                    <a:lnTo>
                      <a:pt x="1364" y="2081"/>
                    </a:lnTo>
                    <a:lnTo>
                      <a:pt x="1339" y="2092"/>
                    </a:lnTo>
                    <a:lnTo>
                      <a:pt x="1315" y="2102"/>
                    </a:lnTo>
                    <a:lnTo>
                      <a:pt x="1288" y="2110"/>
                    </a:lnTo>
                    <a:lnTo>
                      <a:pt x="1262" y="2116"/>
                    </a:lnTo>
                    <a:lnTo>
                      <a:pt x="1234" y="2119"/>
                    </a:lnTo>
                    <a:lnTo>
                      <a:pt x="1206" y="2120"/>
                    </a:lnTo>
                    <a:lnTo>
                      <a:pt x="1112" y="2120"/>
                    </a:lnTo>
                    <a:lnTo>
                      <a:pt x="1091" y="2119"/>
                    </a:lnTo>
                    <a:lnTo>
                      <a:pt x="1069" y="2118"/>
                    </a:lnTo>
                    <a:lnTo>
                      <a:pt x="1046" y="2114"/>
                    </a:lnTo>
                    <a:lnTo>
                      <a:pt x="1025" y="2110"/>
                    </a:lnTo>
                    <a:lnTo>
                      <a:pt x="1002" y="2104"/>
                    </a:lnTo>
                    <a:lnTo>
                      <a:pt x="979" y="2097"/>
                    </a:lnTo>
                    <a:lnTo>
                      <a:pt x="956" y="2090"/>
                    </a:lnTo>
                    <a:lnTo>
                      <a:pt x="934" y="2081"/>
                    </a:lnTo>
                    <a:lnTo>
                      <a:pt x="888" y="2060"/>
                    </a:lnTo>
                    <a:lnTo>
                      <a:pt x="843" y="2036"/>
                    </a:lnTo>
                    <a:lnTo>
                      <a:pt x="796" y="2009"/>
                    </a:lnTo>
                    <a:lnTo>
                      <a:pt x="751" y="1979"/>
                    </a:lnTo>
                    <a:lnTo>
                      <a:pt x="706" y="1946"/>
                    </a:lnTo>
                    <a:lnTo>
                      <a:pt x="661" y="1910"/>
                    </a:lnTo>
                    <a:lnTo>
                      <a:pt x="617" y="1873"/>
                    </a:lnTo>
                    <a:lnTo>
                      <a:pt x="574" y="1834"/>
                    </a:lnTo>
                    <a:lnTo>
                      <a:pt x="531" y="1793"/>
                    </a:lnTo>
                    <a:lnTo>
                      <a:pt x="489" y="1752"/>
                    </a:lnTo>
                    <a:lnTo>
                      <a:pt x="449" y="1710"/>
                    </a:lnTo>
                    <a:lnTo>
                      <a:pt x="409" y="1668"/>
                    </a:lnTo>
                    <a:lnTo>
                      <a:pt x="371" y="1625"/>
                    </a:lnTo>
                    <a:lnTo>
                      <a:pt x="334" y="1583"/>
                    </a:lnTo>
                    <a:lnTo>
                      <a:pt x="299" y="1542"/>
                    </a:lnTo>
                    <a:lnTo>
                      <a:pt x="266" y="1502"/>
                    </a:lnTo>
                    <a:lnTo>
                      <a:pt x="235" y="1463"/>
                    </a:lnTo>
                    <a:lnTo>
                      <a:pt x="206" y="1426"/>
                    </a:lnTo>
                    <a:lnTo>
                      <a:pt x="178" y="1390"/>
                    </a:lnTo>
                    <a:lnTo>
                      <a:pt x="153" y="1357"/>
                    </a:lnTo>
                    <a:lnTo>
                      <a:pt x="131" y="1327"/>
                    </a:lnTo>
                    <a:lnTo>
                      <a:pt x="111" y="1299"/>
                    </a:lnTo>
                    <a:lnTo>
                      <a:pt x="95" y="1275"/>
                    </a:lnTo>
                    <a:lnTo>
                      <a:pt x="80" y="1255"/>
                    </a:lnTo>
                    <a:lnTo>
                      <a:pt x="74" y="1245"/>
                    </a:lnTo>
                    <a:lnTo>
                      <a:pt x="69" y="1238"/>
                    </a:lnTo>
                    <a:lnTo>
                      <a:pt x="64" y="1231"/>
                    </a:lnTo>
                    <a:lnTo>
                      <a:pt x="60" y="1226"/>
                    </a:lnTo>
                    <a:lnTo>
                      <a:pt x="57" y="1222"/>
                    </a:lnTo>
                    <a:lnTo>
                      <a:pt x="55" y="1219"/>
                    </a:lnTo>
                    <a:lnTo>
                      <a:pt x="53" y="1217"/>
                    </a:lnTo>
                    <a:lnTo>
                      <a:pt x="53" y="1216"/>
                    </a:lnTo>
                    <a:lnTo>
                      <a:pt x="53" y="12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2" name="Freeform 51"/>
              <p:cNvSpPr>
                <a:spLocks/>
              </p:cNvSpPr>
              <p:nvPr/>
            </p:nvSpPr>
            <p:spPr bwMode="auto">
              <a:xfrm>
                <a:off x="4205288" y="4954588"/>
                <a:ext cx="180975" cy="255588"/>
              </a:xfrm>
              <a:custGeom>
                <a:avLst/>
                <a:gdLst>
                  <a:gd name="T0" fmla="*/ 186 w 1703"/>
                  <a:gd name="T1" fmla="*/ 2409 h 2413"/>
                  <a:gd name="T2" fmla="*/ 136 w 1703"/>
                  <a:gd name="T3" fmla="*/ 2400 h 2413"/>
                  <a:gd name="T4" fmla="*/ 96 w 1703"/>
                  <a:gd name="T5" fmla="*/ 2383 h 2413"/>
                  <a:gd name="T6" fmla="*/ 67 w 1703"/>
                  <a:gd name="T7" fmla="*/ 2359 h 2413"/>
                  <a:gd name="T8" fmla="*/ 32 w 1703"/>
                  <a:gd name="T9" fmla="*/ 2300 h 2413"/>
                  <a:gd name="T10" fmla="*/ 19 w 1703"/>
                  <a:gd name="T11" fmla="*/ 2242 h 2413"/>
                  <a:gd name="T12" fmla="*/ 19 w 1703"/>
                  <a:gd name="T13" fmla="*/ 2200 h 2413"/>
                  <a:gd name="T14" fmla="*/ 20 w 1703"/>
                  <a:gd name="T15" fmla="*/ 2192 h 2413"/>
                  <a:gd name="T16" fmla="*/ 73 w 1703"/>
                  <a:gd name="T17" fmla="*/ 1899 h 2413"/>
                  <a:gd name="T18" fmla="*/ 279 w 1703"/>
                  <a:gd name="T19" fmla="*/ 1671 h 2413"/>
                  <a:gd name="T20" fmla="*/ 351 w 1703"/>
                  <a:gd name="T21" fmla="*/ 1570 h 2413"/>
                  <a:gd name="T22" fmla="*/ 427 w 1703"/>
                  <a:gd name="T23" fmla="*/ 1446 h 2413"/>
                  <a:gd name="T24" fmla="*/ 506 w 1703"/>
                  <a:gd name="T25" fmla="*/ 1305 h 2413"/>
                  <a:gd name="T26" fmla="*/ 588 w 1703"/>
                  <a:gd name="T27" fmla="*/ 1149 h 2413"/>
                  <a:gd name="T28" fmla="*/ 698 w 1703"/>
                  <a:gd name="T29" fmla="*/ 923 h 2413"/>
                  <a:gd name="T30" fmla="*/ 861 w 1703"/>
                  <a:gd name="T31" fmla="*/ 567 h 2413"/>
                  <a:gd name="T32" fmla="*/ 1010 w 1703"/>
                  <a:gd name="T33" fmla="*/ 217 h 2413"/>
                  <a:gd name="T34" fmla="*/ 1077 w 1703"/>
                  <a:gd name="T35" fmla="*/ 53 h 2413"/>
                  <a:gd name="T36" fmla="*/ 1164 w 1703"/>
                  <a:gd name="T37" fmla="*/ 92 h 2413"/>
                  <a:gd name="T38" fmla="*/ 1249 w 1703"/>
                  <a:gd name="T39" fmla="*/ 223 h 2413"/>
                  <a:gd name="T40" fmla="*/ 1321 w 1703"/>
                  <a:gd name="T41" fmla="*/ 358 h 2413"/>
                  <a:gd name="T42" fmla="*/ 1389 w 1703"/>
                  <a:gd name="T43" fmla="*/ 513 h 2413"/>
                  <a:gd name="T44" fmla="*/ 1425 w 1703"/>
                  <a:gd name="T45" fmla="*/ 603 h 2413"/>
                  <a:gd name="T46" fmla="*/ 1463 w 1703"/>
                  <a:gd name="T47" fmla="*/ 703 h 2413"/>
                  <a:gd name="T48" fmla="*/ 1505 w 1703"/>
                  <a:gd name="T49" fmla="*/ 815 h 2413"/>
                  <a:gd name="T50" fmla="*/ 1529 w 1703"/>
                  <a:gd name="T51" fmla="*/ 901 h 2413"/>
                  <a:gd name="T52" fmla="*/ 1542 w 1703"/>
                  <a:gd name="T53" fmla="*/ 983 h 2413"/>
                  <a:gd name="T54" fmla="*/ 1550 w 1703"/>
                  <a:gd name="T55" fmla="*/ 1079 h 2413"/>
                  <a:gd name="T56" fmla="*/ 1556 w 1703"/>
                  <a:gd name="T57" fmla="*/ 1288 h 2413"/>
                  <a:gd name="T58" fmla="*/ 1556 w 1703"/>
                  <a:gd name="T59" fmla="*/ 1457 h 2413"/>
                  <a:gd name="T60" fmla="*/ 1554 w 1703"/>
                  <a:gd name="T61" fmla="*/ 1544 h 2413"/>
                  <a:gd name="T62" fmla="*/ 1551 w 1703"/>
                  <a:gd name="T63" fmla="*/ 1617 h 2413"/>
                  <a:gd name="T64" fmla="*/ 1549 w 1703"/>
                  <a:gd name="T65" fmla="*/ 1669 h 2413"/>
                  <a:gd name="T66" fmla="*/ 1548 w 1703"/>
                  <a:gd name="T67" fmla="*/ 1694 h 2413"/>
                  <a:gd name="T68" fmla="*/ 1550 w 1703"/>
                  <a:gd name="T69" fmla="*/ 1698 h 2413"/>
                  <a:gd name="T70" fmla="*/ 1563 w 1703"/>
                  <a:gd name="T71" fmla="*/ 1714 h 2413"/>
                  <a:gd name="T72" fmla="*/ 1598 w 1703"/>
                  <a:gd name="T73" fmla="*/ 1765 h 2413"/>
                  <a:gd name="T74" fmla="*/ 1640 w 1703"/>
                  <a:gd name="T75" fmla="*/ 1840 h 2413"/>
                  <a:gd name="T76" fmla="*/ 1679 w 1703"/>
                  <a:gd name="T77" fmla="*/ 1933 h 2413"/>
                  <a:gd name="T78" fmla="*/ 1702 w 1703"/>
                  <a:gd name="T79" fmla="*/ 2036 h 2413"/>
                  <a:gd name="T80" fmla="*/ 1697 w 1703"/>
                  <a:gd name="T81" fmla="*/ 2139 h 2413"/>
                  <a:gd name="T82" fmla="*/ 1668 w 1703"/>
                  <a:gd name="T83" fmla="*/ 2232 h 2413"/>
                  <a:gd name="T84" fmla="*/ 1617 w 1703"/>
                  <a:gd name="T85" fmla="*/ 2312 h 2413"/>
                  <a:gd name="T86" fmla="*/ 1546 w 1703"/>
                  <a:gd name="T87" fmla="*/ 2370 h 2413"/>
                  <a:gd name="T88" fmla="*/ 1458 w 1703"/>
                  <a:gd name="T89" fmla="*/ 2405 h 2413"/>
                  <a:gd name="T90" fmla="*/ 1391 w 1703"/>
                  <a:gd name="T91" fmla="*/ 2413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3" h="2413">
                    <a:moveTo>
                      <a:pt x="1391" y="2413"/>
                    </a:moveTo>
                    <a:lnTo>
                      <a:pt x="206" y="2410"/>
                    </a:lnTo>
                    <a:lnTo>
                      <a:pt x="186" y="2409"/>
                    </a:lnTo>
                    <a:lnTo>
                      <a:pt x="168" y="2408"/>
                    </a:lnTo>
                    <a:lnTo>
                      <a:pt x="151" y="2404"/>
                    </a:lnTo>
                    <a:lnTo>
                      <a:pt x="136" y="2400"/>
                    </a:lnTo>
                    <a:lnTo>
                      <a:pt x="121" y="2395"/>
                    </a:lnTo>
                    <a:lnTo>
                      <a:pt x="108" y="2389"/>
                    </a:lnTo>
                    <a:lnTo>
                      <a:pt x="96" y="2383"/>
                    </a:lnTo>
                    <a:lnTo>
                      <a:pt x="85" y="2376"/>
                    </a:lnTo>
                    <a:lnTo>
                      <a:pt x="75" y="2367"/>
                    </a:lnTo>
                    <a:lnTo>
                      <a:pt x="67" y="2359"/>
                    </a:lnTo>
                    <a:lnTo>
                      <a:pt x="51" y="2341"/>
                    </a:lnTo>
                    <a:lnTo>
                      <a:pt x="40" y="2321"/>
                    </a:lnTo>
                    <a:lnTo>
                      <a:pt x="32" y="2300"/>
                    </a:lnTo>
                    <a:lnTo>
                      <a:pt x="25" y="2280"/>
                    </a:lnTo>
                    <a:lnTo>
                      <a:pt x="21" y="2260"/>
                    </a:lnTo>
                    <a:lnTo>
                      <a:pt x="19" y="2242"/>
                    </a:lnTo>
                    <a:lnTo>
                      <a:pt x="18" y="2225"/>
                    </a:lnTo>
                    <a:lnTo>
                      <a:pt x="19" y="2212"/>
                    </a:lnTo>
                    <a:lnTo>
                      <a:pt x="19" y="2200"/>
                    </a:lnTo>
                    <a:lnTo>
                      <a:pt x="19" y="2196"/>
                    </a:lnTo>
                    <a:lnTo>
                      <a:pt x="20" y="2193"/>
                    </a:lnTo>
                    <a:lnTo>
                      <a:pt x="20" y="2192"/>
                    </a:lnTo>
                    <a:lnTo>
                      <a:pt x="20" y="2191"/>
                    </a:lnTo>
                    <a:lnTo>
                      <a:pt x="0" y="1972"/>
                    </a:lnTo>
                    <a:lnTo>
                      <a:pt x="73" y="1899"/>
                    </a:lnTo>
                    <a:lnTo>
                      <a:pt x="144" y="1825"/>
                    </a:lnTo>
                    <a:lnTo>
                      <a:pt x="213" y="1748"/>
                    </a:lnTo>
                    <a:lnTo>
                      <a:pt x="279" y="1671"/>
                    </a:lnTo>
                    <a:lnTo>
                      <a:pt x="302" y="1640"/>
                    </a:lnTo>
                    <a:lnTo>
                      <a:pt x="326" y="1606"/>
                    </a:lnTo>
                    <a:lnTo>
                      <a:pt x="351" y="1570"/>
                    </a:lnTo>
                    <a:lnTo>
                      <a:pt x="375" y="1531"/>
                    </a:lnTo>
                    <a:lnTo>
                      <a:pt x="401" y="1490"/>
                    </a:lnTo>
                    <a:lnTo>
                      <a:pt x="427" y="1446"/>
                    </a:lnTo>
                    <a:lnTo>
                      <a:pt x="453" y="1401"/>
                    </a:lnTo>
                    <a:lnTo>
                      <a:pt x="480" y="1354"/>
                    </a:lnTo>
                    <a:lnTo>
                      <a:pt x="506" y="1305"/>
                    </a:lnTo>
                    <a:lnTo>
                      <a:pt x="533" y="1254"/>
                    </a:lnTo>
                    <a:lnTo>
                      <a:pt x="560" y="1202"/>
                    </a:lnTo>
                    <a:lnTo>
                      <a:pt x="588" y="1149"/>
                    </a:lnTo>
                    <a:lnTo>
                      <a:pt x="615" y="1093"/>
                    </a:lnTo>
                    <a:lnTo>
                      <a:pt x="643" y="1038"/>
                    </a:lnTo>
                    <a:lnTo>
                      <a:pt x="698" y="923"/>
                    </a:lnTo>
                    <a:lnTo>
                      <a:pt x="753" y="806"/>
                    </a:lnTo>
                    <a:lnTo>
                      <a:pt x="807" y="686"/>
                    </a:lnTo>
                    <a:lnTo>
                      <a:pt x="861" y="567"/>
                    </a:lnTo>
                    <a:lnTo>
                      <a:pt x="912" y="448"/>
                    </a:lnTo>
                    <a:lnTo>
                      <a:pt x="962" y="331"/>
                    </a:lnTo>
                    <a:lnTo>
                      <a:pt x="1010" y="217"/>
                    </a:lnTo>
                    <a:lnTo>
                      <a:pt x="1033" y="161"/>
                    </a:lnTo>
                    <a:lnTo>
                      <a:pt x="1056" y="106"/>
                    </a:lnTo>
                    <a:lnTo>
                      <a:pt x="1077" y="53"/>
                    </a:lnTo>
                    <a:lnTo>
                      <a:pt x="1098" y="0"/>
                    </a:lnTo>
                    <a:lnTo>
                      <a:pt x="1132" y="47"/>
                    </a:lnTo>
                    <a:lnTo>
                      <a:pt x="1164" y="92"/>
                    </a:lnTo>
                    <a:lnTo>
                      <a:pt x="1194" y="136"/>
                    </a:lnTo>
                    <a:lnTo>
                      <a:pt x="1222" y="180"/>
                    </a:lnTo>
                    <a:lnTo>
                      <a:pt x="1249" y="223"/>
                    </a:lnTo>
                    <a:lnTo>
                      <a:pt x="1273" y="266"/>
                    </a:lnTo>
                    <a:lnTo>
                      <a:pt x="1297" y="311"/>
                    </a:lnTo>
                    <a:lnTo>
                      <a:pt x="1321" y="358"/>
                    </a:lnTo>
                    <a:lnTo>
                      <a:pt x="1344" y="406"/>
                    </a:lnTo>
                    <a:lnTo>
                      <a:pt x="1366" y="458"/>
                    </a:lnTo>
                    <a:lnTo>
                      <a:pt x="1389" y="513"/>
                    </a:lnTo>
                    <a:lnTo>
                      <a:pt x="1401" y="542"/>
                    </a:lnTo>
                    <a:lnTo>
                      <a:pt x="1413" y="572"/>
                    </a:lnTo>
                    <a:lnTo>
                      <a:pt x="1425" y="603"/>
                    </a:lnTo>
                    <a:lnTo>
                      <a:pt x="1438" y="635"/>
                    </a:lnTo>
                    <a:lnTo>
                      <a:pt x="1450" y="668"/>
                    </a:lnTo>
                    <a:lnTo>
                      <a:pt x="1463" y="703"/>
                    </a:lnTo>
                    <a:lnTo>
                      <a:pt x="1477" y="739"/>
                    </a:lnTo>
                    <a:lnTo>
                      <a:pt x="1490" y="776"/>
                    </a:lnTo>
                    <a:lnTo>
                      <a:pt x="1505" y="815"/>
                    </a:lnTo>
                    <a:lnTo>
                      <a:pt x="1519" y="855"/>
                    </a:lnTo>
                    <a:lnTo>
                      <a:pt x="1524" y="877"/>
                    </a:lnTo>
                    <a:lnTo>
                      <a:pt x="1529" y="901"/>
                    </a:lnTo>
                    <a:lnTo>
                      <a:pt x="1535" y="926"/>
                    </a:lnTo>
                    <a:lnTo>
                      <a:pt x="1538" y="954"/>
                    </a:lnTo>
                    <a:lnTo>
                      <a:pt x="1542" y="983"/>
                    </a:lnTo>
                    <a:lnTo>
                      <a:pt x="1545" y="1014"/>
                    </a:lnTo>
                    <a:lnTo>
                      <a:pt x="1547" y="1046"/>
                    </a:lnTo>
                    <a:lnTo>
                      <a:pt x="1550" y="1079"/>
                    </a:lnTo>
                    <a:lnTo>
                      <a:pt x="1553" y="1147"/>
                    </a:lnTo>
                    <a:lnTo>
                      <a:pt x="1555" y="1217"/>
                    </a:lnTo>
                    <a:lnTo>
                      <a:pt x="1556" y="1288"/>
                    </a:lnTo>
                    <a:lnTo>
                      <a:pt x="1557" y="1358"/>
                    </a:lnTo>
                    <a:lnTo>
                      <a:pt x="1556" y="1425"/>
                    </a:lnTo>
                    <a:lnTo>
                      <a:pt x="1556" y="1457"/>
                    </a:lnTo>
                    <a:lnTo>
                      <a:pt x="1555" y="1488"/>
                    </a:lnTo>
                    <a:lnTo>
                      <a:pt x="1554" y="1517"/>
                    </a:lnTo>
                    <a:lnTo>
                      <a:pt x="1554" y="1544"/>
                    </a:lnTo>
                    <a:lnTo>
                      <a:pt x="1553" y="1571"/>
                    </a:lnTo>
                    <a:lnTo>
                      <a:pt x="1552" y="1595"/>
                    </a:lnTo>
                    <a:lnTo>
                      <a:pt x="1551" y="1617"/>
                    </a:lnTo>
                    <a:lnTo>
                      <a:pt x="1551" y="1637"/>
                    </a:lnTo>
                    <a:lnTo>
                      <a:pt x="1550" y="1655"/>
                    </a:lnTo>
                    <a:lnTo>
                      <a:pt x="1549" y="1669"/>
                    </a:lnTo>
                    <a:lnTo>
                      <a:pt x="1549" y="1680"/>
                    </a:lnTo>
                    <a:lnTo>
                      <a:pt x="1548" y="1689"/>
                    </a:lnTo>
                    <a:lnTo>
                      <a:pt x="1548" y="1694"/>
                    </a:lnTo>
                    <a:lnTo>
                      <a:pt x="1548" y="1696"/>
                    </a:lnTo>
                    <a:lnTo>
                      <a:pt x="1548" y="1697"/>
                    </a:lnTo>
                    <a:lnTo>
                      <a:pt x="1550" y="1698"/>
                    </a:lnTo>
                    <a:lnTo>
                      <a:pt x="1552" y="1701"/>
                    </a:lnTo>
                    <a:lnTo>
                      <a:pt x="1555" y="1704"/>
                    </a:lnTo>
                    <a:lnTo>
                      <a:pt x="1563" y="1714"/>
                    </a:lnTo>
                    <a:lnTo>
                      <a:pt x="1573" y="1728"/>
                    </a:lnTo>
                    <a:lnTo>
                      <a:pt x="1584" y="1745"/>
                    </a:lnTo>
                    <a:lnTo>
                      <a:pt x="1598" y="1765"/>
                    </a:lnTo>
                    <a:lnTo>
                      <a:pt x="1611" y="1787"/>
                    </a:lnTo>
                    <a:lnTo>
                      <a:pt x="1625" y="1813"/>
                    </a:lnTo>
                    <a:lnTo>
                      <a:pt x="1640" y="1840"/>
                    </a:lnTo>
                    <a:lnTo>
                      <a:pt x="1654" y="1870"/>
                    </a:lnTo>
                    <a:lnTo>
                      <a:pt x="1668" y="1901"/>
                    </a:lnTo>
                    <a:lnTo>
                      <a:pt x="1679" y="1933"/>
                    </a:lnTo>
                    <a:lnTo>
                      <a:pt x="1689" y="1967"/>
                    </a:lnTo>
                    <a:lnTo>
                      <a:pt x="1697" y="2001"/>
                    </a:lnTo>
                    <a:lnTo>
                      <a:pt x="1702" y="2036"/>
                    </a:lnTo>
                    <a:lnTo>
                      <a:pt x="1703" y="2071"/>
                    </a:lnTo>
                    <a:lnTo>
                      <a:pt x="1702" y="2106"/>
                    </a:lnTo>
                    <a:lnTo>
                      <a:pt x="1697" y="2139"/>
                    </a:lnTo>
                    <a:lnTo>
                      <a:pt x="1691" y="2172"/>
                    </a:lnTo>
                    <a:lnTo>
                      <a:pt x="1680" y="2203"/>
                    </a:lnTo>
                    <a:lnTo>
                      <a:pt x="1668" y="2232"/>
                    </a:lnTo>
                    <a:lnTo>
                      <a:pt x="1653" y="2261"/>
                    </a:lnTo>
                    <a:lnTo>
                      <a:pt x="1637" y="2287"/>
                    </a:lnTo>
                    <a:lnTo>
                      <a:pt x="1617" y="2312"/>
                    </a:lnTo>
                    <a:lnTo>
                      <a:pt x="1596" y="2333"/>
                    </a:lnTo>
                    <a:lnTo>
                      <a:pt x="1572" y="2354"/>
                    </a:lnTo>
                    <a:lnTo>
                      <a:pt x="1546" y="2370"/>
                    </a:lnTo>
                    <a:lnTo>
                      <a:pt x="1519" y="2386"/>
                    </a:lnTo>
                    <a:lnTo>
                      <a:pt x="1489" y="2397"/>
                    </a:lnTo>
                    <a:lnTo>
                      <a:pt x="1458" y="2405"/>
                    </a:lnTo>
                    <a:lnTo>
                      <a:pt x="1425" y="2411"/>
                    </a:lnTo>
                    <a:lnTo>
                      <a:pt x="1391" y="2413"/>
                    </a:lnTo>
                    <a:lnTo>
                      <a:pt x="1391" y="2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grpSp>
        <p:nvGrpSpPr>
          <p:cNvPr id="40" name="Group 39">
            <a:extLst>
              <a:ext uri="{FF2B5EF4-FFF2-40B4-BE49-F238E27FC236}">
                <a16:creationId xmlns:a16="http://schemas.microsoft.com/office/drawing/2014/main" id="{F31E8FE1-EA3D-4DBA-B0C9-F2A15F395E5A}"/>
              </a:ext>
            </a:extLst>
          </p:cNvPr>
          <p:cNvGrpSpPr/>
          <p:nvPr/>
        </p:nvGrpSpPr>
        <p:grpSpPr>
          <a:xfrm>
            <a:off x="7874421" y="1779613"/>
            <a:ext cx="2353575" cy="3099053"/>
            <a:chOff x="8058285" y="1779613"/>
            <a:chExt cx="2353575" cy="3099053"/>
          </a:xfrm>
        </p:grpSpPr>
        <p:sp>
          <p:nvSpPr>
            <p:cNvPr id="19" name="Rectangle 18"/>
            <p:cNvSpPr/>
            <p:nvPr/>
          </p:nvSpPr>
          <p:spPr>
            <a:xfrm>
              <a:off x="8080683" y="1779613"/>
              <a:ext cx="2331177" cy="3099053"/>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Data Lake</a:t>
              </a:r>
            </a:p>
            <a:p>
              <a:pPr algn="ctr" defTabSz="777000">
                <a:defRPr/>
              </a:pPr>
              <a:r>
                <a:rPr lang="en-US" sz="2379" b="1" kern="0">
                  <a:solidFill>
                    <a:schemeClr val="tx1"/>
                  </a:solidFill>
                  <a:latin typeface="+mj-lt"/>
                </a:rPr>
                <a:t>Analytics</a:t>
              </a:r>
            </a:p>
          </p:txBody>
        </p:sp>
        <p:sp>
          <p:nvSpPr>
            <p:cNvPr id="20" name="Rectangle 19"/>
            <p:cNvSpPr/>
            <p:nvPr/>
          </p:nvSpPr>
          <p:spPr>
            <a:xfrm>
              <a:off x="8058285" y="4441802"/>
              <a:ext cx="2331177" cy="3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Big Data as a Service</a:t>
              </a:r>
            </a:p>
          </p:txBody>
        </p:sp>
        <p:pic>
          <p:nvPicPr>
            <p:cNvPr id="12" name="Graphic 11">
              <a:extLst>
                <a:ext uri="{FF2B5EF4-FFF2-40B4-BE49-F238E27FC236}">
                  <a16:creationId xmlns:a16="http://schemas.microsoft.com/office/drawing/2014/main" id="{0F9ED1CA-BC9F-410E-B9FA-A619D47268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525" y="2961222"/>
              <a:ext cx="1002101" cy="1002101"/>
            </a:xfrm>
            <a:prstGeom prst="rect">
              <a:avLst/>
            </a:prstGeom>
          </p:spPr>
        </p:pic>
      </p:grpSp>
      <p:pic>
        <p:nvPicPr>
          <p:cNvPr id="24" name="Graphic 23">
            <a:extLst>
              <a:ext uri="{FF2B5EF4-FFF2-40B4-BE49-F238E27FC236}">
                <a16:creationId xmlns:a16="http://schemas.microsoft.com/office/drawing/2014/main" id="{FB6555E5-69CF-4EE9-ACE3-D4847B1413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9705" y="5628366"/>
            <a:ext cx="665842" cy="665842"/>
          </a:xfrm>
          <a:prstGeom prst="rect">
            <a:avLst/>
          </a:prstGeom>
        </p:spPr>
      </p:pic>
      <p:pic>
        <p:nvPicPr>
          <p:cNvPr id="30" name="Picture 29">
            <a:extLst>
              <a:ext uri="{FF2B5EF4-FFF2-40B4-BE49-F238E27FC236}">
                <a16:creationId xmlns:a16="http://schemas.microsoft.com/office/drawing/2014/main" id="{B6ADE3B7-F40D-4825-A97B-5CB1C5FAB7AC}"/>
              </a:ext>
            </a:extLst>
          </p:cNvPr>
          <p:cNvPicPr>
            <a:picLocks noChangeAspect="1"/>
          </p:cNvPicPr>
          <p:nvPr/>
        </p:nvPicPr>
        <p:blipFill>
          <a:blip r:embed="rId7"/>
          <a:stretch>
            <a:fillRect/>
          </a:stretch>
        </p:blipFill>
        <p:spPr>
          <a:xfrm>
            <a:off x="2704850" y="2664948"/>
            <a:ext cx="838219" cy="838219"/>
          </a:xfrm>
          <a:prstGeom prst="rect">
            <a:avLst/>
          </a:prstGeom>
        </p:spPr>
      </p:pic>
      <p:pic>
        <p:nvPicPr>
          <p:cNvPr id="39" name="Picture 38" descr="A picture containing thing, object&#10;&#10;Description generated with very high confidence">
            <a:extLst>
              <a:ext uri="{FF2B5EF4-FFF2-40B4-BE49-F238E27FC236}">
                <a16:creationId xmlns:a16="http://schemas.microsoft.com/office/drawing/2014/main" id="{18FE3C4A-CB9F-49F2-BA53-4CF0E776CE0A}"/>
              </a:ext>
            </a:extLst>
          </p:cNvPr>
          <p:cNvPicPr>
            <a:picLocks noChangeAspect="1"/>
          </p:cNvPicPr>
          <p:nvPr/>
        </p:nvPicPr>
        <p:blipFill rotWithShape="1">
          <a:blip r:embed="rId8"/>
          <a:srcRect l="23964" t="21105" r="24439" b="21147"/>
          <a:stretch/>
        </p:blipFill>
        <p:spPr>
          <a:xfrm>
            <a:off x="3123959" y="3017730"/>
            <a:ext cx="588585" cy="461130"/>
          </a:xfrm>
          <a:prstGeom prst="rect">
            <a:avLst/>
          </a:prstGeom>
        </p:spPr>
      </p:pic>
    </p:spTree>
    <p:extLst>
      <p:ext uri="{BB962C8B-B14F-4D97-AF65-F5344CB8AC3E}">
        <p14:creationId xmlns:p14="http://schemas.microsoft.com/office/powerpoint/2010/main" val="314919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3FE79-FBA1-4056-9CD9-60D97B153B15}"/>
              </a:ext>
            </a:extLst>
          </p:cNvPr>
          <p:cNvSpPr>
            <a:spLocks noGrp="1"/>
          </p:cNvSpPr>
          <p:nvPr>
            <p:ph type="title" idx="4294967295"/>
          </p:nvPr>
        </p:nvSpPr>
        <p:spPr>
          <a:xfrm>
            <a:off x="2024652" y="258250"/>
            <a:ext cx="8401612" cy="693761"/>
          </a:xfrm>
        </p:spPr>
        <p:txBody>
          <a:bodyPr/>
          <a:lstStyle/>
          <a:p>
            <a:r>
              <a:rPr lang="en-US" sz="4488"/>
              <a:t>Azure Relational Database Platform</a:t>
            </a:r>
            <a:endParaRPr lang="en-US"/>
          </a:p>
        </p:txBody>
      </p:sp>
      <p:pic>
        <p:nvPicPr>
          <p:cNvPr id="3" name="Picture 2">
            <a:extLst>
              <a:ext uri="{FF2B5EF4-FFF2-40B4-BE49-F238E27FC236}">
                <a16:creationId xmlns:a16="http://schemas.microsoft.com/office/drawing/2014/main" id="{FA87409B-889C-4FFF-9F53-8AC96968E81D}"/>
              </a:ext>
            </a:extLst>
          </p:cNvPr>
          <p:cNvPicPr>
            <a:picLocks noChangeAspect="1"/>
          </p:cNvPicPr>
          <p:nvPr/>
        </p:nvPicPr>
        <p:blipFill rotWithShape="1">
          <a:blip r:embed="rId3"/>
          <a:srcRect r="3097"/>
          <a:stretch/>
        </p:blipFill>
        <p:spPr>
          <a:xfrm>
            <a:off x="85661" y="1216296"/>
            <a:ext cx="12189789" cy="5370636"/>
          </a:xfrm>
          <a:prstGeom prst="rect">
            <a:avLst/>
          </a:prstGeom>
        </p:spPr>
      </p:pic>
      <p:grpSp>
        <p:nvGrpSpPr>
          <p:cNvPr id="4" name="Group 3">
            <a:extLst>
              <a:ext uri="{FF2B5EF4-FFF2-40B4-BE49-F238E27FC236}">
                <a16:creationId xmlns:a16="http://schemas.microsoft.com/office/drawing/2014/main" id="{2553EAA8-62C2-494A-B168-F0B62D6C93F6}"/>
              </a:ext>
            </a:extLst>
          </p:cNvPr>
          <p:cNvGrpSpPr/>
          <p:nvPr/>
        </p:nvGrpSpPr>
        <p:grpSpPr>
          <a:xfrm>
            <a:off x="7087831" y="1274178"/>
            <a:ext cx="4580016" cy="1193923"/>
            <a:chOff x="6948620" y="1249308"/>
            <a:chExt cx="4490619" cy="1170619"/>
          </a:xfrm>
        </p:grpSpPr>
        <p:sp>
          <p:nvSpPr>
            <p:cNvPr id="6" name="Rectangle: Rounded Corners 5">
              <a:extLst>
                <a:ext uri="{FF2B5EF4-FFF2-40B4-BE49-F238E27FC236}">
                  <a16:creationId xmlns:a16="http://schemas.microsoft.com/office/drawing/2014/main" id="{E751DCF4-0AA0-44CE-8A06-3DF47E24A9EE}"/>
                </a:ext>
              </a:extLst>
            </p:cNvPr>
            <p:cNvSpPr/>
            <p:nvPr/>
          </p:nvSpPr>
          <p:spPr bwMode="auto">
            <a:xfrm>
              <a:off x="7721603"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07B541D7-52E0-4173-AD19-0933FCA73852}"/>
                </a:ext>
              </a:extLst>
            </p:cNvPr>
            <p:cNvSpPr/>
            <p:nvPr/>
          </p:nvSpPr>
          <p:spPr bwMode="auto">
            <a:xfrm>
              <a:off x="10644912"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85ED5075-2442-46C9-95B2-7AA6C2B6C5DC}"/>
                </a:ext>
              </a:extLst>
            </p:cNvPr>
            <p:cNvSpPr txBox="1"/>
            <p:nvPr/>
          </p:nvSpPr>
          <p:spPr>
            <a:xfrm>
              <a:off x="6948620" y="1249308"/>
              <a:ext cx="928139" cy="521489"/>
            </a:xfrm>
            <a:prstGeom prst="rect">
              <a:avLst/>
            </a:prstGeom>
            <a:noFill/>
            <a:ln>
              <a:noFill/>
            </a:ln>
          </p:spPr>
          <p:txBody>
            <a:bodyPr wrap="none" lIns="186521" tIns="149217" rIns="186521" bIns="149217" rtlCol="0">
              <a:spAutoFit/>
            </a:bodyPr>
            <a:lstStyle/>
            <a:p>
              <a:pPr>
                <a:lnSpc>
                  <a:spcPct val="90000"/>
                </a:lnSpc>
                <a:spcAft>
                  <a:spcPts val="612"/>
                </a:spcAft>
              </a:pPr>
              <a:r>
                <a:rPr lang="en-US" sz="1632" b="1">
                  <a:solidFill>
                    <a:srgbClr val="FF0000"/>
                  </a:solidFill>
                </a:rPr>
                <a:t>NEW!</a:t>
              </a:r>
            </a:p>
          </p:txBody>
        </p:sp>
        <p:sp>
          <p:nvSpPr>
            <p:cNvPr id="10" name="TextBox 9">
              <a:extLst>
                <a:ext uri="{FF2B5EF4-FFF2-40B4-BE49-F238E27FC236}">
                  <a16:creationId xmlns:a16="http://schemas.microsoft.com/office/drawing/2014/main" id="{6F063B26-5BFF-40C6-9DC3-460B7B934F29}"/>
                </a:ext>
              </a:extLst>
            </p:cNvPr>
            <p:cNvSpPr txBox="1"/>
            <p:nvPr/>
          </p:nvSpPr>
          <p:spPr>
            <a:xfrm>
              <a:off x="9787316" y="1249308"/>
              <a:ext cx="928139" cy="521489"/>
            </a:xfrm>
            <a:prstGeom prst="rect">
              <a:avLst/>
            </a:prstGeom>
            <a:noFill/>
            <a:ln>
              <a:noFill/>
            </a:ln>
          </p:spPr>
          <p:txBody>
            <a:bodyPr wrap="none" lIns="186521" tIns="149217" rIns="186521" bIns="149217" rtlCol="0">
              <a:spAutoFit/>
            </a:bodyPr>
            <a:lstStyle/>
            <a:p>
              <a:pPr>
                <a:lnSpc>
                  <a:spcPct val="90000"/>
                </a:lnSpc>
                <a:spcAft>
                  <a:spcPts val="612"/>
                </a:spcAft>
              </a:pPr>
              <a:r>
                <a:rPr lang="en-US" sz="1632" b="1">
                  <a:solidFill>
                    <a:srgbClr val="FF0000"/>
                  </a:solidFill>
                </a:rPr>
                <a:t>NEW!</a:t>
              </a:r>
            </a:p>
          </p:txBody>
        </p:sp>
      </p:grpSp>
      <p:sp>
        <p:nvSpPr>
          <p:cNvPr id="5" name="TextBox 4">
            <a:extLst>
              <a:ext uri="{FF2B5EF4-FFF2-40B4-BE49-F238E27FC236}">
                <a16:creationId xmlns:a16="http://schemas.microsoft.com/office/drawing/2014/main" id="{DAE1259B-3398-47BF-AE20-87CDFDD27285}"/>
              </a:ext>
            </a:extLst>
          </p:cNvPr>
          <p:cNvSpPr txBox="1"/>
          <p:nvPr/>
        </p:nvSpPr>
        <p:spPr>
          <a:xfrm>
            <a:off x="7912949" y="2352689"/>
            <a:ext cx="971140" cy="474256"/>
          </a:xfrm>
          <a:prstGeom prst="rect">
            <a:avLst/>
          </a:prstGeom>
          <a:noFill/>
        </p:spPr>
        <p:txBody>
          <a:bodyPr wrap="none" lIns="186521" tIns="149217" rIns="186521" bIns="149217" rtlCol="0">
            <a:spAutoFit/>
          </a:bodyPr>
          <a:lstStyle/>
          <a:p>
            <a:pPr>
              <a:lnSpc>
                <a:spcPct val="90000"/>
              </a:lnSpc>
              <a:spcAft>
                <a:spcPts val="612"/>
              </a:spcAft>
            </a:pPr>
            <a:r>
              <a:rPr lang="en-US" sz="1224" b="1">
                <a:solidFill>
                  <a:srgbClr val="00B050"/>
                </a:solidFill>
              </a:rPr>
              <a:t>Preview</a:t>
            </a:r>
          </a:p>
        </p:txBody>
      </p:sp>
      <p:sp>
        <p:nvSpPr>
          <p:cNvPr id="11" name="TextBox 10">
            <a:extLst>
              <a:ext uri="{FF2B5EF4-FFF2-40B4-BE49-F238E27FC236}">
                <a16:creationId xmlns:a16="http://schemas.microsoft.com/office/drawing/2014/main" id="{D34FBE44-29D1-47DF-AC98-BB29F0E54D28}"/>
              </a:ext>
            </a:extLst>
          </p:cNvPr>
          <p:cNvSpPr txBox="1"/>
          <p:nvPr/>
        </p:nvSpPr>
        <p:spPr>
          <a:xfrm>
            <a:off x="10816345" y="2352690"/>
            <a:ext cx="971140" cy="474256"/>
          </a:xfrm>
          <a:prstGeom prst="rect">
            <a:avLst/>
          </a:prstGeom>
          <a:noFill/>
        </p:spPr>
        <p:txBody>
          <a:bodyPr wrap="none" lIns="186521" tIns="149217" rIns="186521" bIns="149217" rtlCol="0">
            <a:spAutoFit/>
          </a:bodyPr>
          <a:lstStyle/>
          <a:p>
            <a:pPr>
              <a:lnSpc>
                <a:spcPct val="90000"/>
              </a:lnSpc>
              <a:spcAft>
                <a:spcPts val="612"/>
              </a:spcAft>
            </a:pPr>
            <a:r>
              <a:rPr lang="en-US" sz="1224" b="1">
                <a:solidFill>
                  <a:srgbClr val="00B050"/>
                </a:solidFill>
              </a:rPr>
              <a:t>Preview</a:t>
            </a:r>
          </a:p>
        </p:txBody>
      </p:sp>
    </p:spTree>
    <p:extLst>
      <p:ext uri="{BB962C8B-B14F-4D97-AF65-F5344CB8AC3E}">
        <p14:creationId xmlns:p14="http://schemas.microsoft.com/office/powerpoint/2010/main" val="17159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4" name="Rectangle 22"/>
          <p:cNvSpPr>
            <a:spLocks noChangeArrowheads="1"/>
          </p:cNvSpPr>
          <p:nvPr/>
        </p:nvSpPr>
        <p:spPr bwMode="auto">
          <a:xfrm>
            <a:off x="2879549" y="147434"/>
            <a:ext cx="6248644" cy="9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65717" fontAlgn="base">
              <a:spcBef>
                <a:spcPct val="0"/>
              </a:spcBef>
              <a:spcAft>
                <a:spcPct val="0"/>
              </a:spcAft>
            </a:pPr>
            <a:r>
              <a:rPr lang="en-US" sz="6311" kern="0">
                <a:solidFill>
                  <a:srgbClr val="FFFFFF"/>
                </a:solidFill>
                <a:latin typeface="Segoe UI Light" panose="020B0502040204020203" pitchFamily="34" charset="0"/>
                <a:cs typeface="Segoe UI Light" panose="020B0502040204020203" pitchFamily="34" charset="0"/>
              </a:rPr>
              <a:t>Azure Cosmos DB</a:t>
            </a:r>
          </a:p>
        </p:txBody>
      </p:sp>
      <p:sp>
        <p:nvSpPr>
          <p:cNvPr id="5" name="TextBox 4"/>
          <p:cNvSpPr txBox="1"/>
          <p:nvPr/>
        </p:nvSpPr>
        <p:spPr>
          <a:xfrm>
            <a:off x="1934328" y="1046705"/>
            <a:ext cx="8040861" cy="454376"/>
          </a:xfrm>
          <a:prstGeom prst="rect">
            <a:avLst/>
          </a:prstGeom>
          <a:noFill/>
        </p:spPr>
        <p:txBody>
          <a:bodyPr wrap="square" rtlCol="0">
            <a:spAutoFit/>
          </a:bodyPr>
          <a:lstStyle/>
          <a:p>
            <a:pPr algn="ctr" defTabSz="1165717"/>
            <a:r>
              <a:rPr lang="en-US" sz="2295" kern="0">
                <a:solidFill>
                  <a:srgbClr val="6DC2E9">
                    <a:lumMod val="60000"/>
                    <a:lumOff val="40000"/>
                  </a:srgbClr>
                </a:solidFill>
                <a:latin typeface="Segoe UI Light" panose="020B0502040204020203" pitchFamily="34" charset="0"/>
                <a:cs typeface="Segoe UI Light" panose="020B0502040204020203" pitchFamily="34" charset="0"/>
              </a:rPr>
              <a:t>The first globally distributed, multi-model database service</a:t>
            </a:r>
          </a:p>
        </p:txBody>
      </p:sp>
      <p:sp>
        <p:nvSpPr>
          <p:cNvPr id="7" name="Title 1">
            <a:extLst>
              <a:ext uri="{FF2B5EF4-FFF2-40B4-BE49-F238E27FC236}">
                <a16:creationId xmlns:a16="http://schemas.microsoft.com/office/drawing/2014/main" id="{6634A938-ED46-4494-B958-D2C9618992BA}"/>
              </a:ext>
            </a:extLst>
          </p:cNvPr>
          <p:cNvSpPr txBox="1">
            <a:spLocks/>
          </p:cNvSpPr>
          <p:nvPr/>
        </p:nvSpPr>
        <p:spPr>
          <a:xfrm rot="2297231">
            <a:off x="8549127" y="394221"/>
            <a:ext cx="5538332" cy="929097"/>
          </a:xfrm>
          <a:prstGeom prst="rect">
            <a:avLst/>
          </a:prstGeom>
          <a:solidFill>
            <a:srgbClr val="92D050"/>
          </a:solidFill>
          <a:effectLst>
            <a:outerShdw blurRad="190500" algn="ctr" rotWithShape="0">
              <a:prstClr val="black">
                <a:alpha val="40000"/>
              </a:prstClr>
            </a:outerShdw>
          </a:effectLst>
        </p:spPr>
        <p:txBody>
          <a:bodyPr wrap="square" tIns="91427" bIns="91427" anchor="ctr" anchorCtr="0">
            <a:no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nnouncing </a:t>
            </a:r>
          </a:p>
        </p:txBody>
      </p:sp>
      <p:sp>
        <p:nvSpPr>
          <p:cNvPr id="8" name="Rectangle 7">
            <a:extLst>
              <a:ext uri="{FF2B5EF4-FFF2-40B4-BE49-F238E27FC236}">
                <a16:creationId xmlns:a16="http://schemas.microsoft.com/office/drawing/2014/main" id="{0B6B05EB-ECAF-4577-8E9E-5BD721A62C13}"/>
              </a:ext>
            </a:extLst>
          </p:cNvPr>
          <p:cNvSpPr/>
          <p:nvPr/>
        </p:nvSpPr>
        <p:spPr bwMode="auto">
          <a:xfrm>
            <a:off x="6276975" y="5727642"/>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SCALE TO </a:t>
            </a:r>
            <a:br>
              <a:rPr lang="en-US" sz="1632" kern="0" spc="306">
                <a:solidFill>
                  <a:srgbClr val="FFFFFF"/>
                </a:solidFill>
                <a:cs typeface="Segoe UI Semibold" panose="020B0702040204020203" pitchFamily="34" charset="0"/>
              </a:rPr>
            </a:br>
            <a:r>
              <a:rPr lang="en-US" sz="1632" kern="0" spc="306">
                <a:solidFill>
                  <a:srgbClr val="FFFFFF"/>
                </a:solidFill>
                <a:cs typeface="Segoe UI Semibold" panose="020B0702040204020203" pitchFamily="34" charset="0"/>
              </a:rPr>
              <a:t>ANY NEED</a:t>
            </a:r>
          </a:p>
        </p:txBody>
      </p:sp>
      <p:sp>
        <p:nvSpPr>
          <p:cNvPr id="9" name="Rectangle 8">
            <a:extLst>
              <a:ext uri="{FF2B5EF4-FFF2-40B4-BE49-F238E27FC236}">
                <a16:creationId xmlns:a16="http://schemas.microsoft.com/office/drawing/2014/main" id="{0F34E621-96DE-4584-9A87-BE01105B798E}"/>
              </a:ext>
            </a:extLst>
          </p:cNvPr>
          <p:cNvSpPr/>
          <p:nvPr/>
        </p:nvSpPr>
        <p:spPr bwMode="auto">
          <a:xfrm>
            <a:off x="8998905" y="5716778"/>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COMPREHENSIVE SLAS</a:t>
            </a:r>
          </a:p>
        </p:txBody>
      </p:sp>
      <p:sp>
        <p:nvSpPr>
          <p:cNvPr id="10" name="Rectangle 9">
            <a:extLst>
              <a:ext uri="{FF2B5EF4-FFF2-40B4-BE49-F238E27FC236}">
                <a16:creationId xmlns:a16="http://schemas.microsoft.com/office/drawing/2014/main" id="{FD66F0FA-A288-4FD1-BB58-3BB5F04636EC}"/>
              </a:ext>
            </a:extLst>
          </p:cNvPr>
          <p:cNvSpPr/>
          <p:nvPr/>
        </p:nvSpPr>
        <p:spPr bwMode="auto">
          <a:xfrm>
            <a:off x="1035688" y="5716778"/>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GEO-</a:t>
            </a:r>
            <a:br>
              <a:rPr lang="en-US" sz="1632" kern="0" spc="306">
                <a:solidFill>
                  <a:srgbClr val="FFFFFF"/>
                </a:solidFill>
                <a:cs typeface="Segoe UI Semibold" panose="020B0702040204020203" pitchFamily="34" charset="0"/>
              </a:rPr>
            </a:br>
            <a:r>
              <a:rPr lang="en-US" sz="1632" kern="0" spc="306">
                <a:solidFill>
                  <a:srgbClr val="FFFFFF"/>
                </a:solidFill>
                <a:cs typeface="Segoe UI Semibold" panose="020B0702040204020203" pitchFamily="34" charset="0"/>
              </a:rPr>
              <a:t>DISTRIBUTED</a:t>
            </a:r>
          </a:p>
        </p:txBody>
      </p:sp>
      <p:sp>
        <p:nvSpPr>
          <p:cNvPr id="11" name="Rectangle 10">
            <a:extLst>
              <a:ext uri="{FF2B5EF4-FFF2-40B4-BE49-F238E27FC236}">
                <a16:creationId xmlns:a16="http://schemas.microsoft.com/office/drawing/2014/main" id="{2BB78508-0255-46BC-B906-C51A0D653E5D}"/>
              </a:ext>
            </a:extLst>
          </p:cNvPr>
          <p:cNvSpPr/>
          <p:nvPr/>
        </p:nvSpPr>
        <p:spPr bwMode="auto">
          <a:xfrm>
            <a:off x="3711390" y="5727642"/>
            <a:ext cx="2881336" cy="598300"/>
          </a:xfrm>
          <a:prstGeom prst="rect">
            <a:avLst/>
          </a:prstGeom>
          <a:noFill/>
          <a:ln w="635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MULTI MODEL, MULTI API</a:t>
            </a:r>
          </a:p>
        </p:txBody>
      </p:sp>
      <p:pic>
        <p:nvPicPr>
          <p:cNvPr id="12" name="Graphic 40">
            <a:hlinkClick r:id="rId5"/>
            <a:extLst>
              <a:ext uri="{FF2B5EF4-FFF2-40B4-BE49-F238E27FC236}">
                <a16:creationId xmlns:a16="http://schemas.microsoft.com/office/drawing/2014/main" id="{C04C3A58-74FE-4C8A-A791-AD45A2316F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0022" y="4008786"/>
            <a:ext cx="1419101" cy="1419101"/>
          </a:xfrm>
          <a:prstGeom prst="rect">
            <a:avLst/>
          </a:prstGeom>
        </p:spPr>
      </p:pic>
      <p:pic>
        <p:nvPicPr>
          <p:cNvPr id="13" name="Graphic 42">
            <a:extLst>
              <a:ext uri="{FF2B5EF4-FFF2-40B4-BE49-F238E27FC236}">
                <a16:creationId xmlns:a16="http://schemas.microsoft.com/office/drawing/2014/main" id="{47C81851-4884-4CB1-9C51-364858B6F6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2517" y="4003547"/>
            <a:ext cx="1419101" cy="1419101"/>
          </a:xfrm>
          <a:prstGeom prst="rect">
            <a:avLst/>
          </a:prstGeom>
        </p:spPr>
      </p:pic>
      <p:pic>
        <p:nvPicPr>
          <p:cNvPr id="14" name="Graphic 52">
            <a:extLst>
              <a:ext uri="{FF2B5EF4-FFF2-40B4-BE49-F238E27FC236}">
                <a16:creationId xmlns:a16="http://schemas.microsoft.com/office/drawing/2014/main" id="{2D4B4D73-1A73-4089-A54F-2B79B33F51B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84860" y="4002366"/>
            <a:ext cx="1762203" cy="1420283"/>
          </a:xfrm>
          <a:prstGeom prst="rect">
            <a:avLst/>
          </a:prstGeom>
        </p:spPr>
      </p:pic>
      <p:pic>
        <p:nvPicPr>
          <p:cNvPr id="15" name="Graphic 53">
            <a:extLst>
              <a:ext uri="{FF2B5EF4-FFF2-40B4-BE49-F238E27FC236}">
                <a16:creationId xmlns:a16="http://schemas.microsoft.com/office/drawing/2014/main" id="{B4AB16F4-FC89-4376-AE31-07C143252A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55988" y="3984176"/>
            <a:ext cx="1419101" cy="1419101"/>
          </a:xfrm>
          <a:prstGeom prst="rect">
            <a:avLst/>
          </a:prstGeom>
        </p:spPr>
      </p:pic>
      <p:pic>
        <p:nvPicPr>
          <p:cNvPr id="16" name="Picture 15">
            <a:extLst>
              <a:ext uri="{FF2B5EF4-FFF2-40B4-BE49-F238E27FC236}">
                <a16:creationId xmlns:a16="http://schemas.microsoft.com/office/drawing/2014/main" id="{A8D23BE8-C805-4AA4-BDDE-C4F1EC647E0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71372" y="171429"/>
            <a:ext cx="1162291" cy="1162291"/>
          </a:xfrm>
          <a:prstGeom prst="rect">
            <a:avLst/>
          </a:prstGeom>
        </p:spPr>
      </p:pic>
    </p:spTree>
    <p:extLst>
      <p:ext uri="{BB962C8B-B14F-4D97-AF65-F5344CB8AC3E}">
        <p14:creationId xmlns:p14="http://schemas.microsoft.com/office/powerpoint/2010/main" val="1312053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b: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103412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inalise</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he </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ogic App lab, logging the documents to Cosmos DB</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81918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09124E-6 L -0.05285 -3.0912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320246" y="5044563"/>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794" y="4825878"/>
              <a:ext cx="300587" cy="300587"/>
            </a:xfrm>
            <a:prstGeom prst="rect">
              <a:avLst/>
            </a:prstGeom>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162179" y="3475393"/>
            <a:ext cx="5562881"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rgbClr val="0089CF"/>
                </a:solidFill>
                <a:latin typeface="Segoe UI Light" panose="020B0502040204020203" pitchFamily="34" charset="0"/>
                <a:cs typeface="Segoe UI Light" panose="020B0502040204020203" pitchFamily="34" charset="0"/>
              </a:rPr>
              <a:t>Azure: the cloud for intelligent solutions</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smos DB</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31517" y="1621986"/>
            <a:ext cx="1671732"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ata Warehouse</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Bot </a:t>
            </a:r>
            <a:br>
              <a:rPr lang="en-US" sz="1599" kern="0" dirty="0">
                <a:gradFill>
                  <a:gsLst>
                    <a:gs pos="0">
                      <a:srgbClr val="353535"/>
                    </a:gs>
                    <a:gs pos="100000">
                      <a:srgbClr val="353535"/>
                    </a:gs>
                  </a:gsLst>
                  <a:lin ang="5400000" scaled="0"/>
                </a:gradFill>
                <a:latin typeface="Segoe UI" charset="0"/>
                <a:ea typeface="Segoe UI" charset="0"/>
                <a:cs typeface="Segoe UI" charset="0"/>
              </a:rPr>
            </a:br>
            <a:r>
              <a:rPr lang="en-US" sz="1599"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gnitive Services</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grpSp>
        <p:nvGrpSpPr>
          <p:cNvPr id="244" name="Group 243">
            <a:extLst>
              <a:ext uri="{FF2B5EF4-FFF2-40B4-BE49-F238E27FC236}">
                <a16:creationId xmlns:a16="http://schemas.microsoft.com/office/drawing/2014/main" id="{234A81AF-D397-4C13-ACF6-68C5A1880C21}"/>
              </a:ext>
            </a:extLst>
          </p:cNvPr>
          <p:cNvGrpSpPr/>
          <p:nvPr/>
        </p:nvGrpSpPr>
        <p:grpSpPr>
          <a:xfrm>
            <a:off x="3527120" y="2349300"/>
            <a:ext cx="556547" cy="556548"/>
            <a:chOff x="2480707" y="1989511"/>
            <a:chExt cx="593351" cy="593351"/>
          </a:xfrm>
        </p:grpSpPr>
        <p:sp>
          <p:nvSpPr>
            <p:cNvPr id="245" name="Oval 244">
              <a:extLst>
                <a:ext uri="{FF2B5EF4-FFF2-40B4-BE49-F238E27FC236}">
                  <a16:creationId xmlns:a16="http://schemas.microsoft.com/office/drawing/2014/main" id="{320BEBA8-B3B6-4832-884A-CDE003AD799B}"/>
                </a:ext>
              </a:extLst>
            </p:cNvPr>
            <p:cNvSpPr/>
            <p:nvPr/>
          </p:nvSpPr>
          <p:spPr bwMode="auto">
            <a:xfrm>
              <a:off x="2480707" y="198951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6" name="Graphic 4">
              <a:extLst>
                <a:ext uri="{FF2B5EF4-FFF2-40B4-BE49-F238E27FC236}">
                  <a16:creationId xmlns:a16="http://schemas.microsoft.com/office/drawing/2014/main" id="{D3AA7929-423F-428A-A77D-C2C7D6C906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1112" y="2141503"/>
              <a:ext cx="282052" cy="282052"/>
            </a:xfrm>
            <a:prstGeom prst="rect">
              <a:avLst/>
            </a:prstGeom>
          </p:spPr>
        </p:pic>
      </p:gr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52724" y="1170780"/>
              <a:ext cx="346922" cy="346922"/>
            </a:xfrm>
            <a:prstGeom prst="rect">
              <a:avLst/>
            </a:prstGeom>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13032" y="2215551"/>
              <a:ext cx="363727" cy="363727"/>
            </a:xfrm>
            <a:prstGeom prst="rect">
              <a:avLst/>
            </a:prstGeom>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7642" y="4662266"/>
              <a:ext cx="420836" cy="420836"/>
            </a:xfrm>
            <a:prstGeom prst="rect">
              <a:avLst/>
            </a:prstGeom>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43090" y="5729794"/>
            <a:ext cx="360059" cy="360059"/>
          </a:xfrm>
          <a:prstGeom prst="rect">
            <a:avLst/>
          </a:prstGeom>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defTabSz="932597"/>
              <a:r>
                <a:rPr lang="en-US" sz="3468" kern="0" spc="50" dirty="0">
                  <a:ln w="3175">
                    <a:noFill/>
                  </a:ln>
                  <a:solidFill>
                    <a:srgbClr val="FFFFFF">
                      <a:alpha val="0"/>
                    </a:srgbClr>
                  </a:solidFill>
                  <a:latin typeface="Segoe UI Light" panose="020B0502040204020203" pitchFamily="34" charset="0"/>
                  <a:cs typeface="Segoe UI Light" panose="020B0502040204020203" pitchFamily="34" charset="0"/>
                </a:rPr>
                <a:t>Azure</a:t>
              </a:r>
              <a:endParaRPr lang="en-US" sz="3468" dirty="0">
                <a:solidFill>
                  <a:srgbClr val="FFFFFF">
                    <a:alpha val="0"/>
                  </a:srgbClr>
                </a:solidFill>
                <a:latin typeface="Segoe UI"/>
              </a:endParaRPr>
            </a:p>
          </p:txBody>
        </p:sp>
      </p:grpSp>
    </p:spTree>
    <p:extLst>
      <p:ext uri="{BB962C8B-B14F-4D97-AF65-F5344CB8AC3E}">
        <p14:creationId xmlns:p14="http://schemas.microsoft.com/office/powerpoint/2010/main" val="208108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46" y="245841"/>
            <a:ext cx="11946483" cy="587532"/>
          </a:xfrm>
        </p:spPr>
        <p:txBody>
          <a:bodyPr>
            <a:noAutofit/>
          </a:bodyPr>
          <a:lstStyle/>
          <a:p>
            <a:r>
              <a:rPr lang="en-US" sz="4400" b="1"/>
              <a:t>Cortana Intelligence Suite Architecture</a:t>
            </a:r>
          </a:p>
        </p:txBody>
      </p:sp>
      <p:grpSp>
        <p:nvGrpSpPr>
          <p:cNvPr id="7" name="Group 6"/>
          <p:cNvGrpSpPr/>
          <p:nvPr/>
        </p:nvGrpSpPr>
        <p:grpSpPr>
          <a:xfrm>
            <a:off x="9779474" y="1734341"/>
            <a:ext cx="2285003" cy="4655048"/>
            <a:chOff x="9588714" y="1666194"/>
            <a:chExt cx="2241039" cy="4565481"/>
          </a:xfrm>
        </p:grpSpPr>
        <p:sp>
          <p:nvSpPr>
            <p:cNvPr id="154" name="Rectangle 153"/>
            <p:cNvSpPr/>
            <p:nvPr/>
          </p:nvSpPr>
          <p:spPr>
            <a:xfrm>
              <a:off x="10329146" y="5903763"/>
              <a:ext cx="1500607" cy="327912"/>
            </a:xfrm>
            <a:prstGeom prst="rect">
              <a:avLst/>
            </a:prstGeom>
          </p:spPr>
          <p:txBody>
            <a:bodyPr wrap="none" lIns="0" tIns="0" rIns="0" bIns="0" anchor="ctr">
              <a:noAutofit/>
            </a:bodyPr>
            <a:lstStyle/>
            <a:p>
              <a:pPr defTabSz="932357">
                <a:lnSpc>
                  <a:spcPct val="90000"/>
                </a:lnSpc>
                <a:defRPr/>
              </a:pPr>
              <a:r>
                <a:rPr lang="en-US" sz="2448" kern="0">
                  <a:latin typeface="Segoe UI"/>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sp>
          <p:nvSpPr>
            <p:cNvPr id="160" name="TextBox 159"/>
            <p:cNvSpPr txBox="1"/>
            <p:nvPr/>
          </p:nvSpPr>
          <p:spPr>
            <a:xfrm>
              <a:off x="10381650" y="1978779"/>
              <a:ext cx="1090058"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People</a:t>
              </a:r>
            </a:p>
          </p:txBody>
        </p:sp>
        <p:sp>
          <p:nvSpPr>
            <p:cNvPr id="161" name="TextBox 160"/>
            <p:cNvSpPr txBox="1"/>
            <p:nvPr/>
          </p:nvSpPr>
          <p:spPr>
            <a:xfrm>
              <a:off x="10650439" y="5204330"/>
              <a:ext cx="868271" cy="332543"/>
            </a:xfrm>
            <a:prstGeom prst="rect">
              <a:avLst/>
            </a:prstGeom>
            <a:noFill/>
          </p:spPr>
          <p:txBody>
            <a:bodyPr wrap="square" lIns="0" tIns="0" rIns="0" bIns="0"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utomated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7"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sp>
              <p:nvSpPr>
                <p:cNvPr id="175" name="TextBox 174"/>
                <p:cNvSpPr txBox="1"/>
                <p:nvPr/>
              </p:nvSpPr>
              <p:spPr>
                <a:xfrm>
                  <a:off x="11212737" y="3022354"/>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Web</a:t>
                  </a:r>
                </a:p>
              </p:txBody>
            </p:sp>
            <p:sp>
              <p:nvSpPr>
                <p:cNvPr id="176" name="TextBox 175"/>
                <p:cNvSpPr txBox="1"/>
                <p:nvPr/>
              </p:nvSpPr>
              <p:spPr>
                <a:xfrm>
                  <a:off x="11212737" y="3571986"/>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Mobile</a:t>
                  </a:r>
                </a:p>
              </p:txBody>
            </p:sp>
            <p:sp>
              <p:nvSpPr>
                <p:cNvPr id="177" name="TextBox 176"/>
                <p:cNvSpPr txBox="1"/>
                <p:nvPr/>
              </p:nvSpPr>
              <p:spPr>
                <a:xfrm>
                  <a:off x="11212737" y="4160203"/>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29" name="Group 28">
            <a:extLst>
              <a:ext uri="{FF2B5EF4-FFF2-40B4-BE49-F238E27FC236}">
                <a16:creationId xmlns:a16="http://schemas.microsoft.com/office/drawing/2014/main" id="{AA4004A0-264B-4EFC-88E4-FECC236060F8}"/>
              </a:ext>
            </a:extLst>
          </p:cNvPr>
          <p:cNvGrpSpPr/>
          <p:nvPr/>
        </p:nvGrpSpPr>
        <p:grpSpPr>
          <a:xfrm>
            <a:off x="2061631" y="1725016"/>
            <a:ext cx="2424081" cy="4589723"/>
            <a:chOff x="2061631" y="1725016"/>
            <a:chExt cx="2424081" cy="4589723"/>
          </a:xfrm>
        </p:grpSpPr>
        <p:sp>
          <p:nvSpPr>
            <p:cNvPr id="131" name="Rectangle 130"/>
            <p:cNvSpPr/>
            <p:nvPr/>
          </p:nvSpPr>
          <p:spPr bwMode="auto">
            <a:xfrm>
              <a:off x="2231551" y="1725016"/>
              <a:ext cx="1771444" cy="4269544"/>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formation Management</a:t>
              </a:r>
            </a:p>
          </p:txBody>
        </p:sp>
        <p:sp>
          <p:nvSpPr>
            <p:cNvPr id="138" name="Rectangle 137"/>
            <p:cNvSpPr/>
            <p:nvPr/>
          </p:nvSpPr>
          <p:spPr>
            <a:xfrm>
              <a:off x="2768755" y="4117286"/>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Event Hubs</a:t>
              </a:r>
              <a:endParaRPr lang="en-US" sz="1122" kern="0">
                <a:solidFill>
                  <a:schemeClr val="bg1"/>
                </a:solidFill>
                <a:latin typeface="Segoe UI"/>
              </a:endParaRPr>
            </a:p>
          </p:txBody>
        </p:sp>
        <p:cxnSp>
          <p:nvCxnSpPr>
            <p:cNvPr id="146" name="Straight Connector 145"/>
            <p:cNvCxnSpPr/>
            <p:nvPr/>
          </p:nvCxnSpPr>
          <p:spPr>
            <a:xfrm>
              <a:off x="2061631" y="6222835"/>
              <a:ext cx="2424081"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47" name="Group 146"/>
            <p:cNvGrpSpPr/>
            <p:nvPr/>
          </p:nvGrpSpPr>
          <p:grpSpPr>
            <a:xfrm rot="13500000">
              <a:off x="4290311" y="6131063"/>
              <a:ext cx="185059" cy="182293"/>
              <a:chOff x="459235" y="5929704"/>
              <a:chExt cx="292608" cy="288235"/>
            </a:xfrm>
            <a:solidFill>
              <a:srgbClr val="FFFFFF">
                <a:lumMod val="85000"/>
              </a:srgbClr>
            </a:solidFill>
          </p:grpSpPr>
          <p:cxnSp>
            <p:nvCxnSpPr>
              <p:cNvPr id="148" name="Straight Connector 147"/>
              <p:cNvCxnSpPr/>
              <p:nvPr/>
            </p:nvCxnSpPr>
            <p:spPr>
              <a:xfrm>
                <a:off x="469386" y="5929704"/>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49" name="Straight Connector 148"/>
              <p:cNvCxnSpPr/>
              <p:nvPr/>
            </p:nvCxnSpPr>
            <p:spPr>
              <a:xfrm>
                <a:off x="459235" y="6205766"/>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sp>
          <p:nvSpPr>
            <p:cNvPr id="186" name="Rectangle 185"/>
            <p:cNvSpPr/>
            <p:nvPr/>
          </p:nvSpPr>
          <p:spPr>
            <a:xfrm>
              <a:off x="2767030" y="342861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Catalog</a:t>
              </a:r>
            </a:p>
          </p:txBody>
        </p:sp>
        <p:grpSp>
          <p:nvGrpSpPr>
            <p:cNvPr id="187" name="Group 186"/>
            <p:cNvGrpSpPr/>
            <p:nvPr/>
          </p:nvGrpSpPr>
          <p:grpSpPr>
            <a:xfrm>
              <a:off x="2386308" y="3279762"/>
              <a:ext cx="407544" cy="433524"/>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198" name="Rectangle 197"/>
            <p:cNvSpPr/>
            <p:nvPr/>
          </p:nvSpPr>
          <p:spPr>
            <a:xfrm>
              <a:off x="2775599" y="269855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Factory </a:t>
              </a:r>
              <a:endParaRPr lang="en-US" sz="1122" kern="0">
                <a:solidFill>
                  <a:schemeClr val="bg1"/>
                </a:solidFill>
                <a:latin typeface="Segoe UI"/>
              </a:endParaRPr>
            </a:p>
          </p:txBody>
        </p:sp>
        <p:sp>
          <p:nvSpPr>
            <p:cNvPr id="238" name="Freeform 237"/>
            <p:cNvSpPr/>
            <p:nvPr/>
          </p:nvSpPr>
          <p:spPr bwMode="auto">
            <a:xfrm>
              <a:off x="2382222" y="2550820"/>
              <a:ext cx="380255" cy="39959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sp>
          <p:nvSpPr>
            <p:cNvPr id="239" name="Freeform 238"/>
            <p:cNvSpPr/>
            <p:nvPr/>
          </p:nvSpPr>
          <p:spPr bwMode="auto">
            <a:xfrm>
              <a:off x="2402944" y="4057478"/>
              <a:ext cx="359197" cy="37588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34F37609-1561-4E0C-8948-6762942EF820}"/>
              </a:ext>
            </a:extLst>
          </p:cNvPr>
          <p:cNvGrpSpPr/>
          <p:nvPr/>
        </p:nvGrpSpPr>
        <p:grpSpPr>
          <a:xfrm>
            <a:off x="5172366" y="1725017"/>
            <a:ext cx="2845263" cy="4685550"/>
            <a:chOff x="5173173" y="1725017"/>
            <a:chExt cx="2845263" cy="4685550"/>
          </a:xfrm>
        </p:grpSpPr>
        <p:grpSp>
          <p:nvGrpSpPr>
            <p:cNvPr id="30" name="Group 29">
              <a:extLst>
                <a:ext uri="{FF2B5EF4-FFF2-40B4-BE49-F238E27FC236}">
                  <a16:creationId xmlns:a16="http://schemas.microsoft.com/office/drawing/2014/main" id="{BF885EE4-55A9-482C-BEED-884483882D77}"/>
                </a:ext>
              </a:extLst>
            </p:cNvPr>
            <p:cNvGrpSpPr/>
            <p:nvPr/>
          </p:nvGrpSpPr>
          <p:grpSpPr>
            <a:xfrm>
              <a:off x="6019975" y="1725017"/>
              <a:ext cx="1998461" cy="4269545"/>
              <a:chOff x="6019975" y="1725017"/>
              <a:chExt cx="1998461" cy="4269545"/>
            </a:xfrm>
          </p:grpSpPr>
          <p:sp>
            <p:nvSpPr>
              <p:cNvPr id="133" name="Rectangle 132"/>
              <p:cNvSpPr/>
              <p:nvPr/>
            </p:nvSpPr>
            <p:spPr bwMode="auto">
              <a:xfrm>
                <a:off x="6019975" y="1725017"/>
                <a:ext cx="1771443" cy="4269545"/>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Machine Learning and Analytics</a:t>
                </a:r>
              </a:p>
            </p:txBody>
          </p:sp>
          <p:sp>
            <p:nvSpPr>
              <p:cNvPr id="139" name="Rectangle 138"/>
              <p:cNvSpPr/>
              <p:nvPr/>
            </p:nvSpPr>
            <p:spPr>
              <a:xfrm>
                <a:off x="6724673" y="4039030"/>
                <a:ext cx="1293761" cy="61036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HDInsight </a:t>
                </a:r>
              </a:p>
              <a:p>
                <a:pPr defTabSz="932357">
                  <a:defRPr/>
                </a:pPr>
                <a:r>
                  <a:rPr lang="en-US" sz="1122" kern="0">
                    <a:solidFill>
                      <a:schemeClr val="bg1"/>
                    </a:solidFill>
                    <a:latin typeface="Segoe UI"/>
                    <a:cs typeface="Segoe UI Semilight" panose="020B0402040204020203" pitchFamily="34" charset="0"/>
                  </a:rPr>
                  <a:t>(Hadoop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and Spark)</a:t>
                </a:r>
              </a:p>
            </p:txBody>
          </p:sp>
          <p:sp>
            <p:nvSpPr>
              <p:cNvPr id="140" name="Rectangle 139"/>
              <p:cNvSpPr/>
              <p:nvPr/>
            </p:nvSpPr>
            <p:spPr>
              <a:xfrm>
                <a:off x="6724673" y="5003794"/>
                <a:ext cx="1293761"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tream </a:t>
                </a:r>
              </a:p>
              <a:p>
                <a:pPr defTabSz="932357">
                  <a:defRPr/>
                </a:pPr>
                <a:r>
                  <a:rPr lang="en-US" sz="1122" kern="0">
                    <a:solidFill>
                      <a:schemeClr val="bg1"/>
                    </a:solidFill>
                    <a:latin typeface="Segoe UI"/>
                    <a:cs typeface="Segoe UI Semilight" panose="020B0402040204020203" pitchFamily="34" charset="0"/>
                  </a:rPr>
                  <a:t>Analytics</a:t>
                </a:r>
              </a:p>
            </p:txBody>
          </p:sp>
          <p:sp>
            <p:nvSpPr>
              <p:cNvPr id="192" name="Rectangle 191"/>
              <p:cNvSpPr/>
              <p:nvPr/>
            </p:nvSpPr>
            <p:spPr>
              <a:xfrm>
                <a:off x="6724673" y="3275602"/>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 Analytics</a:t>
                </a:r>
              </a:p>
            </p:txBody>
          </p:sp>
          <p:sp>
            <p:nvSpPr>
              <p:cNvPr id="199" name="Rectangle 198"/>
              <p:cNvSpPr/>
              <p:nvPr/>
            </p:nvSpPr>
            <p:spPr>
              <a:xfrm>
                <a:off x="6724672" y="2526987"/>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Machine Learning</a:t>
                </a:r>
              </a:p>
            </p:txBody>
          </p:sp>
        </p:grpSp>
        <p:grpSp>
          <p:nvGrpSpPr>
            <p:cNvPr id="13" name="Group 12">
              <a:extLst>
                <a:ext uri="{FF2B5EF4-FFF2-40B4-BE49-F238E27FC236}">
                  <a16:creationId xmlns:a16="http://schemas.microsoft.com/office/drawing/2014/main" id="{CCB53651-F5C9-42F8-9FA9-108D4D8D54E3}"/>
                </a:ext>
              </a:extLst>
            </p:cNvPr>
            <p:cNvGrpSpPr/>
            <p:nvPr/>
          </p:nvGrpSpPr>
          <p:grpSpPr>
            <a:xfrm>
              <a:off x="5173173" y="2530074"/>
              <a:ext cx="1590180" cy="3880493"/>
              <a:chOff x="5173173" y="2530074"/>
              <a:chExt cx="1590180" cy="3880493"/>
            </a:xfrm>
          </p:grpSpPr>
          <p:sp>
            <p:nvSpPr>
              <p:cNvPr id="145" name="Rectangle 144"/>
              <p:cNvSpPr/>
              <p:nvPr/>
            </p:nvSpPr>
            <p:spPr>
              <a:xfrm>
                <a:off x="5173173" y="6033861"/>
                <a:ext cx="1590180" cy="376706"/>
              </a:xfrm>
              <a:prstGeom prst="rect">
                <a:avLst/>
              </a:prstGeom>
            </p:spPr>
            <p:txBody>
              <a:bodyPr wrap="none" lIns="0" tIns="0" rIns="0" bIns="0" anchor="ctr">
                <a:spAutoFit/>
              </a:bodyPr>
              <a:lstStyle/>
              <a:p>
                <a:pPr algn="ctr" defTabSz="739250">
                  <a:spcBef>
                    <a:spcPct val="0"/>
                  </a:spcBef>
                  <a:spcAft>
                    <a:spcPct val="35000"/>
                  </a:spcAft>
                  <a:defRPr/>
                </a:pPr>
                <a:r>
                  <a:rPr lang="en-US" sz="2448" kern="0">
                    <a:latin typeface="Segoe UI"/>
                  </a:rPr>
                  <a:t>Intelligence</a:t>
                </a:r>
                <a:endParaRPr lang="en-US" sz="1836" b="1" kern="0" spc="-31">
                  <a:latin typeface="Segoe UI"/>
                  <a:cs typeface="Segoe UI Semilight" panose="020B0402040204020203" pitchFamily="34" charset="0"/>
                </a:endParaRPr>
              </a:p>
            </p:txBody>
          </p:sp>
          <p:grpSp>
            <p:nvGrpSpPr>
              <p:cNvPr id="193" name="Group 192"/>
              <p:cNvGrpSpPr/>
              <p:nvPr/>
            </p:nvGrpSpPr>
            <p:grpSpPr>
              <a:xfrm>
                <a:off x="6219906" y="3246348"/>
                <a:ext cx="381275" cy="498749"/>
                <a:chOff x="3473450" y="4579938"/>
                <a:chExt cx="1741488" cy="2278062"/>
              </a:xfrm>
              <a:solidFill>
                <a:srgbClr val="FFFFFF"/>
              </a:solidFill>
            </p:grpSpPr>
            <p:sp>
              <p:nvSpPr>
                <p:cNvPr id="194"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5"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232" name="Group 231"/>
              <p:cNvGrpSpPr/>
              <p:nvPr/>
            </p:nvGrpSpPr>
            <p:grpSpPr>
              <a:xfrm>
                <a:off x="6102722" y="5006159"/>
                <a:ext cx="538345" cy="413551"/>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grpSp>
          <p:sp>
            <p:nvSpPr>
              <p:cNvPr id="237" name="Freeform 236"/>
              <p:cNvSpPr>
                <a:spLocks/>
              </p:cNvSpPr>
              <p:nvPr/>
            </p:nvSpPr>
            <p:spPr bwMode="auto">
              <a:xfrm>
                <a:off x="6164528" y="4203764"/>
                <a:ext cx="485757" cy="3675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3233" tIns="46617" rIns="93233" bIns="46617" numCol="1" anchor="t" anchorCtr="0" compatLnSpc="1">
                <a:prstTxWarp prst="textNoShape">
                  <a:avLst/>
                </a:prstTxWarp>
              </a:bodyPr>
              <a:lstStyle/>
              <a:p>
                <a:pPr defTabSz="932357">
                  <a:defRPr/>
                </a:pPr>
                <a:endParaRPr lang="en-US" sz="1632" kern="0">
                  <a:latin typeface="Segoe UI"/>
                </a:endParaRPr>
              </a:p>
            </p:txBody>
          </p:sp>
          <p:sp>
            <p:nvSpPr>
              <p:cNvPr id="240" name="Freeform 239"/>
              <p:cNvSpPr/>
              <p:nvPr/>
            </p:nvSpPr>
            <p:spPr bwMode="auto">
              <a:xfrm flipH="1">
                <a:off x="6216407" y="2530074"/>
                <a:ext cx="388274" cy="41089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grpSp>
        <p:nvGrpSpPr>
          <p:cNvPr id="4" name="Group 3"/>
          <p:cNvGrpSpPr/>
          <p:nvPr/>
        </p:nvGrpSpPr>
        <p:grpSpPr>
          <a:xfrm>
            <a:off x="4125762" y="1725015"/>
            <a:ext cx="2105877" cy="4269545"/>
            <a:chOff x="4043785" y="1657049"/>
            <a:chExt cx="2065359" cy="4187396"/>
          </a:xfrm>
        </p:grpSpPr>
        <p:sp>
          <p:nvSpPr>
            <p:cNvPr id="132" name="Rectangle 131"/>
            <p:cNvSpPr/>
            <p:nvPr/>
          </p:nvSpPr>
          <p:spPr bwMode="auto">
            <a:xfrm>
              <a:off x="4043785" y="1657049"/>
              <a:ext cx="1737360" cy="4187396"/>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Big Data Stores</a:t>
              </a:r>
            </a:p>
          </p:txBody>
        </p:sp>
        <p:sp>
          <p:nvSpPr>
            <p:cNvPr id="185" name="Rectangle 184"/>
            <p:cNvSpPr/>
            <p:nvPr/>
          </p:nvSpPr>
          <p:spPr>
            <a:xfrm>
              <a:off x="4838128" y="3499681"/>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QL Data </a:t>
              </a:r>
            </a:p>
            <a:p>
              <a:pPr defTabSz="932357">
                <a:defRPr/>
              </a:pPr>
              <a:r>
                <a:rPr lang="en-US" sz="1122" kern="0">
                  <a:solidFill>
                    <a:schemeClr val="bg1"/>
                  </a:solidFill>
                  <a:latin typeface="Segoe UI"/>
                  <a:cs typeface="Segoe UI Semilight" panose="020B0402040204020203" pitchFamily="34" charset="0"/>
                </a:rPr>
                <a:t>Warehouse</a:t>
              </a:r>
            </a:p>
          </p:txBody>
        </p:sp>
        <p:sp>
          <p:nvSpPr>
            <p:cNvPr id="200" name="Rectangle 199"/>
            <p:cNvSpPr/>
            <p:nvPr/>
          </p:nvSpPr>
          <p:spPr>
            <a:xfrm>
              <a:off x="4838127" y="2458883"/>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a:t>
              </a:r>
            </a:p>
            <a:p>
              <a:pPr defTabSz="932357">
                <a:defRPr/>
              </a:pPr>
              <a:r>
                <a:rPr lang="en-US" sz="1122" kern="0">
                  <a:solidFill>
                    <a:schemeClr val="bg1"/>
                  </a:solidFill>
                  <a:latin typeface="Segoe UI"/>
                  <a:cs typeface="Segoe UI Semilight" panose="020B0402040204020203" pitchFamily="34" charset="0"/>
                </a:rPr>
                <a:t>Store</a:t>
              </a:r>
            </a:p>
          </p:txBody>
        </p:sp>
        <p:grpSp>
          <p:nvGrpSpPr>
            <p:cNvPr id="201" name="Group 200"/>
            <p:cNvGrpSpPr/>
            <p:nvPr/>
          </p:nvGrpSpPr>
          <p:grpSpPr>
            <a:xfrm>
              <a:off x="4215995" y="2562311"/>
              <a:ext cx="196830" cy="206932"/>
              <a:chOff x="4106551" y="3401141"/>
              <a:chExt cx="254631" cy="267699"/>
            </a:xfrm>
          </p:grpSpPr>
          <p:sp>
            <p:nvSpPr>
              <p:cNvPr id="204" name="Rectangle 203"/>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5" name="Rectangle 204"/>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6" name="Oval 205"/>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7" name="Oval 206"/>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8" name="Rectangle 207"/>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9" name="Rectangle 208"/>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0" name="Oval 209"/>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1" name="Oval 210"/>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2" name="Rectangle 211"/>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3" name="Rectangle 212"/>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4" name="Oval 213"/>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5" name="Oval 214"/>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6" name="Rectangle 215"/>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7" name="Rectangle 216"/>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8" name="Oval 217"/>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9" name="Oval 218"/>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grpSp>
      </p:grpSp>
      <p:pic>
        <p:nvPicPr>
          <p:cNvPr id="10" name="Graphic 9">
            <a:extLst>
              <a:ext uri="{FF2B5EF4-FFF2-40B4-BE49-F238E27FC236}">
                <a16:creationId xmlns:a16="http://schemas.microsoft.com/office/drawing/2014/main" id="{00DC0E24-48B2-4809-9F01-041ED22EF0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33782" y="5314857"/>
            <a:ext cx="462146" cy="487469"/>
          </a:xfrm>
          <a:prstGeom prst="rect">
            <a:avLst/>
          </a:prstGeom>
        </p:spPr>
      </p:pic>
      <p:pic>
        <p:nvPicPr>
          <p:cNvPr id="17" name="Graphic 16">
            <a:extLst>
              <a:ext uri="{FF2B5EF4-FFF2-40B4-BE49-F238E27FC236}">
                <a16:creationId xmlns:a16="http://schemas.microsoft.com/office/drawing/2014/main" id="{104E327A-B1EB-48F9-96AA-ABCCABB9B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9735" y="2507082"/>
            <a:ext cx="473182" cy="473182"/>
          </a:xfrm>
          <a:prstGeom prst="rect">
            <a:avLst/>
          </a:prstGeom>
        </p:spPr>
      </p:pic>
      <p:pic>
        <p:nvPicPr>
          <p:cNvPr id="19" name="Graphic 18">
            <a:extLst>
              <a:ext uri="{FF2B5EF4-FFF2-40B4-BE49-F238E27FC236}">
                <a16:creationId xmlns:a16="http://schemas.microsoft.com/office/drawing/2014/main" id="{5788BB0F-A777-45FE-A467-26AADAB977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9326" y="3497477"/>
            <a:ext cx="589306" cy="571266"/>
          </a:xfrm>
          <a:prstGeom prst="rect">
            <a:avLst/>
          </a:prstGeom>
        </p:spPr>
      </p:pic>
      <p:pic>
        <p:nvPicPr>
          <p:cNvPr id="21" name="Graphic 20">
            <a:extLst>
              <a:ext uri="{FF2B5EF4-FFF2-40B4-BE49-F238E27FC236}">
                <a16:creationId xmlns:a16="http://schemas.microsoft.com/office/drawing/2014/main" id="{24F58A51-C72A-4F59-B37A-B76C428957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98161" y="4722257"/>
            <a:ext cx="359181" cy="359181"/>
          </a:xfrm>
          <a:prstGeom prst="rect">
            <a:avLst/>
          </a:prstGeom>
        </p:spPr>
      </p:pic>
      <p:sp>
        <p:nvSpPr>
          <p:cNvPr id="191" name="Rectangle 190">
            <a:extLst>
              <a:ext uri="{FF2B5EF4-FFF2-40B4-BE49-F238E27FC236}">
                <a16:creationId xmlns:a16="http://schemas.microsoft.com/office/drawing/2014/main" id="{0FDCEAA9-8241-4710-B7E6-78829ACB814F}"/>
              </a:ext>
            </a:extLst>
          </p:cNvPr>
          <p:cNvSpPr/>
          <p:nvPr/>
        </p:nvSpPr>
        <p:spPr>
          <a:xfrm>
            <a:off x="2768102" y="4734503"/>
            <a:ext cx="1295950" cy="265009"/>
          </a:xfrm>
          <a:prstGeom prst="rect">
            <a:avLst/>
          </a:prstGeom>
        </p:spPr>
        <p:txBody>
          <a:bodyPr wrap="square">
            <a:spAutoFit/>
          </a:bodyPr>
          <a:lstStyle/>
          <a:p>
            <a:pPr defTabSz="932357">
              <a:defRPr/>
            </a:pPr>
            <a:r>
              <a:rPr lang="en-US" sz="1122" kern="0" err="1">
                <a:solidFill>
                  <a:schemeClr val="bg1"/>
                </a:solidFill>
                <a:latin typeface="Segoe UI"/>
                <a:cs typeface="Segoe UI Semilight" panose="020B0402040204020203" pitchFamily="34" charset="0"/>
              </a:rPr>
              <a:t>IoT</a:t>
            </a:r>
            <a:r>
              <a:rPr lang="en-US" sz="1122" kern="0">
                <a:solidFill>
                  <a:schemeClr val="bg1"/>
                </a:solidFill>
                <a:latin typeface="Segoe UI"/>
                <a:cs typeface="Segoe UI Semilight" panose="020B0402040204020203" pitchFamily="34" charset="0"/>
              </a:rPr>
              <a:t> Hubs</a:t>
            </a:r>
            <a:endParaRPr lang="en-US" sz="1122" kern="0">
              <a:solidFill>
                <a:schemeClr val="bg1"/>
              </a:solidFill>
              <a:latin typeface="Segoe UI"/>
            </a:endParaRPr>
          </a:p>
        </p:txBody>
      </p:sp>
      <p:grpSp>
        <p:nvGrpSpPr>
          <p:cNvPr id="28" name="Group 27">
            <a:extLst>
              <a:ext uri="{FF2B5EF4-FFF2-40B4-BE49-F238E27FC236}">
                <a16:creationId xmlns:a16="http://schemas.microsoft.com/office/drawing/2014/main" id="{147A9DD8-2F11-4375-8A99-2043C8BA6C88}"/>
              </a:ext>
            </a:extLst>
          </p:cNvPr>
          <p:cNvGrpSpPr/>
          <p:nvPr/>
        </p:nvGrpSpPr>
        <p:grpSpPr>
          <a:xfrm>
            <a:off x="433611" y="1734342"/>
            <a:ext cx="1966594" cy="4651594"/>
            <a:chOff x="433611" y="1734342"/>
            <a:chExt cx="1966594" cy="4651594"/>
          </a:xfrm>
        </p:grpSpPr>
        <p:grpSp>
          <p:nvGrpSpPr>
            <p:cNvPr id="3" name="Group 2"/>
            <p:cNvGrpSpPr/>
            <p:nvPr/>
          </p:nvGrpSpPr>
          <p:grpSpPr>
            <a:xfrm>
              <a:off x="545612" y="1734342"/>
              <a:ext cx="1854593" cy="4651594"/>
              <a:chOff x="532519" y="1666194"/>
              <a:chExt cx="1818910" cy="4562093"/>
            </a:xfrm>
          </p:grpSpPr>
          <p:sp>
            <p:nvSpPr>
              <p:cNvPr id="141" name="TextBox 140"/>
              <p:cNvSpPr txBox="1"/>
              <p:nvPr/>
            </p:nvSpPr>
            <p:spPr>
              <a:xfrm>
                <a:off x="1261370" y="1927965"/>
                <a:ext cx="1090059" cy="563250"/>
              </a:xfrm>
              <a:prstGeom prst="rect">
                <a:avLst/>
              </a:prstGeom>
              <a:noFill/>
            </p:spPr>
            <p:txBody>
              <a:bodyPr wrap="square" lIns="0" tIns="149153" rIns="186442" bIns="149153" rtlCol="0">
                <a:noAutofit/>
              </a:bodyPr>
              <a:lstStyle/>
              <a:p>
                <a:pPr defTabSz="950876">
                  <a:lnSpc>
                    <a:spcPct val="90000"/>
                  </a:lnSpc>
                  <a:spcAft>
                    <a:spcPts val="612"/>
                  </a:spcAft>
                  <a:defRPr/>
                </a:pPr>
                <a:r>
                  <a:rPr lang="en-US" sz="1224" kern="0" spc="-31">
                    <a:latin typeface="Segoe UI"/>
                    <a:cs typeface="Segoe UI Semilight" panose="020B0402040204020203" pitchFamily="34" charset="0"/>
                  </a:rPr>
                  <a:t>Data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sp>
            <p:nvSpPr>
              <p:cNvPr id="143" name="TextBox 142"/>
              <p:cNvSpPr txBox="1"/>
              <p:nvPr/>
            </p:nvSpPr>
            <p:spPr>
              <a:xfrm>
                <a:off x="1211554" y="4995093"/>
                <a:ext cx="974964" cy="616531"/>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Sensors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amp; devices</a:t>
                </a:r>
              </a:p>
            </p:txBody>
          </p:sp>
          <p:sp>
            <p:nvSpPr>
              <p:cNvPr id="144" name="Rectangle 143"/>
              <p:cNvSpPr/>
              <p:nvPr/>
            </p:nvSpPr>
            <p:spPr>
              <a:xfrm>
                <a:off x="813890" y="5907143"/>
                <a:ext cx="933597" cy="321144"/>
              </a:xfrm>
              <a:prstGeom prst="rect">
                <a:avLst/>
              </a:prstGeom>
            </p:spPr>
            <p:txBody>
              <a:bodyPr wrap="none" lIns="0" tIns="0" rIns="0" bIns="0" anchor="ctr">
                <a:noAutofit/>
              </a:bodyPr>
              <a:lstStyle/>
              <a:p>
                <a:pPr defTabSz="932357">
                  <a:lnSpc>
                    <a:spcPct val="90000"/>
                  </a:lnSpc>
                  <a:defRPr/>
                </a:pPr>
                <a:r>
                  <a:rPr lang="en-US" sz="2448" kern="0">
                    <a:latin typeface="Segoe UI"/>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632" kern="0">
                  <a:latin typeface="Segoe UI"/>
                </a:endParaRPr>
              </a:p>
            </p:txBody>
          </p:sp>
        </p:grpSp>
        <p:pic>
          <p:nvPicPr>
            <p:cNvPr id="27" name="Graphic 26">
              <a:extLst>
                <a:ext uri="{FF2B5EF4-FFF2-40B4-BE49-F238E27FC236}">
                  <a16:creationId xmlns:a16="http://schemas.microsoft.com/office/drawing/2014/main" id="{F78CA0C8-7540-4172-90B2-F84BF315BE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3611" y="2018117"/>
              <a:ext cx="595734" cy="595734"/>
            </a:xfrm>
            <a:prstGeom prst="rect">
              <a:avLst/>
            </a:prstGeom>
          </p:spPr>
        </p:pic>
      </p:grpSp>
      <p:grpSp>
        <p:nvGrpSpPr>
          <p:cNvPr id="261" name="Group 260">
            <a:extLst>
              <a:ext uri="{FF2B5EF4-FFF2-40B4-BE49-F238E27FC236}">
                <a16:creationId xmlns:a16="http://schemas.microsoft.com/office/drawing/2014/main" id="{07D62FF0-C989-44F9-91FA-D648D5144F86}"/>
              </a:ext>
            </a:extLst>
          </p:cNvPr>
          <p:cNvGrpSpPr/>
          <p:nvPr/>
        </p:nvGrpSpPr>
        <p:grpSpPr>
          <a:xfrm>
            <a:off x="7475086" y="1725015"/>
            <a:ext cx="2618105" cy="4589725"/>
            <a:chOff x="7475893" y="1725015"/>
            <a:chExt cx="2618105" cy="4589725"/>
          </a:xfrm>
        </p:grpSpPr>
        <p:grpSp>
          <p:nvGrpSpPr>
            <p:cNvPr id="258" name="Group 257">
              <a:extLst>
                <a:ext uri="{FF2B5EF4-FFF2-40B4-BE49-F238E27FC236}">
                  <a16:creationId xmlns:a16="http://schemas.microsoft.com/office/drawing/2014/main" id="{4F70C85A-9528-4C5D-B661-3DFCEA23070E}"/>
                </a:ext>
              </a:extLst>
            </p:cNvPr>
            <p:cNvGrpSpPr/>
            <p:nvPr/>
          </p:nvGrpSpPr>
          <p:grpSpPr>
            <a:xfrm>
              <a:off x="7475893" y="1725015"/>
              <a:ext cx="2618105" cy="4589725"/>
              <a:chOff x="7475893" y="1725015"/>
              <a:chExt cx="2618105" cy="4589725"/>
            </a:xfrm>
          </p:grpSpPr>
          <p:grpSp>
            <p:nvGrpSpPr>
              <p:cNvPr id="6" name="Group 5"/>
              <p:cNvGrpSpPr/>
              <p:nvPr/>
            </p:nvGrpSpPr>
            <p:grpSpPr>
              <a:xfrm>
                <a:off x="7475893" y="1725015"/>
                <a:ext cx="2618105" cy="4589725"/>
                <a:chOff x="7329456" y="1657048"/>
                <a:chExt cx="2567731" cy="4501416"/>
              </a:xfrm>
            </p:grpSpPr>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Dashboards &amp; Visualizations</a:t>
                  </a:r>
                </a:p>
              </p:txBody>
            </p:sp>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telligence</a:t>
                  </a:r>
                </a:p>
              </p:txBody>
            </p:sp>
            <p:sp>
              <p:nvSpPr>
                <p:cNvPr id="134" name="Rectangle 133"/>
                <p:cNvSpPr/>
                <p:nvPr/>
              </p:nvSpPr>
              <p:spPr>
                <a:xfrm>
                  <a:off x="8499498" y="3886224"/>
                  <a:ext cx="1268871"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Cortana</a:t>
                  </a:r>
                </a:p>
              </p:txBody>
            </p:sp>
            <p:grpSp>
              <p:nvGrpSpPr>
                <p:cNvPr id="135" name="Group 134"/>
                <p:cNvGrpSpPr/>
                <p:nvPr/>
              </p:nvGrpSpPr>
              <p:grpSpPr>
                <a:xfrm>
                  <a:off x="7886100" y="3857296"/>
                  <a:ext cx="385370" cy="385370"/>
                  <a:chOff x="3236100" y="3476092"/>
                  <a:chExt cx="6884870" cy="6884839"/>
                </a:xfrm>
              </p:grpSpPr>
              <p:sp>
                <p:nvSpPr>
                  <p:cNvPr id="136" name="Freeform 135"/>
                  <p:cNvSpPr/>
                  <p:nvPr/>
                </p:nvSpPr>
                <p:spPr bwMode="auto">
                  <a:xfrm>
                    <a:off x="3236100" y="3476092"/>
                    <a:ext cx="6884870" cy="6884839"/>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sp>
                <p:nvSpPr>
                  <p:cNvPr id="137" name="Freeform 136"/>
                  <p:cNvSpPr/>
                  <p:nvPr/>
                </p:nvSpPr>
                <p:spPr bwMode="auto">
                  <a:xfrm>
                    <a:off x="3698520" y="3938512"/>
                    <a:ext cx="5959733" cy="5959739"/>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grpSp>
            <p:cxnSp>
              <p:nvCxnSpPr>
                <p:cNvPr id="150" name="Straight Connector 149"/>
                <p:cNvCxnSpPr/>
                <p:nvPr/>
              </p:nvCxnSpPr>
              <p:spPr>
                <a:xfrm>
                  <a:off x="7329456" y="6068327"/>
                  <a:ext cx="2377440"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51" name="Group 150"/>
                <p:cNvGrpSpPr/>
                <p:nvPr/>
              </p:nvGrpSpPr>
              <p:grpSpPr>
                <a:xfrm rot="13500000">
                  <a:off x="9515255" y="5978322"/>
                  <a:ext cx="181498" cy="178786"/>
                  <a:chOff x="459235" y="5929706"/>
                  <a:chExt cx="292608" cy="288235"/>
                </a:xfrm>
                <a:solidFill>
                  <a:srgbClr val="FFFFFF">
                    <a:lumMod val="85000"/>
                  </a:srgbClr>
                </a:solidFill>
              </p:grpSpPr>
              <p:cxnSp>
                <p:nvCxnSpPr>
                  <p:cNvPr id="152" name="Straight Connector 151"/>
                  <p:cNvCxnSpPr/>
                  <p:nvPr/>
                </p:nvCxnSpPr>
                <p:spPr>
                  <a:xfrm>
                    <a:off x="469386" y="5929706"/>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53" name="Straight Connector 152"/>
                  <p:cNvCxnSpPr/>
                  <p:nvPr/>
                </p:nvCxnSpPr>
                <p:spPr>
                  <a:xfrm>
                    <a:off x="459235" y="620576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499498" y="3127653"/>
                  <a:ext cx="1268871" cy="429263"/>
                </a:xfrm>
                <a:prstGeom prst="rect">
                  <a:avLst/>
                </a:prstGeom>
              </p:spPr>
              <p:txBody>
                <a:bodyPr wrap="square" anchor="ctr">
                  <a:spAutoFit/>
                </a:bodyPr>
                <a:lstStyle/>
                <a:p>
                  <a:pPr defTabSz="932357">
                    <a:defRPr/>
                  </a:pPr>
                  <a:r>
                    <a:rPr lang="en-US" sz="1122" kern="0">
                      <a:solidFill>
                        <a:schemeClr val="bg1"/>
                      </a:solidFill>
                      <a:latin typeface="Segoe UI"/>
                      <a:cs typeface="Segoe UI Semilight" panose="020B0402040204020203" pitchFamily="34" charset="0"/>
                    </a:rPr>
                    <a:t>Bot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Framework</a:t>
                  </a:r>
                </a:p>
              </p:txBody>
            </p:sp>
            <p:sp>
              <p:nvSpPr>
                <p:cNvPr id="220" name="Rectangle 219"/>
                <p:cNvSpPr/>
                <p:nvPr/>
              </p:nvSpPr>
              <p:spPr>
                <a:xfrm>
                  <a:off x="8502368" y="2443589"/>
                  <a:ext cx="1268871" cy="429263"/>
                </a:xfrm>
                <a:prstGeom prst="rect">
                  <a:avLst/>
                </a:prstGeom>
              </p:spPr>
              <p:txBody>
                <a:bodyPr wrap="square">
                  <a:spAutoFit/>
                </a:bodyPr>
                <a:lstStyle/>
                <a:p>
                  <a:pPr defTabSz="932357">
                    <a:defRPr/>
                  </a:pPr>
                  <a:r>
                    <a:rPr lang="en-US" sz="1122" kern="0" dirty="0">
                      <a:solidFill>
                        <a:schemeClr val="bg1"/>
                      </a:solidFill>
                      <a:latin typeface="Segoe UI"/>
                      <a:cs typeface="Segoe UI Semilight" panose="020B0402040204020203" pitchFamily="34" charset="0"/>
                    </a:rPr>
                    <a:t>Cognitive Services</a:t>
                  </a:r>
                </a:p>
              </p:txBody>
            </p:sp>
            <p:sp>
              <p:nvSpPr>
                <p:cNvPr id="223" name="Freeform 109"/>
                <p:cNvSpPr>
                  <a:spLocks/>
                </p:cNvSpPr>
                <p:nvPr/>
              </p:nvSpPr>
              <p:spPr bwMode="auto">
                <a:xfrm>
                  <a:off x="7944134" y="2601011"/>
                  <a:ext cx="148270" cy="149377"/>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24" name="Rectangle 223"/>
                <p:cNvSpPr/>
                <p:nvPr/>
              </p:nvSpPr>
              <p:spPr>
                <a:xfrm>
                  <a:off x="8482296" y="5298015"/>
                  <a:ext cx="1271017"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Power BI</a:t>
                  </a:r>
                </a:p>
              </p:txBody>
            </p:sp>
            <p:sp>
              <p:nvSpPr>
                <p:cNvPr id="231" name="Freeform 230"/>
                <p:cNvSpPr/>
                <p:nvPr/>
              </p:nvSpPr>
              <p:spPr bwMode="auto">
                <a:xfrm>
                  <a:off x="7886492" y="3210001"/>
                  <a:ext cx="472750" cy="31285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pic>
            <p:nvPicPr>
              <p:cNvPr id="12" name="Graphic 11">
                <a:extLst>
                  <a:ext uri="{FF2B5EF4-FFF2-40B4-BE49-F238E27FC236}">
                    <a16:creationId xmlns:a16="http://schemas.microsoft.com/office/drawing/2014/main" id="{C7F6CD21-B079-4086-9996-0561D96205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25713" y="2455613"/>
                <a:ext cx="552258" cy="552258"/>
              </a:xfrm>
              <a:prstGeom prst="rect">
                <a:avLst/>
              </a:prstGeom>
            </p:spPr>
          </p:pic>
        </p:grpSp>
        <p:pic>
          <p:nvPicPr>
            <p:cNvPr id="260" name="Graphic 259">
              <a:extLst>
                <a:ext uri="{FF2B5EF4-FFF2-40B4-BE49-F238E27FC236}">
                  <a16:creationId xmlns:a16="http://schemas.microsoft.com/office/drawing/2014/main" id="{5A4E6C27-DE64-4AE0-9032-9B580F16C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762" y="5283911"/>
              <a:ext cx="492186" cy="519155"/>
            </a:xfrm>
            <a:prstGeom prst="rect">
              <a:avLst/>
            </a:prstGeom>
          </p:spPr>
        </p:pic>
      </p:grpSp>
    </p:spTree>
    <p:extLst>
      <p:ext uri="{BB962C8B-B14F-4D97-AF65-F5344CB8AC3E}">
        <p14:creationId xmlns:p14="http://schemas.microsoft.com/office/powerpoint/2010/main" val="40844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1"/>
                                        </p:tgtEl>
                                        <p:attrNameLst>
                                          <p:attrName>style.visibility</p:attrName>
                                        </p:attrNameLst>
                                      </p:cBhvr>
                                      <p:to>
                                        <p:strVal val="visible"/>
                                      </p:to>
                                    </p:set>
                                    <p:animEffect transition="in" filter="fade">
                                      <p:cBhvr>
                                        <p:cTn id="27" dur="500"/>
                                        <p:tgtEl>
                                          <p:spTgt spid="26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361412" y="1871606"/>
            <a:ext cx="2655234"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Business Connectivity</a:t>
            </a:r>
            <a:endParaRPr kumimoji="0" lang="en-US" sz="1224" b="0" i="0" u="none" strike="noStrike" kern="0" cap="none" spc="0" normalizeH="0" baseline="0" noProof="0">
              <a:ln>
                <a:noFill/>
              </a:ln>
              <a:solidFill>
                <a:schemeClr val="bg1"/>
              </a:solidFill>
              <a:effectLst/>
              <a:uLnTx/>
              <a:uFillTx/>
            </a:endParaRPr>
          </a:p>
        </p:txBody>
      </p:sp>
      <p:sp>
        <p:nvSpPr>
          <p:cNvPr id="74" name="Rectangle 73"/>
          <p:cNvSpPr/>
          <p:nvPr/>
        </p:nvSpPr>
        <p:spPr bwMode="auto">
          <a:xfrm>
            <a:off x="4971926" y="1871605"/>
            <a:ext cx="4092180" cy="34721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Data Processing, Analytics and Management</a:t>
            </a:r>
          </a:p>
        </p:txBody>
      </p:sp>
      <p:sp>
        <p:nvSpPr>
          <p:cNvPr id="76" name="Rectangle 75"/>
          <p:cNvSpPr/>
          <p:nvPr/>
        </p:nvSpPr>
        <p:spPr bwMode="auto">
          <a:xfrm>
            <a:off x="603069" y="1871605"/>
            <a:ext cx="4063525"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pPr>
            <a:r>
              <a:rPr lang="en-US" sz="1428" kern="0">
                <a:solidFill>
                  <a:schemeClr val="bg1"/>
                </a:solidFill>
              </a:rPr>
              <a:t>Device Connectivity and Management</a:t>
            </a:r>
          </a:p>
        </p:txBody>
      </p:sp>
      <p:grpSp>
        <p:nvGrpSpPr>
          <p:cNvPr id="109" name="Group 108"/>
          <p:cNvGrpSpPr/>
          <p:nvPr/>
        </p:nvGrpSpPr>
        <p:grpSpPr>
          <a:xfrm>
            <a:off x="614428" y="4707698"/>
            <a:ext cx="1237582" cy="952473"/>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Low power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31" name="Group 130"/>
          <p:cNvGrpSpPr/>
          <p:nvPr/>
        </p:nvGrpSpPr>
        <p:grpSpPr>
          <a:xfrm>
            <a:off x="614105" y="3602027"/>
            <a:ext cx="1237582" cy="952473"/>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Existing </a:t>
              </a:r>
              <a:r>
                <a:rPr kumimoji="0" lang="en-US" sz="1122" b="0" i="0" u="none" strike="noStrike" kern="0" cap="none" spc="0" normalizeH="0" baseline="0" noProof="0" err="1">
                  <a:ln>
                    <a:noFill/>
                  </a:ln>
                  <a:solidFill>
                    <a:sysClr val="windowText" lastClr="000000"/>
                  </a:solidFill>
                  <a:effectLst/>
                  <a:uLnTx/>
                  <a:uFillTx/>
                  <a:cs typeface="Arial" panose="020B0604020202020204" pitchFamily="34" charset="0"/>
                </a:rPr>
                <a:t>IoT</a:t>
              </a: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sp>
        <p:nvSpPr>
          <p:cNvPr id="136" name="Oval 13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7" name="Oval 136"/>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8" name="Rectangle 137"/>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black"/>
              </a:solidFill>
              <a:effectLst/>
              <a:uLnTx/>
              <a:uFillTx/>
              <a:cs typeface="Arial" panose="020B0604020202020204" pitchFamily="34" charset="0"/>
            </a:endParaRPr>
          </a:p>
        </p:txBody>
      </p:sp>
      <p:sp>
        <p:nvSpPr>
          <p:cNvPr id="139" name="Rectangle 138"/>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olution UX</a:t>
            </a:r>
          </a:p>
        </p:txBody>
      </p:sp>
      <p:sp>
        <p:nvSpPr>
          <p:cNvPr id="140" name="Rectangle 139"/>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Provisioning API</a:t>
            </a:r>
          </a:p>
        </p:txBody>
      </p:sp>
      <p:sp>
        <p:nvSpPr>
          <p:cNvPr id="141" name="Rectangle 140"/>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ream Processors</a:t>
            </a:r>
          </a:p>
        </p:txBody>
      </p:sp>
      <p:sp>
        <p:nvSpPr>
          <p:cNvPr id="146" name="Rectangle 14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nalytics &amp;</a:t>
            </a:r>
            <a:b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b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Business Integration Connectors and Gateway(s)</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49" name="L-Shape 14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State Store</a:t>
            </a:r>
          </a:p>
        </p:txBody>
      </p:sp>
      <p:sp>
        <p:nvSpPr>
          <p:cNvPr id="150" name="Rectangle 14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effectLst/>
                <a:uLnTx/>
                <a:uFillTx/>
                <a:cs typeface="Arial" panose="020B0604020202020204" pitchFamily="34" charset="0"/>
              </a:rPr>
              <a:t>Gateway</a:t>
            </a:r>
            <a:br>
              <a:rPr kumimoji="0" lang="en-US" sz="1224" b="0" i="0" u="none" strike="noStrike" kern="0" cap="none" spc="0" normalizeH="0" baseline="0" noProof="0">
                <a:ln>
                  <a:noFill/>
                </a:ln>
                <a:effectLst/>
                <a:uLnTx/>
                <a:uFillTx/>
                <a:cs typeface="Arial" panose="020B0604020202020204" pitchFamily="34" charset="0"/>
              </a:rPr>
            </a:br>
            <a:endParaRPr kumimoji="0" lang="en-US" sz="1224" b="0" i="0" u="none" strike="noStrike" kern="0" cap="none" spc="0" normalizeH="0" baseline="0" noProof="0">
              <a:ln>
                <a:noFill/>
              </a:ln>
              <a:effectLst/>
              <a:uLnTx/>
              <a:uFillTx/>
              <a:cs typeface="Arial" panose="020B0604020202020204" pitchFamily="34" charset="0"/>
            </a:endParaRPr>
          </a:p>
        </p:txBody>
      </p:sp>
      <p:sp>
        <p:nvSpPr>
          <p:cNvPr id="151" name="Rectangle 15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Cloud Gateway</a:t>
            </a: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IoT</a:t>
            </a: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Hub</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Event</a:t>
            </a: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Hub</a:t>
            </a:r>
          </a:p>
        </p:txBody>
      </p:sp>
      <p:cxnSp>
        <p:nvCxnSpPr>
          <p:cNvPr id="157" name="Elbow Connector 156"/>
          <p:cNvCxnSpPr>
            <a:endCxn id="15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70476" y="4721398"/>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nvGrpSpPr>
          <p:cNvPr id="169" name="Group 168"/>
          <p:cNvGrpSpPr/>
          <p:nvPr/>
        </p:nvGrpSpPr>
        <p:grpSpPr>
          <a:xfrm>
            <a:off x="10795282" y="2577195"/>
            <a:ext cx="1237582" cy="952473"/>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Personal mobile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73" name="Group 172"/>
          <p:cNvGrpSpPr/>
          <p:nvPr/>
        </p:nvGrpSpPr>
        <p:grpSpPr>
          <a:xfrm>
            <a:off x="612602" y="2414216"/>
            <a:ext cx="1237582" cy="952473"/>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IP capable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787732" y="4416752"/>
            <a:ext cx="1237582" cy="952473"/>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Business system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cxnSp>
        <p:nvCxnSpPr>
          <p:cNvPr id="184" name="Straight Arrow Connector 18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4057428" y="4774860"/>
            <a:ext cx="418112" cy="445471"/>
          </a:xfrm>
          <a:prstGeom prst="rect">
            <a:avLst/>
          </a:prstGeom>
        </p:spPr>
      </p:pic>
      <p:pic>
        <p:nvPicPr>
          <p:cNvPr id="191" name="Picture 190"/>
          <p:cNvPicPr>
            <a:picLocks noChangeAspect="1"/>
          </p:cNvPicPr>
          <p:nvPr/>
        </p:nvPicPr>
        <p:blipFill>
          <a:blip r:embed="rId4">
            <a:biLevel thresh="25000"/>
          </a:blip>
          <a:stretch>
            <a:fillRect/>
          </a:stretch>
        </p:blipFill>
        <p:spPr>
          <a:xfrm>
            <a:off x="6625984" y="5030631"/>
            <a:ext cx="371726" cy="326946"/>
          </a:xfrm>
          <a:prstGeom prst="rect">
            <a:avLst/>
          </a:prstGeom>
        </p:spPr>
      </p:pic>
      <p:pic>
        <p:nvPicPr>
          <p:cNvPr id="192" name="Picture 191"/>
          <p:cNvPicPr>
            <a:picLocks noChangeAspect="1"/>
          </p:cNvPicPr>
          <p:nvPr/>
        </p:nvPicPr>
        <p:blipFill>
          <a:blip r:embed="rId5">
            <a:biLevel thresh="25000"/>
          </a:blip>
          <a:stretch>
            <a:fillRect/>
          </a:stretch>
        </p:blipFill>
        <p:spPr>
          <a:xfrm>
            <a:off x="8724042" y="5064121"/>
            <a:ext cx="294069" cy="312420"/>
          </a:xfrm>
          <a:prstGeom prst="rect">
            <a:avLst/>
          </a:prstGeom>
        </p:spPr>
      </p:pic>
      <p:pic>
        <p:nvPicPr>
          <p:cNvPr id="211" name="Picture 210"/>
          <p:cNvPicPr>
            <a:picLocks noChangeAspect="1"/>
          </p:cNvPicPr>
          <p:nvPr/>
        </p:nvPicPr>
        <p:blipFill>
          <a:blip r:embed="rId6">
            <a:biLevel thresh="25000"/>
          </a:blip>
          <a:stretch>
            <a:fillRect/>
          </a:stretch>
        </p:blipFill>
        <p:spPr>
          <a:xfrm>
            <a:off x="5234704" y="4073427"/>
            <a:ext cx="424392" cy="328155"/>
          </a:xfrm>
          <a:prstGeom prst="rect">
            <a:avLst/>
          </a:prstGeom>
        </p:spPr>
      </p:pic>
      <p:pic>
        <p:nvPicPr>
          <p:cNvPr id="212" name="Picture 211"/>
          <p:cNvPicPr>
            <a:picLocks noChangeAspect="1"/>
          </p:cNvPicPr>
          <p:nvPr/>
        </p:nvPicPr>
        <p:blipFill>
          <a:blip r:embed="rId7">
            <a:biLevel thresh="25000"/>
          </a:blip>
          <a:stretch>
            <a:fillRect/>
          </a:stretch>
        </p:blipFill>
        <p:spPr>
          <a:xfrm>
            <a:off x="7528646" y="3427864"/>
            <a:ext cx="326411" cy="326964"/>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600996" y="3415823"/>
            <a:ext cx="339006" cy="339006"/>
          </a:xfrm>
          <a:prstGeom prst="rect">
            <a:avLst/>
          </a:prstGeom>
        </p:spPr>
      </p:pic>
      <p:pic>
        <p:nvPicPr>
          <p:cNvPr id="214" name="Picture 213"/>
          <p:cNvPicPr>
            <a:picLocks noChangeAspect="1"/>
          </p:cNvPicPr>
          <p:nvPr/>
        </p:nvPicPr>
        <p:blipFill>
          <a:blip r:embed="rId9">
            <a:biLevel thresh="25000"/>
          </a:blip>
          <a:stretch>
            <a:fillRect/>
          </a:stretch>
        </p:blipFill>
        <p:spPr>
          <a:xfrm>
            <a:off x="6749940" y="3406839"/>
            <a:ext cx="255403" cy="326411"/>
          </a:xfrm>
          <a:prstGeom prst="rect">
            <a:avLst/>
          </a:prstGeom>
        </p:spPr>
      </p:pic>
      <p:pic>
        <p:nvPicPr>
          <p:cNvPr id="215" name="Picture 214"/>
          <p:cNvPicPr>
            <a:picLocks noChangeAspect="1"/>
          </p:cNvPicPr>
          <p:nvPr/>
        </p:nvPicPr>
        <p:blipFill>
          <a:blip r:embed="rId10">
            <a:biLevel thresh="25000"/>
          </a:blip>
          <a:stretch>
            <a:fillRect/>
          </a:stretch>
        </p:blipFill>
        <p:spPr>
          <a:xfrm>
            <a:off x="6632971" y="2649773"/>
            <a:ext cx="320899" cy="320581"/>
          </a:xfrm>
          <a:prstGeom prst="rect">
            <a:avLst/>
          </a:prstGeom>
        </p:spPr>
      </p:pic>
      <p:pic>
        <p:nvPicPr>
          <p:cNvPr id="218" name="Picture 217"/>
          <p:cNvPicPr>
            <a:picLocks noChangeAspect="1"/>
          </p:cNvPicPr>
          <p:nvPr/>
        </p:nvPicPr>
        <p:blipFill>
          <a:blip r:embed="rId11">
            <a:biLevel thresh="25000"/>
          </a:blip>
          <a:stretch>
            <a:fillRect/>
          </a:stretch>
        </p:blipFill>
        <p:spPr>
          <a:xfrm>
            <a:off x="9617631" y="3433727"/>
            <a:ext cx="343959" cy="344540"/>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15391" y="2696270"/>
            <a:ext cx="326411" cy="325476"/>
          </a:xfrm>
          <a:prstGeom prst="rect">
            <a:avLst/>
          </a:prstGeom>
        </p:spPr>
      </p:pic>
      <p:pic>
        <p:nvPicPr>
          <p:cNvPr id="220" name="Picture 219"/>
          <p:cNvPicPr>
            <a:picLocks noChangeAspect="1"/>
          </p:cNvPicPr>
          <p:nvPr/>
        </p:nvPicPr>
        <p:blipFill>
          <a:blip r:embed="rId13">
            <a:biLevel thresh="25000"/>
          </a:blip>
          <a:stretch>
            <a:fillRect/>
          </a:stretch>
        </p:blipFill>
        <p:spPr>
          <a:xfrm>
            <a:off x="9645995" y="5007041"/>
            <a:ext cx="326411" cy="326963"/>
          </a:xfrm>
          <a:prstGeom prst="rect">
            <a:avLst/>
          </a:prstGeom>
        </p:spPr>
      </p:pic>
      <p:grpSp>
        <p:nvGrpSpPr>
          <p:cNvPr id="221" name="Group 220"/>
          <p:cNvGrpSpPr/>
          <p:nvPr/>
        </p:nvGrpSpPr>
        <p:grpSpPr>
          <a:xfrm>
            <a:off x="611096" y="5885379"/>
            <a:ext cx="1897245" cy="557480"/>
            <a:chOff x="865965" y="5370682"/>
            <a:chExt cx="1860213" cy="546599"/>
          </a:xfrm>
        </p:grpSpPr>
        <p:grpSp>
          <p:nvGrpSpPr>
            <p:cNvPr id="222" name="Group 221"/>
            <p:cNvGrpSpPr/>
            <p:nvPr/>
          </p:nvGrpSpPr>
          <p:grpSpPr>
            <a:xfrm>
              <a:off x="865965" y="5370682"/>
              <a:ext cx="1860213" cy="546599"/>
              <a:chOff x="1223726" y="6180584"/>
              <a:chExt cx="1860213" cy="546599"/>
            </a:xfrm>
          </p:grpSpPr>
          <p:sp>
            <p:nvSpPr>
              <p:cNvPr id="224" name="TextBox 223"/>
              <p:cNvSpPr txBox="1"/>
              <p:nvPr/>
            </p:nvSpPr>
            <p:spPr>
              <a:xfrm>
                <a:off x="1509790" y="6180584"/>
                <a:ext cx="504946"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accent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532471"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74149"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b="1"/>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559095" y="4079477"/>
            <a:ext cx="393684" cy="2923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1" name="Graphic 110">
            <a:extLst>
              <a:ext uri="{FF2B5EF4-FFF2-40B4-BE49-F238E27FC236}">
                <a16:creationId xmlns:a16="http://schemas.microsoft.com/office/drawing/2014/main" id="{332CC643-63CE-4D6B-B1C1-EEB19C86D8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56735" y="4981519"/>
            <a:ext cx="334920" cy="334920"/>
          </a:xfrm>
          <a:prstGeom prst="rect">
            <a:avLst/>
          </a:prstGeom>
        </p:spPr>
      </p:pic>
    </p:spTree>
    <p:extLst>
      <p:ext uri="{BB962C8B-B14F-4D97-AF65-F5344CB8AC3E}">
        <p14:creationId xmlns:p14="http://schemas.microsoft.com/office/powerpoint/2010/main" val="187726009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D849E95-5208-46C9-B0A5-755E846D0D34}"/>
              </a:ext>
            </a:extLst>
          </p:cNvPr>
          <p:cNvSpPr txBox="1"/>
          <p:nvPr/>
        </p:nvSpPr>
        <p:spPr>
          <a:xfrm>
            <a:off x="3673820" y="1614115"/>
            <a:ext cx="5257909" cy="683264"/>
          </a:xfrm>
          <a:prstGeom prst="rect">
            <a:avLst/>
          </a:prstGeom>
          <a:noFill/>
        </p:spPr>
        <p:txBody>
          <a:bodyPr wrap="square" lIns="182880" tIns="146304" rIns="182880" bIns="146304" rtlCol="0">
            <a:spAutoFit/>
          </a:bodyPr>
          <a:lstStyle/>
          <a:p>
            <a:pPr algn="ctr">
              <a:lnSpc>
                <a:spcPct val="90000"/>
              </a:lnSpc>
              <a:spcAft>
                <a:spcPts val="600"/>
              </a:spcAft>
            </a:pPr>
            <a:r>
              <a:rPr lang="en-GB" sz="2800" dirty="0">
                <a:gradFill>
                  <a:gsLst>
                    <a:gs pos="2917">
                      <a:schemeClr val="tx1"/>
                    </a:gs>
                    <a:gs pos="30000">
                      <a:schemeClr val="tx1"/>
                    </a:gs>
                  </a:gsLst>
                  <a:lin ang="5400000" scaled="0"/>
                </a:gradFill>
              </a:rPr>
              <a:t>http://aka.ms/citadel/feedback</a:t>
            </a:r>
          </a:p>
        </p:txBody>
      </p:sp>
    </p:spTree>
    <p:extLst>
      <p:ext uri="{BB962C8B-B14F-4D97-AF65-F5344CB8AC3E}">
        <p14:creationId xmlns:p14="http://schemas.microsoft.com/office/powerpoint/2010/main" val="1522840320"/>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53678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42" name="Picture 41"/>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27" name="TextBox 26"/>
          <p:cNvSpPr txBox="1"/>
          <p:nvPr/>
        </p:nvSpPr>
        <p:spPr>
          <a:xfrm>
            <a:off x="2978777" y="2090507"/>
            <a:ext cx="825271" cy="461665"/>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Plan</a:t>
            </a:r>
          </a:p>
        </p:txBody>
      </p:sp>
      <p:sp>
        <p:nvSpPr>
          <p:cNvPr id="28" name="TextBox 27"/>
          <p:cNvSpPr txBox="1"/>
          <p:nvPr/>
        </p:nvSpPr>
        <p:spPr>
          <a:xfrm>
            <a:off x="3070104" y="1249135"/>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1</a:t>
            </a:r>
          </a:p>
        </p:txBody>
      </p:sp>
      <p:sp>
        <p:nvSpPr>
          <p:cNvPr id="30" name="TextBox 29"/>
          <p:cNvSpPr txBox="1"/>
          <p:nvPr/>
        </p:nvSpPr>
        <p:spPr>
          <a:xfrm>
            <a:off x="8160243" y="2027955"/>
            <a:ext cx="1422402" cy="830997"/>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Monitor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Learn</a:t>
            </a:r>
          </a:p>
        </p:txBody>
      </p:sp>
      <p:sp>
        <p:nvSpPr>
          <p:cNvPr id="35" name="TextBox 34"/>
          <p:cNvSpPr txBox="1"/>
          <p:nvPr/>
        </p:nvSpPr>
        <p:spPr>
          <a:xfrm>
            <a:off x="8263199" y="5826185"/>
            <a:ext cx="1210499"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Release</a:t>
            </a:r>
          </a:p>
        </p:txBody>
      </p:sp>
      <p:sp>
        <p:nvSpPr>
          <p:cNvPr id="37" name="TextBox 36"/>
          <p:cNvSpPr txBox="1"/>
          <p:nvPr/>
        </p:nvSpPr>
        <p:spPr>
          <a:xfrm>
            <a:off x="2314879" y="5809305"/>
            <a:ext cx="2140478"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Develop + Test</a:t>
            </a:r>
          </a:p>
        </p:txBody>
      </p:sp>
      <p:sp>
        <p:nvSpPr>
          <p:cNvPr id="38" name="TextBox 37"/>
          <p:cNvSpPr txBox="1"/>
          <p:nvPr/>
        </p:nvSpPr>
        <p:spPr>
          <a:xfrm>
            <a:off x="3042901" y="5055253"/>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2</a:t>
            </a:r>
          </a:p>
        </p:txBody>
      </p:sp>
      <p:sp>
        <p:nvSpPr>
          <p:cNvPr id="39" name="TextBox 38"/>
          <p:cNvSpPr txBox="1"/>
          <p:nvPr/>
        </p:nvSpPr>
        <p:spPr>
          <a:xfrm>
            <a:off x="1576145" y="3443147"/>
            <a:ext cx="2091058" cy="387798"/>
          </a:xfrm>
          <a:prstGeom prst="rect">
            <a:avLst/>
          </a:prstGeom>
          <a:noFill/>
        </p:spPr>
        <p:txBody>
          <a:bodyPr wrap="square" lIns="0" tIns="0" rIns="0" bIns="0" rtlCol="0">
            <a:spAutoFit/>
          </a:bodyPr>
          <a:lstStyle/>
          <a:p>
            <a:pPr marL="0" marR="0" lvl="0" indent="0" algn="r" defTabSz="12679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evelopment</a:t>
            </a:r>
          </a:p>
        </p:txBody>
      </p:sp>
      <p:sp>
        <p:nvSpPr>
          <p:cNvPr id="40" name="TextBox 39"/>
          <p:cNvSpPr txBox="1"/>
          <p:nvPr/>
        </p:nvSpPr>
        <p:spPr>
          <a:xfrm>
            <a:off x="8464933" y="3436578"/>
            <a:ext cx="1727099" cy="387798"/>
          </a:xfrm>
          <a:prstGeom prst="rect">
            <a:avLst/>
          </a:prstGeom>
          <a:noFill/>
        </p:spPr>
        <p:txBody>
          <a:bodyPr wrap="square" lIns="0" tIns="0" rIns="0" bIns="0" rtlCol="0">
            <a:spAutoFit/>
          </a:bodyPr>
          <a:lstStyle/>
          <a:p>
            <a:pPr marL="0" marR="0" lvl="0" indent="0" algn="l" defTabSz="12679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Production</a:t>
            </a:r>
          </a:p>
        </p:txBody>
      </p:sp>
      <p:sp>
        <p:nvSpPr>
          <p:cNvPr id="216" name="Title 18"/>
          <p:cNvSpPr txBox="1">
            <a:spLocks/>
          </p:cNvSpPr>
          <p:nvPr/>
        </p:nvSpPr>
        <p:spPr>
          <a:xfrm>
            <a:off x="274320" y="296897"/>
            <a:ext cx="1188956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505050"/>
                </a:solidFill>
                <a:effectLst/>
                <a:uLnTx/>
                <a:uFillTx/>
                <a:latin typeface="Segoe UI Light"/>
                <a:ea typeface="+mn-ea"/>
                <a:cs typeface="Segoe UI" pitchFamily="34" charset="0"/>
              </a:rPr>
              <a:t>DevOps with Azure</a:t>
            </a:r>
            <a:r>
              <a:rPr kumimoji="0" lang="en-GB" sz="4800" b="0" i="0" u="none" strike="noStrike" kern="1200" cap="none" spc="-102" normalizeH="0" baseline="0" noProof="0">
                <a:ln w="3175">
                  <a:noFill/>
                </a:ln>
                <a:solidFill>
                  <a:srgbClr val="505050"/>
                </a:solidFill>
                <a:effectLst/>
                <a:uLnTx/>
                <a:uFillTx/>
                <a:latin typeface="Segoe UI Light"/>
                <a:ea typeface="+mn-ea"/>
                <a:cs typeface="Segoe UI" pitchFamily="34" charset="0"/>
              </a:rPr>
              <a:t> - Core Services</a:t>
            </a:r>
            <a:endParaRPr kumimoji="0" lang="en-US" sz="4800" b="0" i="0" u="none" strike="noStrike" kern="1200" cap="none" spc="-102" normalizeH="0" baseline="0" noProof="0">
              <a:ln w="3175">
                <a:noFill/>
              </a:ln>
              <a:solidFill>
                <a:srgbClr val="505050"/>
              </a:solidFill>
              <a:effectLst/>
              <a:uLnTx/>
              <a:uFillTx/>
              <a:latin typeface="Segoe UI Light"/>
              <a:ea typeface="+mn-ea"/>
              <a:cs typeface="Segoe UI" pitchFamily="34" charset="0"/>
            </a:endParaRPr>
          </a:p>
        </p:txBody>
      </p:sp>
      <p:sp>
        <p:nvSpPr>
          <p:cNvPr id="31" name="TextBox 30"/>
          <p:cNvSpPr txBox="1"/>
          <p:nvPr/>
        </p:nvSpPr>
        <p:spPr>
          <a:xfrm>
            <a:off x="8572324" y="1254991"/>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4</a:t>
            </a:r>
          </a:p>
        </p:txBody>
      </p:sp>
      <p:sp>
        <p:nvSpPr>
          <p:cNvPr id="36" name="TextBox 35"/>
          <p:cNvSpPr txBox="1"/>
          <p:nvPr/>
        </p:nvSpPr>
        <p:spPr>
          <a:xfrm>
            <a:off x="8572324" y="5062242"/>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3</a:t>
            </a:r>
          </a:p>
        </p:txBody>
      </p:sp>
      <p:sp>
        <p:nvSpPr>
          <p:cNvPr id="44"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 name="Group 3"/>
          <p:cNvGrpSpPr/>
          <p:nvPr/>
        </p:nvGrpSpPr>
        <p:grpSpPr>
          <a:xfrm>
            <a:off x="385589" y="5030602"/>
            <a:ext cx="1047110" cy="1405849"/>
            <a:chOff x="551635" y="4233570"/>
            <a:chExt cx="1488228" cy="1998093"/>
          </a:xfrm>
        </p:grpSpPr>
        <p:pic>
          <p:nvPicPr>
            <p:cNvPr id="34" name="Picture 33"/>
            <p:cNvPicPr>
              <a:picLocks noChangeAspect="1"/>
            </p:cNvPicPr>
            <p:nvPr/>
          </p:nvPicPr>
          <p:blipFill>
            <a:blip r:embed="rId7"/>
            <a:stretch>
              <a:fillRect/>
            </a:stretch>
          </p:blipFill>
          <p:spPr>
            <a:xfrm>
              <a:off x="633426" y="4233570"/>
              <a:ext cx="1317531" cy="1317531"/>
            </a:xfrm>
            <a:prstGeom prst="rect">
              <a:avLst/>
            </a:prstGeom>
          </p:spPr>
        </p:pic>
        <p:sp>
          <p:nvSpPr>
            <p:cNvPr id="41" name="TextBox 40"/>
            <p:cNvSpPr txBox="1"/>
            <p:nvPr/>
          </p:nvSpPr>
          <p:spPr>
            <a:xfrm>
              <a:off x="551635" y="5471455"/>
              <a:ext cx="1488228" cy="760208"/>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t>
              </a:r>
              <a:r>
                <a:rPr kumimoji="0" lang="en-GB" sz="14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DevTest</a:t>
              </a:r>
              <a:endPar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abs</a:t>
              </a:r>
            </a:p>
          </p:txBody>
        </p:sp>
      </p:grpSp>
      <p:grpSp>
        <p:nvGrpSpPr>
          <p:cNvPr id="6" name="Group 5"/>
          <p:cNvGrpSpPr/>
          <p:nvPr/>
        </p:nvGrpSpPr>
        <p:grpSpPr>
          <a:xfrm>
            <a:off x="10805326" y="628518"/>
            <a:ext cx="1191084" cy="1336928"/>
            <a:chOff x="10102658" y="979815"/>
            <a:chExt cx="1986205" cy="2229408"/>
          </a:xfrm>
        </p:grpSpPr>
        <p:pic>
          <p:nvPicPr>
            <p:cNvPr id="2" name="Picture 1"/>
            <p:cNvPicPr>
              <a:picLocks noChangeAspect="1"/>
            </p:cNvPicPr>
            <p:nvPr/>
          </p:nvPicPr>
          <p:blipFill>
            <a:blip r:embed="rId8"/>
            <a:stretch>
              <a:fillRect/>
            </a:stretch>
          </p:blipFill>
          <p:spPr>
            <a:xfrm>
              <a:off x="10488372" y="979815"/>
              <a:ext cx="1186784" cy="1186784"/>
            </a:xfrm>
            <a:prstGeom prst="rect">
              <a:avLst/>
            </a:prstGeom>
          </p:spPr>
        </p:pic>
        <p:sp>
          <p:nvSpPr>
            <p:cNvPr id="50" name="TextBox 49"/>
            <p:cNvSpPr txBox="1"/>
            <p:nvPr/>
          </p:nvSpPr>
          <p:spPr>
            <a:xfrm>
              <a:off x="10102658" y="2033913"/>
              <a:ext cx="1986205" cy="117531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pplication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nsights</a:t>
              </a:r>
            </a:p>
          </p:txBody>
        </p:sp>
      </p:grpSp>
      <p:grpSp>
        <p:nvGrpSpPr>
          <p:cNvPr id="7" name="Group 6"/>
          <p:cNvGrpSpPr/>
          <p:nvPr/>
        </p:nvGrpSpPr>
        <p:grpSpPr>
          <a:xfrm>
            <a:off x="5303641" y="2576191"/>
            <a:ext cx="1557799" cy="2330110"/>
            <a:chOff x="5303641" y="2275543"/>
            <a:chExt cx="1557799" cy="2330110"/>
          </a:xfrm>
        </p:grpSpPr>
        <p:pic>
          <p:nvPicPr>
            <p:cNvPr id="51" name="Picture 50"/>
            <p:cNvPicPr>
              <a:picLocks noChangeAspect="1"/>
            </p:cNvPicPr>
            <p:nvPr/>
          </p:nvPicPr>
          <p:blipFill>
            <a:blip r:embed="rId9"/>
            <a:stretch>
              <a:fillRect/>
            </a:stretch>
          </p:blipFill>
          <p:spPr>
            <a:xfrm>
              <a:off x="5615563" y="2275543"/>
              <a:ext cx="897914" cy="946118"/>
            </a:xfrm>
            <a:prstGeom prst="rect">
              <a:avLst/>
            </a:prstGeom>
          </p:spPr>
        </p:pic>
        <p:sp>
          <p:nvSpPr>
            <p:cNvPr id="52" name="TextBox 51"/>
            <p:cNvSpPr txBox="1"/>
            <p:nvPr/>
          </p:nvSpPr>
          <p:spPr>
            <a:xfrm>
              <a:off x="5303641" y="3854063"/>
              <a:ext cx="1557799" cy="751590"/>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0078D7"/>
                  </a:solidFill>
                  <a:effectLst/>
                  <a:uLnTx/>
                  <a:uFillTx/>
                  <a:latin typeface="Segoe UI"/>
                  <a:ea typeface="+mn-ea"/>
                  <a:cs typeface="+mn-cs"/>
                </a:rPr>
                <a:t>Visual Studio</a:t>
              </a:r>
              <a:br>
                <a:rPr kumimoji="0" lang="en-GB" sz="1400" b="1" i="0" u="none" strike="noStrike" kern="1200" cap="none" spc="0" normalizeH="0" baseline="0" noProof="0">
                  <a:ln>
                    <a:noFill/>
                  </a:ln>
                  <a:solidFill>
                    <a:srgbClr val="0078D7"/>
                  </a:solidFill>
                  <a:effectLst/>
                  <a:uLnTx/>
                  <a:uFillTx/>
                  <a:latin typeface="Segoe UI"/>
                  <a:ea typeface="+mn-ea"/>
                  <a:cs typeface="+mn-cs"/>
                </a:rPr>
              </a:br>
              <a:r>
                <a:rPr kumimoji="0" lang="en-GB" sz="1400" b="1" i="0" u="none" strike="noStrike" kern="1200" cap="none" spc="0" normalizeH="0" baseline="0" noProof="0">
                  <a:ln>
                    <a:noFill/>
                  </a:ln>
                  <a:solidFill>
                    <a:srgbClr val="0078D7"/>
                  </a:solidFill>
                  <a:effectLst/>
                  <a:uLnTx/>
                  <a:uFillTx/>
                  <a:latin typeface="Segoe UI"/>
                  <a:ea typeface="+mn-ea"/>
                  <a:cs typeface="+mn-cs"/>
                </a:rPr>
                <a:t>Team Services</a:t>
              </a:r>
            </a:p>
          </p:txBody>
        </p:sp>
      </p:grpSp>
      <p:grpSp>
        <p:nvGrpSpPr>
          <p:cNvPr id="5" name="Group 4"/>
          <p:cNvGrpSpPr/>
          <p:nvPr/>
        </p:nvGrpSpPr>
        <p:grpSpPr>
          <a:xfrm>
            <a:off x="10671261" y="5055253"/>
            <a:ext cx="1254014" cy="1522293"/>
            <a:chOff x="10368534" y="4339971"/>
            <a:chExt cx="1590692" cy="1930999"/>
          </a:xfrm>
        </p:grpSpPr>
        <p:pic>
          <p:nvPicPr>
            <p:cNvPr id="54" name="Picture 53"/>
            <p:cNvPicPr>
              <a:picLocks noChangeAspect="1"/>
            </p:cNvPicPr>
            <p:nvPr/>
          </p:nvPicPr>
          <p:blipFill>
            <a:blip r:embed="rId10"/>
            <a:stretch>
              <a:fillRect/>
            </a:stretch>
          </p:blipFill>
          <p:spPr>
            <a:xfrm>
              <a:off x="10514152" y="4339971"/>
              <a:ext cx="1299448" cy="1299448"/>
            </a:xfrm>
            <a:prstGeom prst="rect">
              <a:avLst/>
            </a:prstGeom>
          </p:spPr>
        </p:pic>
        <p:sp>
          <p:nvSpPr>
            <p:cNvPr id="55" name="TextBox 54"/>
            <p:cNvSpPr txBox="1"/>
            <p:nvPr/>
          </p:nvSpPr>
          <p:spPr>
            <a:xfrm>
              <a:off x="10368534" y="5510762"/>
              <a:ext cx="1590692" cy="760208"/>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Resource</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nager</a:t>
              </a:r>
            </a:p>
          </p:txBody>
        </p:sp>
      </p:grpSp>
      <p:grpSp>
        <p:nvGrpSpPr>
          <p:cNvPr id="11" name="Group 10"/>
          <p:cNvGrpSpPr/>
          <p:nvPr/>
        </p:nvGrpSpPr>
        <p:grpSpPr>
          <a:xfrm>
            <a:off x="1172586" y="4188123"/>
            <a:ext cx="1618688" cy="1357567"/>
            <a:chOff x="1505534" y="4188123"/>
            <a:chExt cx="1618688" cy="1357567"/>
          </a:xfrm>
        </p:grpSpPr>
        <p:pic>
          <p:nvPicPr>
            <p:cNvPr id="9" name="Picture 8"/>
            <p:cNvPicPr>
              <a:picLocks noChangeAspect="1"/>
            </p:cNvPicPr>
            <p:nvPr/>
          </p:nvPicPr>
          <p:blipFill>
            <a:blip r:embed="rId11"/>
            <a:stretch>
              <a:fillRect/>
            </a:stretch>
          </p:blipFill>
          <p:spPr>
            <a:xfrm>
              <a:off x="1846647" y="4188123"/>
              <a:ext cx="793747" cy="793747"/>
            </a:xfrm>
            <a:prstGeom prst="rect">
              <a:avLst/>
            </a:prstGeom>
          </p:spPr>
        </p:pic>
        <p:sp>
          <p:nvSpPr>
            <p:cNvPr id="10" name="Rectangle 9"/>
            <p:cNvSpPr/>
            <p:nvPr/>
          </p:nvSpPr>
          <p:spPr>
            <a:xfrm>
              <a:off x="1505534" y="5010159"/>
              <a:ext cx="1618688" cy="5355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 2017</a:t>
              </a:r>
            </a:p>
          </p:txBody>
        </p:sp>
      </p:grpSp>
      <p:grpSp>
        <p:nvGrpSpPr>
          <p:cNvPr id="57" name="Group 56"/>
          <p:cNvGrpSpPr/>
          <p:nvPr/>
        </p:nvGrpSpPr>
        <p:grpSpPr>
          <a:xfrm>
            <a:off x="9654533" y="4495379"/>
            <a:ext cx="841290" cy="972981"/>
            <a:chOff x="640609" y="1337406"/>
            <a:chExt cx="1480149" cy="1711844"/>
          </a:xfrm>
        </p:grpSpPr>
        <p:pic>
          <p:nvPicPr>
            <p:cNvPr id="58" name="Picture 57"/>
            <p:cNvPicPr>
              <a:picLocks noChangeAspect="1"/>
            </p:cNvPicPr>
            <p:nvPr/>
          </p:nvPicPr>
          <p:blipFill>
            <a:blip r:embed="rId9"/>
            <a:stretch>
              <a:fillRect/>
            </a:stretch>
          </p:blipFill>
          <p:spPr>
            <a:xfrm>
              <a:off x="839465" y="1337406"/>
              <a:ext cx="1082436" cy="1140547"/>
            </a:xfrm>
            <a:prstGeom prst="rect">
              <a:avLst/>
            </a:prstGeom>
          </p:spPr>
        </p:pic>
        <p:sp>
          <p:nvSpPr>
            <p:cNvPr id="59" name="TextBox 58"/>
            <p:cNvSpPr txBox="1"/>
            <p:nvPr/>
          </p:nvSpPr>
          <p:spPr>
            <a:xfrm>
              <a:off x="640609" y="2365986"/>
              <a:ext cx="1480149" cy="683264"/>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a:t>
              </a:r>
              <a:b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eam Services</a:t>
              </a:r>
            </a:p>
          </p:txBody>
        </p:sp>
      </p:grpSp>
      <p:grpSp>
        <p:nvGrpSpPr>
          <p:cNvPr id="12" name="Group 11"/>
          <p:cNvGrpSpPr/>
          <p:nvPr/>
        </p:nvGrpSpPr>
        <p:grpSpPr>
          <a:xfrm>
            <a:off x="9800411" y="1079589"/>
            <a:ext cx="1078841" cy="1333965"/>
            <a:chOff x="9768731" y="1361152"/>
            <a:chExt cx="1078841" cy="1333965"/>
          </a:xfrm>
        </p:grpSpPr>
        <p:pic>
          <p:nvPicPr>
            <p:cNvPr id="56" name="Picture 55"/>
            <p:cNvPicPr>
              <a:picLocks noChangeAspect="1"/>
            </p:cNvPicPr>
            <p:nvPr/>
          </p:nvPicPr>
          <p:blipFill>
            <a:blip r:embed="rId12"/>
            <a:stretch>
              <a:fillRect/>
            </a:stretch>
          </p:blipFill>
          <p:spPr>
            <a:xfrm>
              <a:off x="10028246" y="1361152"/>
              <a:ext cx="745400" cy="745400"/>
            </a:xfrm>
            <a:prstGeom prst="rect">
              <a:avLst/>
            </a:prstGeom>
          </p:spPr>
        </p:pic>
        <p:sp>
          <p:nvSpPr>
            <p:cNvPr id="60" name="TextBox 59"/>
            <p:cNvSpPr txBox="1"/>
            <p:nvPr/>
          </p:nvSpPr>
          <p:spPr>
            <a:xfrm>
              <a:off x="9768731" y="2067253"/>
              <a:ext cx="107884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og Analytics</a:t>
              </a:r>
            </a:p>
          </p:txBody>
        </p:sp>
      </p:grpSp>
      <p:grpSp>
        <p:nvGrpSpPr>
          <p:cNvPr id="20" name="Group 19"/>
          <p:cNvGrpSpPr/>
          <p:nvPr/>
        </p:nvGrpSpPr>
        <p:grpSpPr>
          <a:xfrm>
            <a:off x="683263" y="1242761"/>
            <a:ext cx="1480149" cy="1530358"/>
            <a:chOff x="640609" y="1518892"/>
            <a:chExt cx="1480149" cy="1530358"/>
          </a:xfrm>
        </p:grpSpPr>
        <p:sp>
          <p:nvSpPr>
            <p:cNvPr id="25" name="TextBox 24"/>
            <p:cNvSpPr txBox="1"/>
            <p:nvPr/>
          </p:nvSpPr>
          <p:spPr>
            <a:xfrm>
              <a:off x="640609" y="2365986"/>
              <a:ext cx="1480149" cy="683264"/>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a:t>
              </a:r>
              <a:b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eam Services</a:t>
              </a:r>
            </a:p>
          </p:txBody>
        </p:sp>
        <p:pic>
          <p:nvPicPr>
            <p:cNvPr id="17" name="Picture 16" descr="A picture containing businesscard&#10;&#10;Description generated with high confidence"/>
            <p:cNvPicPr>
              <a:picLocks noChangeAspect="1"/>
            </p:cNvPicPr>
            <p:nvPr/>
          </p:nvPicPr>
          <p:blipFill>
            <a:blip r:embed="rId9"/>
            <a:stretch>
              <a:fillRect/>
            </a:stretch>
          </p:blipFill>
          <p:spPr>
            <a:xfrm>
              <a:off x="971437" y="1518892"/>
              <a:ext cx="839562" cy="884634"/>
            </a:xfrm>
            <a:prstGeom prst="rect">
              <a:avLst/>
            </a:prstGeom>
          </p:spPr>
        </p:pic>
      </p:grpSp>
      <p:grpSp>
        <p:nvGrpSpPr>
          <p:cNvPr id="3" name="Group 2"/>
          <p:cNvGrpSpPr/>
          <p:nvPr/>
        </p:nvGrpSpPr>
        <p:grpSpPr>
          <a:xfrm>
            <a:off x="10731630" y="1938358"/>
            <a:ext cx="1078841" cy="1170843"/>
            <a:chOff x="10731630" y="1938358"/>
            <a:chExt cx="1078841" cy="1170843"/>
          </a:xfrm>
        </p:grpSpPr>
        <p:pic>
          <p:nvPicPr>
            <p:cNvPr id="61" name="Picture 60"/>
            <p:cNvPicPr>
              <a:picLocks noChangeAspect="1"/>
            </p:cNvPicPr>
            <p:nvPr/>
          </p:nvPicPr>
          <p:blipFill>
            <a:blip r:embed="rId13"/>
            <a:stretch>
              <a:fillRect/>
            </a:stretch>
          </p:blipFill>
          <p:spPr>
            <a:xfrm>
              <a:off x="10973018" y="1938358"/>
              <a:ext cx="620928" cy="620928"/>
            </a:xfrm>
            <a:prstGeom prst="rect">
              <a:avLst/>
            </a:prstGeom>
          </p:spPr>
        </p:pic>
        <p:sp>
          <p:nvSpPr>
            <p:cNvPr id="63" name="TextBox 62"/>
            <p:cNvSpPr txBox="1"/>
            <p:nvPr/>
          </p:nvSpPr>
          <p:spPr>
            <a:xfrm>
              <a:off x="10731630" y="2481337"/>
              <a:ext cx="107884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onitor</a:t>
              </a:r>
            </a:p>
          </p:txBody>
        </p:sp>
      </p:grpSp>
    </p:spTree>
    <p:extLst>
      <p:ext uri="{BB962C8B-B14F-4D97-AF65-F5344CB8AC3E}">
        <p14:creationId xmlns:p14="http://schemas.microsoft.com/office/powerpoint/2010/main" val="365957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57657" y="1342000"/>
            <a:ext cx="2584945" cy="4357699"/>
            <a:chOff x="3341537" y="1786367"/>
            <a:chExt cx="2708858" cy="4358317"/>
          </a:xfrm>
        </p:grpSpPr>
        <p:sp>
          <p:nvSpPr>
            <p:cNvPr id="8" name="Rectangle 7"/>
            <p:cNvSpPr/>
            <p:nvPr/>
          </p:nvSpPr>
          <p:spPr bwMode="auto">
            <a:xfrm>
              <a:off x="3341537" y="2688604"/>
              <a:ext cx="2708858" cy="345608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CI and CD setup</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Auto Recovery</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Testing in Prod</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deployments </a:t>
              </a:r>
              <a:br>
                <a:rPr kumimoji="0" lang="en-US" sz="1599" b="0" i="0" u="none" strike="noStrike" kern="1200" cap="none" spc="0" normalizeH="0" baseline="0" noProof="0">
                  <a:ln>
                    <a:noFill/>
                  </a:ln>
                  <a:solidFill>
                    <a:srgbClr val="FFFFFF"/>
                  </a:solidFill>
                  <a:effectLst/>
                  <a:uLnTx/>
                  <a:uFillTx/>
                  <a:latin typeface="Segoe UI"/>
                  <a:ea typeface="+mn-ea"/>
                  <a:cs typeface="+mn-cs"/>
                </a:rPr>
              </a:br>
              <a:r>
                <a:rPr kumimoji="0" lang="en-US" sz="1599" b="0" i="0" u="none" strike="noStrike" kern="1200" cap="none" spc="0" normalizeH="0" baseline="0" noProof="0">
                  <a:ln>
                    <a:noFill/>
                  </a:ln>
                  <a:solidFill>
                    <a:srgbClr val="FFFFFF"/>
                  </a:solidFill>
                  <a:effectLst/>
                  <a:uLnTx/>
                  <a:uFillTx/>
                  <a:latin typeface="Segoe UI"/>
                  <a:ea typeface="+mn-ea"/>
                  <a:cs typeface="+mn-cs"/>
                </a:rPr>
                <a:t>and scale</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fficien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Only websites</a:t>
              </a:r>
            </a:p>
          </p:txBody>
        </p:sp>
        <p:grpSp>
          <p:nvGrpSpPr>
            <p:cNvPr id="30" name="Group 29"/>
            <p:cNvGrpSpPr/>
            <p:nvPr/>
          </p:nvGrpSpPr>
          <p:grpSpPr>
            <a:xfrm>
              <a:off x="3341537" y="1786367"/>
              <a:ext cx="2708858" cy="902235"/>
              <a:chOff x="457396" y="1467821"/>
              <a:chExt cx="2804693" cy="902235"/>
            </a:xfrm>
          </p:grpSpPr>
          <p:sp>
            <p:nvSpPr>
              <p:cNvPr id="3" name="Rectangle 2"/>
              <p:cNvSpPr/>
              <p:nvPr/>
            </p:nvSpPr>
            <p:spPr bwMode="auto">
              <a:xfrm>
                <a:off x="457396" y="1467821"/>
                <a:ext cx="2804693" cy="9022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pp Services</a:t>
                </a:r>
              </a:p>
            </p:txBody>
          </p:sp>
          <p:pic>
            <p:nvPicPr>
              <p:cNvPr id="27" name="Picture 11"/>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70953" y="1612538"/>
                <a:ext cx="660864" cy="605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 name="Group 3"/>
          <p:cNvGrpSpPr/>
          <p:nvPr/>
        </p:nvGrpSpPr>
        <p:grpSpPr>
          <a:xfrm>
            <a:off x="913740" y="1337022"/>
            <a:ext cx="2391382" cy="4362677"/>
            <a:chOff x="912673" y="1696810"/>
            <a:chExt cx="2240299" cy="4341035"/>
          </a:xfrm>
        </p:grpSpPr>
        <p:sp>
          <p:nvSpPr>
            <p:cNvPr id="10" name="Rectangle 9"/>
            <p:cNvSpPr/>
            <p:nvPr/>
          </p:nvSpPr>
          <p:spPr bwMode="auto">
            <a:xfrm>
              <a:off x="912673" y="2602066"/>
              <a:ext cx="2240299" cy="3435779"/>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Most control, but most management overhead</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Mos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Puppet/Chef/DSC agent integration</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r to port workloads from </a:t>
              </a:r>
              <a:br>
                <a:rPr kumimoji="0" lang="en-US" sz="1599" b="0" i="0" u="none" strike="noStrike" kern="1200" cap="none" spc="0" normalizeH="0" baseline="0" noProof="0">
                  <a:ln>
                    <a:noFill/>
                  </a:ln>
                  <a:solidFill>
                    <a:srgbClr val="FFFFFF"/>
                  </a:solidFill>
                  <a:effectLst/>
                  <a:uLnTx/>
                  <a:uFillTx/>
                  <a:latin typeface="Segoe UI"/>
                  <a:ea typeface="+mn-ea"/>
                  <a:cs typeface="+mn-cs"/>
                </a:rPr>
              </a:br>
              <a:r>
                <a:rPr kumimoji="0" lang="en-US" sz="1599" b="0" i="0" u="none" strike="noStrike" kern="1200" cap="none" spc="0" normalizeH="0" baseline="0" noProof="0">
                  <a:ln>
                    <a:noFill/>
                  </a:ln>
                  <a:solidFill>
                    <a:srgbClr val="FFFFFF"/>
                  </a:solidFill>
                  <a:effectLst/>
                  <a:uLnTx/>
                  <a:uFillTx/>
                  <a:latin typeface="Segoe UI"/>
                  <a:ea typeface="+mn-ea"/>
                  <a:cs typeface="+mn-cs"/>
                </a:rPr>
                <a:t>on-premises</a:t>
              </a:r>
            </a:p>
            <a:p>
              <a:pPr marL="0" marR="0" lvl="0" indent="0" algn="l" defTabSz="932742" rtl="0" eaLnBrk="1" fontAlgn="auto" latinLnBrk="0" hangingPunct="1">
                <a:lnSpc>
                  <a:spcPct val="100000"/>
                </a:lnSpc>
                <a:spcBef>
                  <a:spcPts val="0"/>
                </a:spcBef>
                <a:spcAft>
                  <a:spcPts val="1000"/>
                </a:spcAft>
                <a:buClrTx/>
                <a:buSzTx/>
                <a:buFontTx/>
                <a:buNone/>
                <a:tabLst/>
                <a:defRPr/>
              </a:pPr>
              <a:endParaRPr kumimoji="0" lang="en-US" sz="1599"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 name="Group 6"/>
            <p:cNvGrpSpPr/>
            <p:nvPr/>
          </p:nvGrpSpPr>
          <p:grpSpPr>
            <a:xfrm>
              <a:off x="912674" y="1696810"/>
              <a:ext cx="2240298" cy="905256"/>
              <a:chOff x="8425253" y="1287075"/>
              <a:chExt cx="2240298" cy="905256"/>
            </a:xfrm>
          </p:grpSpPr>
          <p:sp>
            <p:nvSpPr>
              <p:cNvPr id="6" name="Rectangle 5"/>
              <p:cNvSpPr/>
              <p:nvPr/>
            </p:nvSpPr>
            <p:spPr bwMode="auto">
              <a:xfrm>
                <a:off x="8425253" y="1287075"/>
                <a:ext cx="2240298" cy="9052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Azure VMs</a:t>
                </a:r>
              </a:p>
            </p:txBody>
          </p:sp>
          <p:pic>
            <p:nvPicPr>
              <p:cNvPr id="28" name="Picture 46"/>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8632012" y="1446994"/>
                <a:ext cx="660312" cy="60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useBgFill="1">
        <p:nvSpPr>
          <p:cNvPr id="2" name="Rectangle 1"/>
          <p:cNvSpPr/>
          <p:nvPr/>
        </p:nvSpPr>
        <p:spPr bwMode="auto">
          <a:xfrm>
            <a:off x="883" y="497"/>
            <a:ext cx="12434711" cy="12029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r>
              <a:rPr lang="en-US"/>
              <a:t>Architecture Decisions</a:t>
            </a:r>
          </a:p>
        </p:txBody>
      </p:sp>
      <p:grpSp>
        <p:nvGrpSpPr>
          <p:cNvPr id="14" name="Group 13"/>
          <p:cNvGrpSpPr/>
          <p:nvPr/>
        </p:nvGrpSpPr>
        <p:grpSpPr>
          <a:xfrm>
            <a:off x="3519890" y="1337022"/>
            <a:ext cx="2422686" cy="4362677"/>
            <a:chOff x="3470477" y="1676507"/>
            <a:chExt cx="2423030" cy="4363296"/>
          </a:xfrm>
        </p:grpSpPr>
        <p:grpSp>
          <p:nvGrpSpPr>
            <p:cNvPr id="13" name="Group 12"/>
            <p:cNvGrpSpPr/>
            <p:nvPr/>
          </p:nvGrpSpPr>
          <p:grpSpPr>
            <a:xfrm>
              <a:off x="3470477" y="1676507"/>
              <a:ext cx="2423030" cy="4363296"/>
              <a:chOff x="9090506" y="1676507"/>
              <a:chExt cx="2240299" cy="4363296"/>
            </a:xfrm>
          </p:grpSpPr>
          <p:sp>
            <p:nvSpPr>
              <p:cNvPr id="16" name="Rectangle 15"/>
              <p:cNvSpPr/>
              <p:nvPr/>
            </p:nvSpPr>
            <p:spPr bwMode="auto">
              <a:xfrm>
                <a:off x="9090506" y="2581763"/>
                <a:ext cx="2240299" cy="345804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st portability from on-premises</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cosystem of apps</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Host OS abstracted, but still requires management</a:t>
                </a:r>
              </a:p>
            </p:txBody>
          </p:sp>
          <p:sp>
            <p:nvSpPr>
              <p:cNvPr id="19" name="Rectangle 18"/>
              <p:cNvSpPr/>
              <p:nvPr/>
            </p:nvSpPr>
            <p:spPr bwMode="auto">
              <a:xfrm>
                <a:off x="9090507" y="1676507"/>
                <a:ext cx="2240298" cy="9052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endParaRPr kumimoji="0" lang="en-US" sz="1599" b="0" i="0" u="none" strike="noStrike" kern="1200" cap="none" spc="0" normalizeH="0" baseline="0" noProof="0">
                  <a:ln>
                    <a:noFill/>
                  </a:ln>
                  <a:solidFill>
                    <a:srgbClr val="FFFFFF"/>
                  </a:solidFill>
                  <a:effectLst/>
                  <a:uLnTx/>
                  <a:uFillTx/>
                  <a:latin typeface="Segoe UI"/>
                  <a:ea typeface="+mn-ea"/>
                  <a:cs typeface="+mn-cs"/>
                </a:endParaRPr>
              </a:p>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Containers</a:t>
                </a:r>
              </a:p>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endParaRPr kumimoji="0" lang="en-US" sz="1599"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 name="Group 20"/>
            <p:cNvGrpSpPr/>
            <p:nvPr/>
          </p:nvGrpSpPr>
          <p:grpSpPr>
            <a:xfrm>
              <a:off x="3582037" y="1904464"/>
              <a:ext cx="798603" cy="464897"/>
              <a:chOff x="9011696" y="1856729"/>
              <a:chExt cx="892824" cy="519746"/>
            </a:xfrm>
          </p:grpSpPr>
          <p:grpSp>
            <p:nvGrpSpPr>
              <p:cNvPr id="39" name="Group 38"/>
              <p:cNvGrpSpPr/>
              <p:nvPr/>
            </p:nvGrpSpPr>
            <p:grpSpPr>
              <a:xfrm>
                <a:off x="9011696" y="1856729"/>
                <a:ext cx="679115" cy="355896"/>
                <a:chOff x="9489280" y="785813"/>
                <a:chExt cx="1076894" cy="564356"/>
              </a:xfrm>
            </p:grpSpPr>
            <p:sp>
              <p:nvSpPr>
                <p:cNvPr id="40" name="Rectangle 39"/>
                <p:cNvSpPr/>
                <p:nvPr/>
              </p:nvSpPr>
              <p:spPr bwMode="auto">
                <a:xfrm>
                  <a:off x="9689306" y="909638"/>
                  <a:ext cx="876868" cy="440531"/>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Parallelogram 40"/>
                <p:cNvSpPr/>
                <p:nvPr/>
              </p:nvSpPr>
              <p:spPr bwMode="auto">
                <a:xfrm rot="16200000">
                  <a:off x="9311853" y="989434"/>
                  <a:ext cx="528638" cy="173781"/>
                </a:xfrm>
                <a:prstGeom prst="parallelogram">
                  <a:avLst>
                    <a:gd name="adj" fmla="val 55081"/>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Parallelogram 41"/>
                <p:cNvSpPr/>
                <p:nvPr/>
              </p:nvSpPr>
              <p:spPr bwMode="auto">
                <a:xfrm flipH="1">
                  <a:off x="9489280" y="785813"/>
                  <a:ext cx="1076891" cy="99540"/>
                </a:xfrm>
                <a:prstGeom prst="parallelogram">
                  <a:avLst>
                    <a:gd name="adj" fmla="val 188803"/>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 name="Group 54"/>
              <p:cNvGrpSpPr/>
              <p:nvPr/>
            </p:nvGrpSpPr>
            <p:grpSpPr>
              <a:xfrm>
                <a:off x="9225405" y="2028668"/>
                <a:ext cx="679115" cy="347807"/>
                <a:chOff x="9489280" y="785813"/>
                <a:chExt cx="1076893" cy="551530"/>
              </a:xfrm>
            </p:grpSpPr>
            <p:sp>
              <p:nvSpPr>
                <p:cNvPr id="56" name="Rectangle 55"/>
                <p:cNvSpPr/>
                <p:nvPr/>
              </p:nvSpPr>
              <p:spPr bwMode="auto">
                <a:xfrm>
                  <a:off x="9689305" y="896811"/>
                  <a:ext cx="876868" cy="440532"/>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Parallelogram 56"/>
                <p:cNvSpPr/>
                <p:nvPr/>
              </p:nvSpPr>
              <p:spPr bwMode="auto">
                <a:xfrm rot="16200000">
                  <a:off x="9311852" y="981103"/>
                  <a:ext cx="528638" cy="173780"/>
                </a:xfrm>
                <a:prstGeom prst="parallelogram">
                  <a:avLst>
                    <a:gd name="adj" fmla="val 55081"/>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Parallelogram 57"/>
                <p:cNvSpPr/>
                <p:nvPr/>
              </p:nvSpPr>
              <p:spPr bwMode="auto">
                <a:xfrm flipH="1">
                  <a:off x="9489280" y="785813"/>
                  <a:ext cx="1076891" cy="99540"/>
                </a:xfrm>
                <a:prstGeom prst="parallelogram">
                  <a:avLst>
                    <a:gd name="adj" fmla="val 188803"/>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34" name="Group 33"/>
          <p:cNvGrpSpPr/>
          <p:nvPr/>
        </p:nvGrpSpPr>
        <p:grpSpPr>
          <a:xfrm>
            <a:off x="8958943" y="1342000"/>
            <a:ext cx="2584945" cy="4357699"/>
            <a:chOff x="3341537" y="1786367"/>
            <a:chExt cx="2708858" cy="4358317"/>
          </a:xfrm>
        </p:grpSpPr>
        <p:sp>
          <p:nvSpPr>
            <p:cNvPr id="35" name="Rectangle 34"/>
            <p:cNvSpPr/>
            <p:nvPr/>
          </p:nvSpPr>
          <p:spPr bwMode="auto">
            <a:xfrm>
              <a:off x="3341537" y="2688604"/>
              <a:ext cx="2708858" cy="345608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st CI and CD setup</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No hosting, just code</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fficien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Transparent Scaling</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Requires some rearchitecting</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Not suitable for all apps/components</a:t>
              </a:r>
            </a:p>
          </p:txBody>
        </p:sp>
        <p:sp>
          <p:nvSpPr>
            <p:cNvPr id="37" name="Rectangle 36"/>
            <p:cNvSpPr/>
            <p:nvPr/>
          </p:nvSpPr>
          <p:spPr bwMode="auto">
            <a:xfrm>
              <a:off x="3341537" y="1786367"/>
              <a:ext cx="2708858" cy="9022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less</a:t>
              </a:r>
              <a:endParaRPr kumimoji="0" lang="en-US"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3"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6784" y="1507044"/>
            <a:ext cx="609600" cy="609600"/>
          </a:xfrm>
          <a:prstGeom prst="rect">
            <a:avLst/>
          </a:prstGeom>
        </p:spPr>
      </p:pic>
      <p:sp>
        <p:nvSpPr>
          <p:cNvPr id="12" name="Right Brace 11"/>
          <p:cNvSpPr/>
          <p:nvPr/>
        </p:nvSpPr>
        <p:spPr>
          <a:xfrm rot="5400000">
            <a:off x="3255544" y="3424720"/>
            <a:ext cx="360040" cy="5014024"/>
          </a:xfrm>
          <a:prstGeom prst="rightBrace">
            <a:avLst>
              <a:gd name="adj1" fmla="val 35847"/>
              <a:gd name="adj2" fmla="val 5000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ight Brace 35"/>
          <p:cNvSpPr/>
          <p:nvPr/>
        </p:nvSpPr>
        <p:spPr>
          <a:xfrm rot="5400000">
            <a:off x="8685207" y="3253071"/>
            <a:ext cx="360040" cy="5357321"/>
          </a:xfrm>
          <a:prstGeom prst="rightBrace">
            <a:avLst>
              <a:gd name="adj1" fmla="val 35847"/>
              <a:gd name="adj2" fmla="val 5000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TextBox 14"/>
          <p:cNvSpPr txBox="1"/>
          <p:nvPr/>
        </p:nvSpPr>
        <p:spPr>
          <a:xfrm>
            <a:off x="2319440" y="6094056"/>
            <a:ext cx="223224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aaS</a:t>
            </a:r>
          </a:p>
        </p:txBody>
      </p:sp>
      <p:sp>
        <p:nvSpPr>
          <p:cNvPr id="38" name="TextBox 37"/>
          <p:cNvSpPr txBox="1"/>
          <p:nvPr/>
        </p:nvSpPr>
        <p:spPr>
          <a:xfrm>
            <a:off x="7749103" y="6111752"/>
            <a:ext cx="223224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aaS</a:t>
            </a:r>
          </a:p>
        </p:txBody>
      </p:sp>
    </p:spTree>
    <p:extLst>
      <p:ext uri="{BB962C8B-B14F-4D97-AF65-F5344CB8AC3E}">
        <p14:creationId xmlns:p14="http://schemas.microsoft.com/office/powerpoint/2010/main" val="401990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anaging Azure Deployments</a:t>
            </a:r>
          </a:p>
        </p:txBody>
      </p:sp>
      <p:sp>
        <p:nvSpPr>
          <p:cNvPr id="6" name="Text Placeholder 5"/>
          <p:cNvSpPr>
            <a:spLocks noGrp="1"/>
          </p:cNvSpPr>
          <p:nvPr>
            <p:ph type="body" sz="quarter" idx="10"/>
          </p:nvPr>
        </p:nvSpPr>
        <p:spPr>
          <a:xfrm>
            <a:off x="1783755" y="1328063"/>
            <a:ext cx="8868964" cy="2006703"/>
          </a:xfrm>
          <a:solidFill>
            <a:srgbClr val="0078D7"/>
          </a:solidFill>
        </p:spPr>
        <p:txBody>
          <a:bodyPr/>
          <a:lstStyle/>
          <a:p>
            <a:pPr algn="ctr"/>
            <a:r>
              <a:rPr lang="en-US" sz="2400" b="1">
                <a:solidFill>
                  <a:schemeClr val="bg1"/>
                </a:solidFill>
                <a:latin typeface="+mn-lt"/>
              </a:rPr>
              <a:t>Azure Service Manager (ASM)</a:t>
            </a:r>
          </a:p>
          <a:p>
            <a:pPr marL="349724" lvl="1" indent="-349724">
              <a:buFont typeface="Arial" panose="020B0604020202020204" pitchFamily="34" charset="0"/>
              <a:buChar char="•"/>
            </a:pPr>
            <a:r>
              <a:rPr lang="en-US" sz="2200">
                <a:solidFill>
                  <a:schemeClr val="bg1"/>
                </a:solidFill>
              </a:rPr>
              <a:t>Legacy way to deploy and manage applications hosted in Azure</a:t>
            </a:r>
          </a:p>
          <a:p>
            <a:pPr marL="349724" lvl="1" indent="-349724">
              <a:buFont typeface="Arial" panose="020B0604020202020204" pitchFamily="34" charset="0"/>
              <a:buChar char="•"/>
            </a:pPr>
            <a:r>
              <a:rPr lang="en-US" sz="2200">
                <a:solidFill>
                  <a:schemeClr val="bg1"/>
                </a:solidFill>
              </a:rPr>
              <a:t>Classic portal</a:t>
            </a:r>
          </a:p>
          <a:p>
            <a:pPr marL="349724" lvl="1" indent="-349724">
              <a:buFont typeface="Arial" panose="020B0604020202020204" pitchFamily="34" charset="0"/>
              <a:buChar char="•"/>
            </a:pPr>
            <a:r>
              <a:rPr lang="en-US" sz="2200">
                <a:solidFill>
                  <a:schemeClr val="bg1"/>
                </a:solidFill>
              </a:rPr>
              <a:t>PowerShell / CLI (default mode)</a:t>
            </a:r>
          </a:p>
          <a:p>
            <a:pPr marL="349724" lvl="1" indent="-349724">
              <a:buFont typeface="Arial" panose="020B0604020202020204" pitchFamily="34" charset="0"/>
              <a:buChar char="•"/>
            </a:pPr>
            <a:r>
              <a:rPr lang="en-US" sz="2200">
                <a:solidFill>
                  <a:schemeClr val="bg1"/>
                </a:solidFill>
              </a:rPr>
              <a:t>No templating</a:t>
            </a:r>
            <a:endParaRPr lang="en-US" sz="2400">
              <a:solidFill>
                <a:schemeClr val="bg1"/>
              </a:solidFill>
            </a:endParaRPr>
          </a:p>
        </p:txBody>
      </p:sp>
      <p:sp>
        <p:nvSpPr>
          <p:cNvPr id="2" name="Rectangle 1"/>
          <p:cNvSpPr/>
          <p:nvPr/>
        </p:nvSpPr>
        <p:spPr>
          <a:xfrm>
            <a:off x="1783755" y="3569270"/>
            <a:ext cx="8868964" cy="3170099"/>
          </a:xfrm>
          <a:prstGeom prst="rect">
            <a:avLst/>
          </a:prstGeom>
          <a:solidFill>
            <a:srgbClr val="0078D7"/>
          </a:solidFill>
        </p:spPr>
        <p:txBody>
          <a:bodyPr wrap="square">
            <a:spAutoFit/>
          </a:bodyPr>
          <a:lstStyle/>
          <a:p>
            <a:pPr algn="ctr"/>
            <a:r>
              <a:rPr lang="en-US" sz="2400" b="1">
                <a:solidFill>
                  <a:schemeClr val="bg1"/>
                </a:solidFill>
              </a:rPr>
              <a:t>Azure Resource Manager (ARM)</a:t>
            </a:r>
          </a:p>
          <a:p>
            <a:pPr marL="378293" lvl="1" indent="-349724">
              <a:buFont typeface="Arial" panose="020B0604020202020204" pitchFamily="34" charset="0"/>
              <a:buChar char="•"/>
            </a:pPr>
            <a:r>
              <a:rPr lang="en-US" sz="2200">
                <a:solidFill>
                  <a:schemeClr val="bg1"/>
                </a:solidFill>
              </a:rPr>
              <a:t>Modern way to deploy and manage applications hosted in Azure</a:t>
            </a:r>
          </a:p>
          <a:p>
            <a:pPr marL="378293" lvl="1" indent="-349724">
              <a:buFont typeface="Arial" panose="020B0604020202020204" pitchFamily="34" charset="0"/>
              <a:buChar char="•"/>
            </a:pPr>
            <a:r>
              <a:rPr lang="en-US" sz="2200">
                <a:solidFill>
                  <a:schemeClr val="bg1"/>
                </a:solidFill>
              </a:rPr>
              <a:t>Production Portal</a:t>
            </a:r>
          </a:p>
          <a:p>
            <a:pPr marL="378293" lvl="1" indent="-349724">
              <a:buFont typeface="Arial" panose="020B0604020202020204" pitchFamily="34" charset="0"/>
              <a:buChar char="•"/>
            </a:pPr>
            <a:r>
              <a:rPr lang="en-US" sz="2200">
                <a:solidFill>
                  <a:schemeClr val="bg1"/>
                </a:solidFill>
              </a:rPr>
              <a:t>PowerShell / Cross platform CLI</a:t>
            </a:r>
          </a:p>
          <a:p>
            <a:pPr marL="378293" lvl="1" indent="-349724">
              <a:buFont typeface="Arial" panose="020B0604020202020204" pitchFamily="34" charset="0"/>
              <a:buChar char="•"/>
            </a:pPr>
            <a:r>
              <a:rPr lang="en-US" sz="2200">
                <a:solidFill>
                  <a:schemeClr val="bg1"/>
                </a:solidFill>
              </a:rPr>
              <a:t>REST API</a:t>
            </a:r>
          </a:p>
          <a:p>
            <a:pPr marL="378293" lvl="1" indent="-349724">
              <a:buFont typeface="Arial" panose="020B0604020202020204" pitchFamily="34" charset="0"/>
              <a:buChar char="•"/>
            </a:pPr>
            <a:r>
              <a:rPr lang="en-US" sz="2200">
                <a:solidFill>
                  <a:schemeClr val="bg1"/>
                </a:solidFill>
              </a:rPr>
              <a:t>Idempotent and incremental deployments</a:t>
            </a:r>
          </a:p>
          <a:p>
            <a:pPr marL="378293" lvl="1" indent="-349724">
              <a:buFont typeface="Arial" panose="020B0604020202020204" pitchFamily="34" charset="0"/>
              <a:buChar char="•"/>
            </a:pPr>
            <a:r>
              <a:rPr lang="en-US" sz="2200">
                <a:solidFill>
                  <a:schemeClr val="bg1"/>
                </a:solidFill>
              </a:rPr>
              <a:t>Use Azure Resource Groups as unit of management</a:t>
            </a:r>
          </a:p>
          <a:p>
            <a:pPr marL="378293" lvl="1" indent="-349724">
              <a:buFont typeface="Arial" panose="020B0604020202020204" pitchFamily="34" charset="0"/>
              <a:buChar char="•"/>
            </a:pPr>
            <a:r>
              <a:rPr lang="en-US" sz="2200">
                <a:solidFill>
                  <a:schemeClr val="bg1"/>
                </a:solidFill>
              </a:rPr>
              <a:t>Templates and declarative orchestration</a:t>
            </a:r>
          </a:p>
          <a:p>
            <a:pPr marL="378293" lvl="1" indent="-349724">
              <a:buFont typeface="Arial" panose="020B0604020202020204" pitchFamily="34" charset="0"/>
              <a:buChar char="•"/>
            </a:pPr>
            <a:r>
              <a:rPr lang="en-US" sz="2200">
                <a:solidFill>
                  <a:schemeClr val="bg1"/>
                </a:solidFill>
              </a:rPr>
              <a:t>Infrastructure As Code approach</a:t>
            </a:r>
          </a:p>
        </p:txBody>
      </p:sp>
      <p:sp>
        <p:nvSpPr>
          <p:cNvPr id="3" name="Rectangle 2"/>
          <p:cNvSpPr/>
          <p:nvPr/>
        </p:nvSpPr>
        <p:spPr bwMode="auto">
          <a:xfrm>
            <a:off x="1783755" y="1328063"/>
            <a:ext cx="8868964" cy="2006703"/>
          </a:xfrm>
          <a:prstGeom prst="rect">
            <a:avLst/>
          </a:prstGeom>
          <a:solidFill>
            <a:srgbClr val="E0E0E0">
              <a:alpha val="7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137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p:cNvSpPr txBox="1">
            <a:spLocks/>
          </p:cNvSpPr>
          <p:nvPr/>
        </p:nvSpPr>
        <p:spPr>
          <a:xfrm>
            <a:off x="241573" y="83753"/>
            <a:ext cx="11644040" cy="9159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8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Log Analytics - Collect any machine data</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3892" y="909259"/>
            <a:ext cx="5193555" cy="3197604"/>
          </a:xfrm>
          <a:prstGeom prst="rect">
            <a:avLst/>
          </a:prstGeom>
        </p:spPr>
      </p:pic>
      <p:sp>
        <p:nvSpPr>
          <p:cNvPr id="25" name="TextBox 24"/>
          <p:cNvSpPr txBox="1"/>
          <p:nvPr/>
        </p:nvSpPr>
        <p:spPr>
          <a:xfrm>
            <a:off x="6477484" y="4183050"/>
            <a:ext cx="3578316" cy="2308324"/>
          </a:xfrm>
          <a:prstGeom prst="rect">
            <a:avLst/>
          </a:prstGeom>
          <a:noFill/>
        </p:spPr>
        <p:txBody>
          <a:bodyPr wrap="squar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ustom Application/Infra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Platform telemetry</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event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 performance counter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Event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IS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TW logs</a:t>
            </a:r>
          </a:p>
        </p:txBody>
      </p:sp>
      <p:grpSp>
        <p:nvGrpSpPr>
          <p:cNvPr id="13" name="Group 12">
            <a:extLst>
              <a:ext uri="{FF2B5EF4-FFF2-40B4-BE49-F238E27FC236}">
                <a16:creationId xmlns:a16="http://schemas.microsoft.com/office/drawing/2014/main" id="{07F06E6E-A4A0-49A3-A30D-ACCA4843664A}"/>
              </a:ext>
            </a:extLst>
          </p:cNvPr>
          <p:cNvGrpSpPr/>
          <p:nvPr/>
        </p:nvGrpSpPr>
        <p:grpSpPr>
          <a:xfrm>
            <a:off x="312326" y="3290405"/>
            <a:ext cx="2818039" cy="923757"/>
            <a:chOff x="312326" y="3290405"/>
            <a:chExt cx="2818039" cy="923757"/>
          </a:xfrm>
        </p:grpSpPr>
        <p:sp>
          <p:nvSpPr>
            <p:cNvPr id="28" name="TextBox 27"/>
            <p:cNvSpPr txBox="1"/>
            <p:nvPr/>
          </p:nvSpPr>
          <p:spPr>
            <a:xfrm>
              <a:off x="312326" y="3290405"/>
              <a:ext cx="2818039"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HTTP Data Collector API</a:t>
              </a:r>
            </a:p>
          </p:txBody>
        </p:sp>
        <p:grpSp>
          <p:nvGrpSpPr>
            <p:cNvPr id="29" name="Group 28"/>
            <p:cNvGrpSpPr/>
            <p:nvPr/>
          </p:nvGrpSpPr>
          <p:grpSpPr>
            <a:xfrm>
              <a:off x="1484896" y="3765526"/>
              <a:ext cx="608865" cy="448636"/>
              <a:chOff x="2467699" y="5436613"/>
              <a:chExt cx="740913" cy="556429"/>
            </a:xfrm>
            <a:solidFill>
              <a:schemeClr val="tx1"/>
            </a:solidFill>
          </p:grpSpPr>
          <p:sp>
            <p:nvSpPr>
              <p:cNvPr id="30" name="Oval 29"/>
              <p:cNvSpPr/>
              <p:nvPr/>
            </p:nvSpPr>
            <p:spPr bwMode="auto">
              <a:xfrm>
                <a:off x="2467699" y="5436613"/>
                <a:ext cx="352932" cy="350858"/>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1" name="Straight Connector 30"/>
              <p:cNvCxnSpPr>
                <a:stCxn id="30" idx="6"/>
                <a:endCxn id="32" idx="2"/>
              </p:cNvCxnSpPr>
              <p:nvPr/>
            </p:nvCxnSpPr>
            <p:spPr>
              <a:xfrm flipV="1">
                <a:off x="2820631" y="5608774"/>
                <a:ext cx="211515" cy="3268"/>
              </a:xfrm>
              <a:prstGeom prst="line">
                <a:avLst/>
              </a:prstGeom>
              <a:grpFill/>
              <a:ln>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3032146" y="5521059"/>
                <a:ext cx="176466" cy="175429"/>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2903812" y="5817613"/>
                <a:ext cx="176466" cy="175429"/>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4" name="Straight Connector 33"/>
              <p:cNvCxnSpPr>
                <a:stCxn id="30" idx="5"/>
                <a:endCxn id="33" idx="1"/>
              </p:cNvCxnSpPr>
              <p:nvPr/>
            </p:nvCxnSpPr>
            <p:spPr>
              <a:xfrm>
                <a:off x="2768945" y="5736089"/>
                <a:ext cx="160710" cy="107215"/>
              </a:xfrm>
              <a:prstGeom prst="line">
                <a:avLst/>
              </a:prstGeom>
              <a:grpFill/>
              <a:ln>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5" name="TextBox 34"/>
          <p:cNvSpPr txBox="1"/>
          <p:nvPr/>
        </p:nvSpPr>
        <p:spPr>
          <a:xfrm>
            <a:off x="9726871" y="3893100"/>
            <a:ext cx="2522165" cy="293311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Syslog</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system metric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irewall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Networking Syslog</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JSON doc</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365 Activity Event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41" name="Picture 4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524621" y="2068969"/>
            <a:ext cx="1332416" cy="1332416"/>
          </a:xfrm>
          <a:prstGeom prst="rect">
            <a:avLst/>
          </a:prstGeom>
        </p:spPr>
      </p:pic>
      <p:sp>
        <p:nvSpPr>
          <p:cNvPr id="42" name="TextBox 41"/>
          <p:cNvSpPr txBox="1"/>
          <p:nvPr/>
        </p:nvSpPr>
        <p:spPr>
          <a:xfrm>
            <a:off x="7034011" y="3483463"/>
            <a:ext cx="2032208" cy="2215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   Solutions</a:t>
            </a:r>
          </a:p>
        </p:txBody>
      </p:sp>
      <p:sp>
        <p:nvSpPr>
          <p:cNvPr id="43" name="TextBox 42"/>
          <p:cNvSpPr txBox="1"/>
          <p:nvPr/>
        </p:nvSpPr>
        <p:spPr>
          <a:xfrm>
            <a:off x="7254061" y="2375367"/>
            <a:ext cx="2742444" cy="2215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Search &amp; Analytics</a:t>
            </a:r>
          </a:p>
        </p:txBody>
      </p:sp>
      <p:sp>
        <p:nvSpPr>
          <p:cNvPr id="44" name="TextBox 43"/>
          <p:cNvSpPr txBox="1"/>
          <p:nvPr/>
        </p:nvSpPr>
        <p:spPr>
          <a:xfrm>
            <a:off x="8405611" y="3483463"/>
            <a:ext cx="1319814" cy="443198"/>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Azure Portal</a:t>
            </a:r>
          </a:p>
        </p:txBody>
      </p:sp>
      <p:cxnSp>
        <p:nvCxnSpPr>
          <p:cNvPr id="45" name="Straight Connector 44"/>
          <p:cNvCxnSpPr/>
          <p:nvPr/>
        </p:nvCxnSpPr>
        <p:spPr>
          <a:xfrm flipV="1">
            <a:off x="7681700" y="2806867"/>
            <a:ext cx="586175" cy="427672"/>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8293028" y="2827674"/>
            <a:ext cx="495706" cy="449611"/>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7666778" y="3234555"/>
            <a:ext cx="1104502" cy="0"/>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7495225" y="3079114"/>
            <a:ext cx="343814" cy="343814"/>
            <a:chOff x="4400221" y="2734237"/>
            <a:chExt cx="868587" cy="868587"/>
          </a:xfrm>
        </p:grpSpPr>
        <p:sp useBgFill="1">
          <p:nvSpPr>
            <p:cNvPr id="49" name="Oval 48"/>
            <p:cNvSpPr/>
            <p:nvPr/>
          </p:nvSpPr>
          <p:spPr bwMode="auto">
            <a:xfrm>
              <a:off x="4400221" y="2734237"/>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11"/>
            <p:cNvSpPr>
              <a:spLocks noChangeAspect="1" noEditPoints="1"/>
            </p:cNvSpPr>
            <p:nvPr/>
          </p:nvSpPr>
          <p:spPr bwMode="auto">
            <a:xfrm>
              <a:off x="4531271" y="2917695"/>
              <a:ext cx="595120" cy="552202"/>
            </a:xfrm>
            <a:custGeom>
              <a:avLst/>
              <a:gdLst>
                <a:gd name="T0" fmla="*/ 125 w 264"/>
                <a:gd name="T1" fmla="*/ 31 h 245"/>
                <a:gd name="T2" fmla="*/ 33 w 264"/>
                <a:gd name="T3" fmla="*/ 57 h 245"/>
                <a:gd name="T4" fmla="*/ 14 w 264"/>
                <a:gd name="T5" fmla="*/ 29 h 245"/>
                <a:gd name="T6" fmla="*/ 105 w 264"/>
                <a:gd name="T7" fmla="*/ 9 h 245"/>
                <a:gd name="T8" fmla="*/ 126 w 264"/>
                <a:gd name="T9" fmla="*/ 24 h 245"/>
                <a:gd name="T10" fmla="*/ 235 w 264"/>
                <a:gd name="T11" fmla="*/ 57 h 245"/>
                <a:gd name="T12" fmla="*/ 253 w 264"/>
                <a:gd name="T13" fmla="*/ 24 h 245"/>
                <a:gd name="T14" fmla="*/ 156 w 264"/>
                <a:gd name="T15" fmla="*/ 5 h 245"/>
                <a:gd name="T16" fmla="*/ 144 w 264"/>
                <a:gd name="T17" fmla="*/ 31 h 245"/>
                <a:gd name="T18" fmla="*/ 235 w 264"/>
                <a:gd name="T19" fmla="*/ 57 h 245"/>
                <a:gd name="T20" fmla="*/ 191 w 264"/>
                <a:gd name="T21" fmla="*/ 141 h 245"/>
                <a:gd name="T22" fmla="*/ 261 w 264"/>
                <a:gd name="T23" fmla="*/ 97 h 245"/>
                <a:gd name="T24" fmla="*/ 224 w 264"/>
                <a:gd name="T25" fmla="*/ 68 h 245"/>
                <a:gd name="T26" fmla="*/ 143 w 264"/>
                <a:gd name="T27" fmla="*/ 113 h 245"/>
                <a:gd name="T28" fmla="*/ 177 w 264"/>
                <a:gd name="T29" fmla="*/ 140 h 245"/>
                <a:gd name="T30" fmla="*/ 91 w 264"/>
                <a:gd name="T31" fmla="*/ 145 h 245"/>
                <a:gd name="T32" fmla="*/ 126 w 264"/>
                <a:gd name="T33" fmla="*/ 105 h 245"/>
                <a:gd name="T34" fmla="*/ 33 w 264"/>
                <a:gd name="T35" fmla="*/ 70 h 245"/>
                <a:gd name="T36" fmla="*/ 4 w 264"/>
                <a:gd name="T37" fmla="*/ 104 h 245"/>
                <a:gd name="T38" fmla="*/ 91 w 264"/>
                <a:gd name="T39" fmla="*/ 145 h 245"/>
                <a:gd name="T40" fmla="*/ 123 w 264"/>
                <a:gd name="T41" fmla="*/ 130 h 245"/>
                <a:gd name="T42" fmla="*/ 80 w 264"/>
                <a:gd name="T43" fmla="*/ 159 h 245"/>
                <a:gd name="T44" fmla="*/ 38 w 264"/>
                <a:gd name="T45" fmla="*/ 143 h 245"/>
                <a:gd name="T46" fmla="*/ 45 w 264"/>
                <a:gd name="T47" fmla="*/ 207 h 245"/>
                <a:gd name="T48" fmla="*/ 129 w 264"/>
                <a:gd name="T49" fmla="*/ 239 h 245"/>
                <a:gd name="T50" fmla="*/ 129 w 264"/>
                <a:gd name="T51" fmla="*/ 133 h 245"/>
                <a:gd name="T52" fmla="*/ 177 w 264"/>
                <a:gd name="T53" fmla="*/ 151 h 245"/>
                <a:gd name="T54" fmla="*/ 141 w 264"/>
                <a:gd name="T55" fmla="*/ 131 h 245"/>
                <a:gd name="T56" fmla="*/ 148 w 264"/>
                <a:gd name="T57" fmla="*/ 243 h 245"/>
                <a:gd name="T58" fmla="*/ 230 w 264"/>
                <a:gd name="T59" fmla="*/ 196 h 245"/>
                <a:gd name="T60" fmla="*/ 223 w 264"/>
                <a:gd name="T61" fmla="*/ 136 h 245"/>
                <a:gd name="T62" fmla="*/ 190 w 264"/>
                <a:gd name="T63" fmla="*/ 15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 h="245">
                  <a:moveTo>
                    <a:pt x="126" y="24"/>
                  </a:moveTo>
                  <a:cubicBezTo>
                    <a:pt x="130" y="26"/>
                    <a:pt x="129" y="29"/>
                    <a:pt x="125" y="31"/>
                  </a:cubicBezTo>
                  <a:cubicBezTo>
                    <a:pt x="46" y="60"/>
                    <a:pt x="46" y="60"/>
                    <a:pt x="46" y="60"/>
                  </a:cubicBezTo>
                  <a:cubicBezTo>
                    <a:pt x="42" y="62"/>
                    <a:pt x="36" y="60"/>
                    <a:pt x="33" y="57"/>
                  </a:cubicBezTo>
                  <a:cubicBezTo>
                    <a:pt x="12" y="36"/>
                    <a:pt x="12" y="36"/>
                    <a:pt x="12" y="36"/>
                  </a:cubicBezTo>
                  <a:cubicBezTo>
                    <a:pt x="9" y="33"/>
                    <a:pt x="9" y="30"/>
                    <a:pt x="14" y="29"/>
                  </a:cubicBezTo>
                  <a:cubicBezTo>
                    <a:pt x="91" y="7"/>
                    <a:pt x="91" y="7"/>
                    <a:pt x="91" y="7"/>
                  </a:cubicBezTo>
                  <a:cubicBezTo>
                    <a:pt x="95" y="6"/>
                    <a:pt x="102" y="7"/>
                    <a:pt x="105" y="9"/>
                  </a:cubicBezTo>
                  <a:cubicBezTo>
                    <a:pt x="126" y="24"/>
                    <a:pt x="126" y="24"/>
                    <a:pt x="126" y="24"/>
                  </a:cubicBezTo>
                  <a:cubicBezTo>
                    <a:pt x="126" y="24"/>
                    <a:pt x="126" y="24"/>
                    <a:pt x="126" y="24"/>
                  </a:cubicBezTo>
                  <a:close/>
                  <a:moveTo>
                    <a:pt x="235" y="57"/>
                  </a:moveTo>
                  <a:cubicBezTo>
                    <a:pt x="235" y="57"/>
                    <a:pt x="235" y="57"/>
                    <a:pt x="235" y="57"/>
                  </a:cubicBezTo>
                  <a:cubicBezTo>
                    <a:pt x="256" y="32"/>
                    <a:pt x="256" y="32"/>
                    <a:pt x="256" y="32"/>
                  </a:cubicBezTo>
                  <a:cubicBezTo>
                    <a:pt x="258" y="29"/>
                    <a:pt x="257" y="25"/>
                    <a:pt x="253" y="24"/>
                  </a:cubicBezTo>
                  <a:cubicBezTo>
                    <a:pt x="253" y="24"/>
                    <a:pt x="253" y="24"/>
                    <a:pt x="168" y="1"/>
                  </a:cubicBezTo>
                  <a:cubicBezTo>
                    <a:pt x="164" y="0"/>
                    <a:pt x="158" y="2"/>
                    <a:pt x="156" y="5"/>
                  </a:cubicBezTo>
                  <a:cubicBezTo>
                    <a:pt x="156" y="5"/>
                    <a:pt x="156" y="5"/>
                    <a:pt x="142" y="22"/>
                  </a:cubicBezTo>
                  <a:cubicBezTo>
                    <a:pt x="139" y="25"/>
                    <a:pt x="140" y="29"/>
                    <a:pt x="144" y="31"/>
                  </a:cubicBezTo>
                  <a:cubicBezTo>
                    <a:pt x="144" y="31"/>
                    <a:pt x="144" y="31"/>
                    <a:pt x="223" y="60"/>
                  </a:cubicBezTo>
                  <a:cubicBezTo>
                    <a:pt x="227" y="62"/>
                    <a:pt x="233" y="60"/>
                    <a:pt x="235" y="57"/>
                  </a:cubicBezTo>
                  <a:close/>
                  <a:moveTo>
                    <a:pt x="177" y="140"/>
                  </a:moveTo>
                  <a:cubicBezTo>
                    <a:pt x="181" y="142"/>
                    <a:pt x="187" y="143"/>
                    <a:pt x="191" y="141"/>
                  </a:cubicBezTo>
                  <a:cubicBezTo>
                    <a:pt x="259" y="106"/>
                    <a:pt x="259" y="106"/>
                    <a:pt x="259" y="106"/>
                  </a:cubicBezTo>
                  <a:cubicBezTo>
                    <a:pt x="263" y="104"/>
                    <a:pt x="264" y="100"/>
                    <a:pt x="261" y="97"/>
                  </a:cubicBezTo>
                  <a:cubicBezTo>
                    <a:pt x="236" y="70"/>
                    <a:pt x="236" y="70"/>
                    <a:pt x="236" y="70"/>
                  </a:cubicBezTo>
                  <a:cubicBezTo>
                    <a:pt x="233" y="67"/>
                    <a:pt x="228" y="66"/>
                    <a:pt x="224" y="68"/>
                  </a:cubicBezTo>
                  <a:cubicBezTo>
                    <a:pt x="144" y="105"/>
                    <a:pt x="144" y="105"/>
                    <a:pt x="144" y="105"/>
                  </a:cubicBezTo>
                  <a:cubicBezTo>
                    <a:pt x="140" y="107"/>
                    <a:pt x="140" y="110"/>
                    <a:pt x="143" y="113"/>
                  </a:cubicBezTo>
                  <a:cubicBezTo>
                    <a:pt x="177" y="140"/>
                    <a:pt x="177" y="140"/>
                    <a:pt x="177" y="140"/>
                  </a:cubicBezTo>
                  <a:cubicBezTo>
                    <a:pt x="177" y="140"/>
                    <a:pt x="177" y="140"/>
                    <a:pt x="177" y="140"/>
                  </a:cubicBezTo>
                  <a:close/>
                  <a:moveTo>
                    <a:pt x="91" y="145"/>
                  </a:moveTo>
                  <a:cubicBezTo>
                    <a:pt x="91" y="145"/>
                    <a:pt x="91" y="145"/>
                    <a:pt x="91" y="145"/>
                  </a:cubicBezTo>
                  <a:cubicBezTo>
                    <a:pt x="127" y="113"/>
                    <a:pt x="127" y="113"/>
                    <a:pt x="127" y="113"/>
                  </a:cubicBezTo>
                  <a:cubicBezTo>
                    <a:pt x="130" y="110"/>
                    <a:pt x="129" y="106"/>
                    <a:pt x="126" y="105"/>
                  </a:cubicBezTo>
                  <a:cubicBezTo>
                    <a:pt x="126" y="105"/>
                    <a:pt x="126" y="105"/>
                    <a:pt x="46" y="68"/>
                  </a:cubicBezTo>
                  <a:cubicBezTo>
                    <a:pt x="42" y="66"/>
                    <a:pt x="36" y="67"/>
                    <a:pt x="33" y="70"/>
                  </a:cubicBezTo>
                  <a:cubicBezTo>
                    <a:pt x="33" y="70"/>
                    <a:pt x="33" y="70"/>
                    <a:pt x="3" y="95"/>
                  </a:cubicBezTo>
                  <a:cubicBezTo>
                    <a:pt x="0" y="98"/>
                    <a:pt x="0" y="102"/>
                    <a:pt x="4" y="104"/>
                  </a:cubicBezTo>
                  <a:cubicBezTo>
                    <a:pt x="4" y="104"/>
                    <a:pt x="4" y="104"/>
                    <a:pt x="79" y="147"/>
                  </a:cubicBezTo>
                  <a:cubicBezTo>
                    <a:pt x="82" y="149"/>
                    <a:pt x="88" y="148"/>
                    <a:pt x="91" y="145"/>
                  </a:cubicBezTo>
                  <a:close/>
                  <a:moveTo>
                    <a:pt x="129" y="133"/>
                  </a:moveTo>
                  <a:cubicBezTo>
                    <a:pt x="129" y="128"/>
                    <a:pt x="126" y="127"/>
                    <a:pt x="123" y="130"/>
                  </a:cubicBezTo>
                  <a:cubicBezTo>
                    <a:pt x="92" y="158"/>
                    <a:pt x="92" y="158"/>
                    <a:pt x="92" y="158"/>
                  </a:cubicBezTo>
                  <a:cubicBezTo>
                    <a:pt x="89" y="160"/>
                    <a:pt x="84" y="161"/>
                    <a:pt x="80" y="159"/>
                  </a:cubicBezTo>
                  <a:cubicBezTo>
                    <a:pt x="45" y="139"/>
                    <a:pt x="45" y="139"/>
                    <a:pt x="45" y="139"/>
                  </a:cubicBezTo>
                  <a:cubicBezTo>
                    <a:pt x="41" y="137"/>
                    <a:pt x="38" y="139"/>
                    <a:pt x="38" y="143"/>
                  </a:cubicBezTo>
                  <a:cubicBezTo>
                    <a:pt x="38" y="196"/>
                    <a:pt x="38" y="196"/>
                    <a:pt x="38" y="196"/>
                  </a:cubicBezTo>
                  <a:cubicBezTo>
                    <a:pt x="38" y="200"/>
                    <a:pt x="42" y="205"/>
                    <a:pt x="45" y="207"/>
                  </a:cubicBezTo>
                  <a:cubicBezTo>
                    <a:pt x="122" y="243"/>
                    <a:pt x="122" y="243"/>
                    <a:pt x="122" y="243"/>
                  </a:cubicBezTo>
                  <a:cubicBezTo>
                    <a:pt x="126" y="245"/>
                    <a:pt x="129" y="243"/>
                    <a:pt x="129" y="239"/>
                  </a:cubicBezTo>
                  <a:cubicBezTo>
                    <a:pt x="129" y="133"/>
                    <a:pt x="129" y="133"/>
                    <a:pt x="129" y="133"/>
                  </a:cubicBezTo>
                  <a:cubicBezTo>
                    <a:pt x="129" y="133"/>
                    <a:pt x="129" y="133"/>
                    <a:pt x="129" y="133"/>
                  </a:cubicBezTo>
                  <a:close/>
                  <a:moveTo>
                    <a:pt x="190" y="153"/>
                  </a:moveTo>
                  <a:cubicBezTo>
                    <a:pt x="186" y="155"/>
                    <a:pt x="180" y="154"/>
                    <a:pt x="177" y="151"/>
                  </a:cubicBezTo>
                  <a:cubicBezTo>
                    <a:pt x="147" y="128"/>
                    <a:pt x="147" y="128"/>
                    <a:pt x="147" y="128"/>
                  </a:cubicBezTo>
                  <a:cubicBezTo>
                    <a:pt x="143" y="126"/>
                    <a:pt x="141" y="127"/>
                    <a:pt x="141" y="131"/>
                  </a:cubicBezTo>
                  <a:cubicBezTo>
                    <a:pt x="141" y="238"/>
                    <a:pt x="141" y="238"/>
                    <a:pt x="141" y="238"/>
                  </a:cubicBezTo>
                  <a:cubicBezTo>
                    <a:pt x="141" y="242"/>
                    <a:pt x="144" y="244"/>
                    <a:pt x="148" y="243"/>
                  </a:cubicBezTo>
                  <a:cubicBezTo>
                    <a:pt x="223" y="207"/>
                    <a:pt x="223" y="207"/>
                    <a:pt x="223" y="207"/>
                  </a:cubicBezTo>
                  <a:cubicBezTo>
                    <a:pt x="227" y="205"/>
                    <a:pt x="230" y="200"/>
                    <a:pt x="230" y="196"/>
                  </a:cubicBezTo>
                  <a:cubicBezTo>
                    <a:pt x="230" y="140"/>
                    <a:pt x="230" y="140"/>
                    <a:pt x="230" y="140"/>
                  </a:cubicBezTo>
                  <a:cubicBezTo>
                    <a:pt x="230" y="136"/>
                    <a:pt x="227" y="134"/>
                    <a:pt x="223" y="136"/>
                  </a:cubicBezTo>
                  <a:cubicBezTo>
                    <a:pt x="190" y="153"/>
                    <a:pt x="190" y="153"/>
                    <a:pt x="190" y="153"/>
                  </a:cubicBezTo>
                  <a:cubicBezTo>
                    <a:pt x="190" y="153"/>
                    <a:pt x="190" y="153"/>
                    <a:pt x="190" y="153"/>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1" name="Group 50"/>
          <p:cNvGrpSpPr/>
          <p:nvPr/>
        </p:nvGrpSpPr>
        <p:grpSpPr>
          <a:xfrm>
            <a:off x="8100775" y="2635473"/>
            <a:ext cx="343814" cy="343814"/>
            <a:chOff x="5321798" y="2570861"/>
            <a:chExt cx="868587" cy="868587"/>
          </a:xfrm>
        </p:grpSpPr>
        <p:sp useBgFill="1">
          <p:nvSpPr>
            <p:cNvPr id="52" name="Oval 51"/>
            <p:cNvSpPr/>
            <p:nvPr/>
          </p:nvSpPr>
          <p:spPr bwMode="auto">
            <a:xfrm>
              <a:off x="5321798" y="2570861"/>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9"/>
            <p:cNvSpPr>
              <a:spLocks noChangeAspect="1" noEditPoints="1"/>
            </p:cNvSpPr>
            <p:nvPr/>
          </p:nvSpPr>
          <p:spPr bwMode="auto">
            <a:xfrm>
              <a:off x="5511090" y="2737204"/>
              <a:ext cx="490002" cy="535901"/>
            </a:xfrm>
            <a:custGeom>
              <a:avLst/>
              <a:gdLst>
                <a:gd name="T0" fmla="*/ 265 w 318"/>
                <a:gd name="T1" fmla="*/ 126 h 348"/>
                <a:gd name="T2" fmla="*/ 237 w 318"/>
                <a:gd name="T3" fmla="*/ 126 h 348"/>
                <a:gd name="T4" fmla="*/ 237 w 318"/>
                <a:gd name="T5" fmla="*/ 28 h 348"/>
                <a:gd name="T6" fmla="*/ 108 w 318"/>
                <a:gd name="T7" fmla="*/ 28 h 348"/>
                <a:gd name="T8" fmla="*/ 108 w 318"/>
                <a:gd name="T9" fmla="*/ 99 h 348"/>
                <a:gd name="T10" fmla="*/ 31 w 318"/>
                <a:gd name="T11" fmla="*/ 99 h 348"/>
                <a:gd name="T12" fmla="*/ 31 w 318"/>
                <a:gd name="T13" fmla="*/ 319 h 348"/>
                <a:gd name="T14" fmla="*/ 214 w 318"/>
                <a:gd name="T15" fmla="*/ 319 h 348"/>
                <a:gd name="T16" fmla="*/ 214 w 318"/>
                <a:gd name="T17" fmla="*/ 348 h 348"/>
                <a:gd name="T18" fmla="*/ 0 w 318"/>
                <a:gd name="T19" fmla="*/ 348 h 348"/>
                <a:gd name="T20" fmla="*/ 0 w 318"/>
                <a:gd name="T21" fmla="*/ 71 h 348"/>
                <a:gd name="T22" fmla="*/ 77 w 318"/>
                <a:gd name="T23" fmla="*/ 0 h 348"/>
                <a:gd name="T24" fmla="*/ 265 w 318"/>
                <a:gd name="T25" fmla="*/ 0 h 348"/>
                <a:gd name="T26" fmla="*/ 265 w 318"/>
                <a:gd name="T27" fmla="*/ 126 h 348"/>
                <a:gd name="T28" fmla="*/ 265 w 318"/>
                <a:gd name="T29" fmla="*/ 126 h 348"/>
                <a:gd name="T30" fmla="*/ 211 w 318"/>
                <a:gd name="T31" fmla="*/ 177 h 348"/>
                <a:gd name="T32" fmla="*/ 255 w 318"/>
                <a:gd name="T33" fmla="*/ 221 h 348"/>
                <a:gd name="T34" fmla="*/ 211 w 318"/>
                <a:gd name="T35" fmla="*/ 266 h 348"/>
                <a:gd name="T36" fmla="*/ 169 w 318"/>
                <a:gd name="T37" fmla="*/ 221 h 348"/>
                <a:gd name="T38" fmla="*/ 211 w 318"/>
                <a:gd name="T39" fmla="*/ 177 h 348"/>
                <a:gd name="T40" fmla="*/ 211 w 318"/>
                <a:gd name="T41" fmla="*/ 152 h 348"/>
                <a:gd name="T42" fmla="*/ 142 w 318"/>
                <a:gd name="T43" fmla="*/ 221 h 348"/>
                <a:gd name="T44" fmla="*/ 211 w 318"/>
                <a:gd name="T45" fmla="*/ 291 h 348"/>
                <a:gd name="T46" fmla="*/ 257 w 318"/>
                <a:gd name="T47" fmla="*/ 274 h 348"/>
                <a:gd name="T48" fmla="*/ 297 w 318"/>
                <a:gd name="T49" fmla="*/ 316 h 348"/>
                <a:gd name="T50" fmla="*/ 314 w 318"/>
                <a:gd name="T51" fmla="*/ 316 h 348"/>
                <a:gd name="T52" fmla="*/ 314 w 318"/>
                <a:gd name="T53" fmla="*/ 316 h 348"/>
                <a:gd name="T54" fmla="*/ 314 w 318"/>
                <a:gd name="T55" fmla="*/ 299 h 348"/>
                <a:gd name="T56" fmla="*/ 270 w 318"/>
                <a:gd name="T57" fmla="*/ 257 h 348"/>
                <a:gd name="T58" fmla="*/ 280 w 318"/>
                <a:gd name="T59" fmla="*/ 221 h 348"/>
                <a:gd name="T60" fmla="*/ 211 w 318"/>
                <a:gd name="T61"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48">
                  <a:moveTo>
                    <a:pt x="265" y="126"/>
                  </a:moveTo>
                  <a:cubicBezTo>
                    <a:pt x="237" y="126"/>
                    <a:pt x="237" y="126"/>
                    <a:pt x="237" y="126"/>
                  </a:cubicBezTo>
                  <a:cubicBezTo>
                    <a:pt x="237" y="28"/>
                    <a:pt x="237" y="28"/>
                    <a:pt x="237" y="28"/>
                  </a:cubicBezTo>
                  <a:cubicBezTo>
                    <a:pt x="108" y="28"/>
                    <a:pt x="108" y="28"/>
                    <a:pt x="108" y="28"/>
                  </a:cubicBezTo>
                  <a:cubicBezTo>
                    <a:pt x="108" y="99"/>
                    <a:pt x="108" y="99"/>
                    <a:pt x="108" y="99"/>
                  </a:cubicBezTo>
                  <a:cubicBezTo>
                    <a:pt x="31" y="99"/>
                    <a:pt x="31" y="99"/>
                    <a:pt x="31" y="99"/>
                  </a:cubicBezTo>
                  <a:cubicBezTo>
                    <a:pt x="31" y="319"/>
                    <a:pt x="31" y="319"/>
                    <a:pt x="31" y="319"/>
                  </a:cubicBezTo>
                  <a:cubicBezTo>
                    <a:pt x="214" y="319"/>
                    <a:pt x="214" y="319"/>
                    <a:pt x="214" y="319"/>
                  </a:cubicBezTo>
                  <a:cubicBezTo>
                    <a:pt x="214" y="348"/>
                    <a:pt x="214" y="348"/>
                    <a:pt x="214" y="348"/>
                  </a:cubicBezTo>
                  <a:cubicBezTo>
                    <a:pt x="0" y="348"/>
                    <a:pt x="0" y="348"/>
                    <a:pt x="0" y="348"/>
                  </a:cubicBezTo>
                  <a:cubicBezTo>
                    <a:pt x="0" y="71"/>
                    <a:pt x="0" y="71"/>
                    <a:pt x="0" y="71"/>
                  </a:cubicBezTo>
                  <a:cubicBezTo>
                    <a:pt x="77" y="0"/>
                    <a:pt x="77" y="0"/>
                    <a:pt x="77" y="0"/>
                  </a:cubicBezTo>
                  <a:cubicBezTo>
                    <a:pt x="265" y="0"/>
                    <a:pt x="265" y="0"/>
                    <a:pt x="265" y="0"/>
                  </a:cubicBezTo>
                  <a:cubicBezTo>
                    <a:pt x="265" y="126"/>
                    <a:pt x="265" y="126"/>
                    <a:pt x="265" y="126"/>
                  </a:cubicBezTo>
                  <a:cubicBezTo>
                    <a:pt x="265" y="126"/>
                    <a:pt x="265" y="126"/>
                    <a:pt x="265" y="126"/>
                  </a:cubicBezTo>
                  <a:close/>
                  <a:moveTo>
                    <a:pt x="211" y="177"/>
                  </a:moveTo>
                  <a:cubicBezTo>
                    <a:pt x="234" y="177"/>
                    <a:pt x="255" y="198"/>
                    <a:pt x="255" y="221"/>
                  </a:cubicBezTo>
                  <a:cubicBezTo>
                    <a:pt x="255" y="245"/>
                    <a:pt x="234" y="266"/>
                    <a:pt x="211" y="266"/>
                  </a:cubicBezTo>
                  <a:cubicBezTo>
                    <a:pt x="188" y="266"/>
                    <a:pt x="169" y="245"/>
                    <a:pt x="169" y="221"/>
                  </a:cubicBezTo>
                  <a:cubicBezTo>
                    <a:pt x="169" y="198"/>
                    <a:pt x="188" y="177"/>
                    <a:pt x="211" y="177"/>
                  </a:cubicBezTo>
                  <a:close/>
                  <a:moveTo>
                    <a:pt x="211" y="152"/>
                  </a:moveTo>
                  <a:cubicBezTo>
                    <a:pt x="173" y="152"/>
                    <a:pt x="142" y="184"/>
                    <a:pt x="142" y="221"/>
                  </a:cubicBezTo>
                  <a:cubicBezTo>
                    <a:pt x="142" y="259"/>
                    <a:pt x="173" y="291"/>
                    <a:pt x="211" y="291"/>
                  </a:cubicBezTo>
                  <a:cubicBezTo>
                    <a:pt x="228" y="291"/>
                    <a:pt x="244" y="285"/>
                    <a:pt x="257" y="274"/>
                  </a:cubicBezTo>
                  <a:cubicBezTo>
                    <a:pt x="309" y="329"/>
                    <a:pt x="297" y="316"/>
                    <a:pt x="297" y="316"/>
                  </a:cubicBezTo>
                  <a:cubicBezTo>
                    <a:pt x="301" y="320"/>
                    <a:pt x="310" y="320"/>
                    <a:pt x="314" y="316"/>
                  </a:cubicBezTo>
                  <a:cubicBezTo>
                    <a:pt x="314" y="316"/>
                    <a:pt x="314" y="316"/>
                    <a:pt x="314" y="316"/>
                  </a:cubicBezTo>
                  <a:cubicBezTo>
                    <a:pt x="318" y="312"/>
                    <a:pt x="318" y="304"/>
                    <a:pt x="314" y="299"/>
                  </a:cubicBezTo>
                  <a:cubicBezTo>
                    <a:pt x="257" y="245"/>
                    <a:pt x="270" y="257"/>
                    <a:pt x="270" y="257"/>
                  </a:cubicBezTo>
                  <a:cubicBezTo>
                    <a:pt x="278" y="247"/>
                    <a:pt x="280" y="234"/>
                    <a:pt x="280" y="221"/>
                  </a:cubicBezTo>
                  <a:cubicBezTo>
                    <a:pt x="280" y="184"/>
                    <a:pt x="249" y="152"/>
                    <a:pt x="211" y="152"/>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4" name="Group 53"/>
          <p:cNvGrpSpPr/>
          <p:nvPr/>
        </p:nvGrpSpPr>
        <p:grpSpPr>
          <a:xfrm>
            <a:off x="8625283" y="3088207"/>
            <a:ext cx="343814" cy="343814"/>
            <a:chOff x="6955479" y="3370506"/>
            <a:chExt cx="868587" cy="868587"/>
          </a:xfrm>
        </p:grpSpPr>
        <p:sp useBgFill="1">
          <p:nvSpPr>
            <p:cNvPr id="55" name="Oval 54"/>
            <p:cNvSpPr/>
            <p:nvPr/>
          </p:nvSpPr>
          <p:spPr bwMode="auto">
            <a:xfrm>
              <a:off x="6955479" y="3370506"/>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a:grpSpLocks noChangeAspect="1"/>
            </p:cNvGrpSpPr>
            <p:nvPr/>
          </p:nvGrpSpPr>
          <p:grpSpPr>
            <a:xfrm>
              <a:off x="7102547" y="3589527"/>
              <a:ext cx="574450" cy="409588"/>
              <a:chOff x="1919150" y="3044496"/>
              <a:chExt cx="666391" cy="475141"/>
            </a:xfrm>
            <a:solidFill>
              <a:schemeClr val="tx1"/>
            </a:solidFill>
          </p:grpSpPr>
          <p:sp>
            <p:nvSpPr>
              <p:cNvPr id="57"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58"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59" name="Rectangle 58"/>
              <p:cNvSpPr/>
              <p:nvPr/>
            </p:nvSpPr>
            <p:spPr>
              <a:xfrm>
                <a:off x="1919446" y="3492205"/>
                <a:ext cx="665798" cy="27432"/>
              </a:xfrm>
              <a:prstGeom prst="rect">
                <a:avLst/>
              </a:pr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grpSp>
      </p:grpSp>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87427" y="1173752"/>
            <a:ext cx="1874387" cy="1874387"/>
          </a:xfrm>
          <a:prstGeom prst="rect">
            <a:avLst/>
          </a:prstGeom>
        </p:spPr>
      </p:pic>
      <p:sp>
        <p:nvSpPr>
          <p:cNvPr id="5" name="TextBox 4"/>
          <p:cNvSpPr txBox="1"/>
          <p:nvPr/>
        </p:nvSpPr>
        <p:spPr>
          <a:xfrm>
            <a:off x="4109357" y="666205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17B292A2-4AEB-4984-879B-C9A245639EC9}"/>
              </a:ext>
            </a:extLst>
          </p:cNvPr>
          <p:cNvGrpSpPr/>
          <p:nvPr/>
        </p:nvGrpSpPr>
        <p:grpSpPr>
          <a:xfrm>
            <a:off x="3820870" y="5418926"/>
            <a:ext cx="1981468" cy="1448552"/>
            <a:chOff x="3820870" y="5418926"/>
            <a:chExt cx="1981468" cy="1448552"/>
          </a:xfrm>
        </p:grpSpPr>
        <p:grpSp>
          <p:nvGrpSpPr>
            <p:cNvPr id="17" name="Group 16">
              <a:extLst>
                <a:ext uri="{FF2B5EF4-FFF2-40B4-BE49-F238E27FC236}">
                  <a16:creationId xmlns:a16="http://schemas.microsoft.com/office/drawing/2014/main" id="{07EBDAD5-E6F2-4F9E-B01A-399217EC9ABF}"/>
                </a:ext>
              </a:extLst>
            </p:cNvPr>
            <p:cNvGrpSpPr/>
            <p:nvPr/>
          </p:nvGrpSpPr>
          <p:grpSpPr>
            <a:xfrm>
              <a:off x="3820870" y="5418926"/>
              <a:ext cx="1981468" cy="1448552"/>
              <a:chOff x="3820870" y="5418926"/>
              <a:chExt cx="1981468" cy="1448552"/>
            </a:xfrm>
          </p:grpSpPr>
          <p:sp>
            <p:nvSpPr>
              <p:cNvPr id="62" name="TextBox 61"/>
              <p:cNvSpPr txBox="1"/>
              <p:nvPr/>
            </p:nvSpPr>
            <p:spPr>
              <a:xfrm>
                <a:off x="3929177" y="5418926"/>
                <a:ext cx="1712159"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aaS services</a:t>
                </a:r>
              </a:p>
            </p:txBody>
          </p:sp>
          <p:grpSp>
            <p:nvGrpSpPr>
              <p:cNvPr id="63" name="Group 62"/>
              <p:cNvGrpSpPr/>
              <p:nvPr/>
            </p:nvGrpSpPr>
            <p:grpSpPr>
              <a:xfrm>
                <a:off x="3820870" y="5811883"/>
                <a:ext cx="1238095" cy="566362"/>
                <a:chOff x="844843" y="5204658"/>
                <a:chExt cx="1238095" cy="566362"/>
              </a:xfrm>
            </p:grpSpPr>
            <p:pic>
              <p:nvPicPr>
                <p:cNvPr id="64" name="Picture 2" descr="https://pbs.twimg.com/profile_images/453658670908203010/BYaMmLTj.pn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4843" y="5204658"/>
                  <a:ext cx="562949" cy="562949"/>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1163881" y="5226340"/>
                  <a:ext cx="919057" cy="544680"/>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365</a:t>
                  </a:r>
                </a:p>
              </p:txBody>
            </p:sp>
          </p:grpSp>
          <p:sp>
            <p:nvSpPr>
              <p:cNvPr id="73" name="TextBox 72"/>
              <p:cNvSpPr txBox="1"/>
              <p:nvPr/>
            </p:nvSpPr>
            <p:spPr>
              <a:xfrm>
                <a:off x="4148198" y="6322798"/>
                <a:ext cx="1654140" cy="544680"/>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 Insights</a:t>
                </a:r>
              </a:p>
            </p:txBody>
          </p:sp>
        </p:grpSp>
        <p:pic>
          <p:nvPicPr>
            <p:cNvPr id="6" name="Picture 5"/>
            <p:cNvPicPr>
              <a:picLocks noChangeAspect="1"/>
            </p:cNvPicPr>
            <p:nvPr/>
          </p:nvPicPr>
          <p:blipFill>
            <a:blip r:embed="rId7"/>
            <a:stretch>
              <a:fillRect/>
            </a:stretch>
          </p:blipFill>
          <p:spPr>
            <a:xfrm>
              <a:off x="3955037" y="6377459"/>
              <a:ext cx="279287" cy="435358"/>
            </a:xfrm>
            <a:prstGeom prst="rect">
              <a:avLst/>
            </a:prstGeom>
          </p:spPr>
        </p:pic>
      </p:grpSp>
      <p:grpSp>
        <p:nvGrpSpPr>
          <p:cNvPr id="7" name="Group 6">
            <a:extLst>
              <a:ext uri="{FF2B5EF4-FFF2-40B4-BE49-F238E27FC236}">
                <a16:creationId xmlns:a16="http://schemas.microsoft.com/office/drawing/2014/main" id="{A34A9A79-D5D1-4219-88BD-FB34ADB0D462}"/>
              </a:ext>
            </a:extLst>
          </p:cNvPr>
          <p:cNvGrpSpPr/>
          <p:nvPr/>
        </p:nvGrpSpPr>
        <p:grpSpPr>
          <a:xfrm>
            <a:off x="3516240" y="732969"/>
            <a:ext cx="1800575" cy="934753"/>
            <a:chOff x="3516240" y="732969"/>
            <a:chExt cx="1800575" cy="934753"/>
          </a:xfrm>
        </p:grpSpPr>
        <p:sp>
          <p:nvSpPr>
            <p:cNvPr id="9" name="TextBox 8"/>
            <p:cNvSpPr txBox="1"/>
            <p:nvPr/>
          </p:nvSpPr>
          <p:spPr>
            <a:xfrm>
              <a:off x="3516240" y="732969"/>
              <a:ext cx="1800575" cy="544680"/>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ps Manager</a:t>
              </a:r>
            </a:p>
          </p:txBody>
        </p:sp>
        <p:pic>
          <p:nvPicPr>
            <p:cNvPr id="16" name="Picture 15"/>
            <p:cNvPicPr>
              <a:picLocks noChangeAspect="1"/>
            </p:cNvPicPr>
            <p:nvPr/>
          </p:nvPicPr>
          <p:blipFill>
            <a:blip r:embed="rId8"/>
            <a:stretch>
              <a:fillRect/>
            </a:stretch>
          </p:blipFill>
          <p:spPr>
            <a:xfrm>
              <a:off x="4156471" y="1147608"/>
              <a:ext cx="520114" cy="520114"/>
            </a:xfrm>
            <a:prstGeom prst="rect">
              <a:avLst/>
            </a:prstGeom>
          </p:spPr>
        </p:pic>
      </p:grpSp>
      <p:grpSp>
        <p:nvGrpSpPr>
          <p:cNvPr id="19" name="Group 18">
            <a:extLst>
              <a:ext uri="{FF2B5EF4-FFF2-40B4-BE49-F238E27FC236}">
                <a16:creationId xmlns:a16="http://schemas.microsoft.com/office/drawing/2014/main" id="{E751A2CC-B1E9-4D53-8F7B-09B0739D2BA1}"/>
              </a:ext>
            </a:extLst>
          </p:cNvPr>
          <p:cNvGrpSpPr/>
          <p:nvPr/>
        </p:nvGrpSpPr>
        <p:grpSpPr>
          <a:xfrm>
            <a:off x="3458773" y="1970125"/>
            <a:ext cx="3023028" cy="2713770"/>
            <a:chOff x="3458773" y="1970125"/>
            <a:chExt cx="3023028" cy="2713770"/>
          </a:xfrm>
        </p:grpSpPr>
        <p:sp>
          <p:nvSpPr>
            <p:cNvPr id="81" name="Arrow: Bent 80"/>
            <p:cNvSpPr/>
            <p:nvPr/>
          </p:nvSpPr>
          <p:spPr bwMode="auto">
            <a:xfrm rot="10800000" flipH="1">
              <a:off x="3691135" y="1970125"/>
              <a:ext cx="2786349" cy="1118081"/>
            </a:xfrm>
            <a:prstGeom prst="bentArrow">
              <a:avLst>
                <a:gd name="adj1" fmla="val 25000"/>
                <a:gd name="adj2" fmla="val 24717"/>
                <a:gd name="adj3" fmla="val 25000"/>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Arrow: Bent 81"/>
            <p:cNvSpPr/>
            <p:nvPr/>
          </p:nvSpPr>
          <p:spPr bwMode="auto">
            <a:xfrm rot="10800000" flipH="1" flipV="1">
              <a:off x="3691135" y="3565814"/>
              <a:ext cx="2786349" cy="1118081"/>
            </a:xfrm>
            <a:prstGeom prst="bentArrow">
              <a:avLst>
                <a:gd name="adj1" fmla="val 25000"/>
                <a:gd name="adj2" fmla="val 24717"/>
                <a:gd name="adj3" fmla="val 25000"/>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row: Right 82"/>
            <p:cNvSpPr/>
            <p:nvPr/>
          </p:nvSpPr>
          <p:spPr bwMode="auto">
            <a:xfrm>
              <a:off x="3458773" y="3028950"/>
              <a:ext cx="3023028" cy="570806"/>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4" name="TextBox 83"/>
          <p:cNvSpPr txBox="1"/>
          <p:nvPr/>
        </p:nvSpPr>
        <p:spPr>
          <a:xfrm>
            <a:off x="9207585" y="2635473"/>
            <a:ext cx="2305204" cy="664797"/>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ctr" defTabSz="913362" rtl="0" eaLnBrk="1" fontAlgn="auto" latinLnBrk="0" hangingPunct="1">
              <a:lnSpc>
                <a:spcPct val="90000"/>
              </a:lnSpc>
              <a:spcBef>
                <a:spcPts val="0"/>
              </a:spcBef>
              <a:spcAft>
                <a:spcPts val="587"/>
              </a:spcAft>
              <a:buClrTx/>
              <a:buSzTx/>
              <a:buFontTx/>
              <a:buNone/>
              <a:tabLst/>
              <a:defRPr/>
            </a:pPr>
            <a: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OMS</a:t>
            </a:r>
            <a:b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br>
            <a: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Log Analytics</a:t>
            </a:r>
          </a:p>
        </p:txBody>
      </p:sp>
      <p:grpSp>
        <p:nvGrpSpPr>
          <p:cNvPr id="10" name="Group 9">
            <a:extLst>
              <a:ext uri="{FF2B5EF4-FFF2-40B4-BE49-F238E27FC236}">
                <a16:creationId xmlns:a16="http://schemas.microsoft.com/office/drawing/2014/main" id="{EBB1BEE0-E9A0-472C-9286-ADBCF7548669}"/>
              </a:ext>
            </a:extLst>
          </p:cNvPr>
          <p:cNvGrpSpPr/>
          <p:nvPr/>
        </p:nvGrpSpPr>
        <p:grpSpPr>
          <a:xfrm>
            <a:off x="1569002" y="989331"/>
            <a:ext cx="2049174" cy="1003218"/>
            <a:chOff x="1569002" y="989331"/>
            <a:chExt cx="2049174" cy="1003218"/>
          </a:xfrm>
        </p:grpSpPr>
        <p:sp>
          <p:nvSpPr>
            <p:cNvPr id="8" name="TextBox 7"/>
            <p:cNvSpPr txBox="1"/>
            <p:nvPr/>
          </p:nvSpPr>
          <p:spPr>
            <a:xfrm>
              <a:off x="1569002" y="989331"/>
              <a:ext cx="2049174"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agents</a:t>
              </a:r>
            </a:p>
          </p:txBody>
        </p:sp>
        <p:pic>
          <p:nvPicPr>
            <p:cNvPr id="85" name="Picture 84"/>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2229164" y="1443614"/>
              <a:ext cx="548935" cy="548935"/>
            </a:xfrm>
            <a:prstGeom prst="rect">
              <a:avLst/>
            </a:prstGeom>
          </p:spPr>
        </p:pic>
      </p:grpSp>
      <p:grpSp>
        <p:nvGrpSpPr>
          <p:cNvPr id="15" name="Group 14">
            <a:extLst>
              <a:ext uri="{FF2B5EF4-FFF2-40B4-BE49-F238E27FC236}">
                <a16:creationId xmlns:a16="http://schemas.microsoft.com/office/drawing/2014/main" id="{D896803C-D71B-4592-9ECA-75D127D69A68}"/>
              </a:ext>
            </a:extLst>
          </p:cNvPr>
          <p:cNvGrpSpPr/>
          <p:nvPr/>
        </p:nvGrpSpPr>
        <p:grpSpPr>
          <a:xfrm>
            <a:off x="2177288" y="5365657"/>
            <a:ext cx="1370383" cy="1191952"/>
            <a:chOff x="2177288" y="5365657"/>
            <a:chExt cx="1370383" cy="1191952"/>
          </a:xfrm>
        </p:grpSpPr>
        <p:sp>
          <p:nvSpPr>
            <p:cNvPr id="66" name="TextBox 65"/>
            <p:cNvSpPr txBox="1"/>
            <p:nvPr/>
          </p:nvSpPr>
          <p:spPr>
            <a:xfrm>
              <a:off x="2177288" y="5365657"/>
              <a:ext cx="1370383" cy="549642"/>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og Stash</a:t>
              </a:r>
            </a:p>
          </p:txBody>
        </p:sp>
        <p:pic>
          <p:nvPicPr>
            <p:cNvPr id="86" name="Picture 85"/>
            <p:cNvPicPr>
              <a:picLocks noChangeAspect="1"/>
            </p:cNvPicPr>
            <p:nvPr/>
          </p:nvPicPr>
          <p:blipFill>
            <a:blip r:embed="rId11"/>
            <a:stretch>
              <a:fillRect/>
            </a:stretch>
          </p:blipFill>
          <p:spPr>
            <a:xfrm>
              <a:off x="2593589" y="5833564"/>
              <a:ext cx="452901" cy="724045"/>
            </a:xfrm>
            <a:prstGeom prst="rect">
              <a:avLst/>
            </a:prstGeom>
          </p:spPr>
        </p:pic>
      </p:grpSp>
      <p:grpSp>
        <p:nvGrpSpPr>
          <p:cNvPr id="14" name="Group 13">
            <a:extLst>
              <a:ext uri="{FF2B5EF4-FFF2-40B4-BE49-F238E27FC236}">
                <a16:creationId xmlns:a16="http://schemas.microsoft.com/office/drawing/2014/main" id="{D83ACCE4-173F-418C-944E-57F3A3E27BD9}"/>
              </a:ext>
            </a:extLst>
          </p:cNvPr>
          <p:cNvGrpSpPr/>
          <p:nvPr/>
        </p:nvGrpSpPr>
        <p:grpSpPr>
          <a:xfrm>
            <a:off x="369183" y="4256535"/>
            <a:ext cx="2998831" cy="1529816"/>
            <a:chOff x="369183" y="4256535"/>
            <a:chExt cx="2998831" cy="1529816"/>
          </a:xfrm>
        </p:grpSpPr>
        <p:sp>
          <p:nvSpPr>
            <p:cNvPr id="27" name="TextBox 26"/>
            <p:cNvSpPr txBox="1"/>
            <p:nvPr/>
          </p:nvSpPr>
          <p:spPr>
            <a:xfrm>
              <a:off x="369183" y="4256535"/>
              <a:ext cx="2998831" cy="793979"/>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Metrics, Diagnostic Log, Activity Log</a:t>
              </a:r>
            </a:p>
          </p:txBody>
        </p:sp>
        <p:pic>
          <p:nvPicPr>
            <p:cNvPr id="87" name="Picture 86"/>
            <p:cNvPicPr>
              <a:picLocks noChangeAspect="1"/>
            </p:cNvPicPr>
            <p:nvPr/>
          </p:nvPicPr>
          <p:blipFill>
            <a:blip r:embed="rId12"/>
            <a:stretch>
              <a:fillRect/>
            </a:stretch>
          </p:blipFill>
          <p:spPr>
            <a:xfrm>
              <a:off x="1162705" y="5026461"/>
              <a:ext cx="759890" cy="759890"/>
            </a:xfrm>
            <a:prstGeom prst="ellipse">
              <a:avLst/>
            </a:prstGeom>
          </p:spPr>
        </p:pic>
      </p:grpSp>
      <p:grpSp>
        <p:nvGrpSpPr>
          <p:cNvPr id="22" name="Group 21">
            <a:extLst>
              <a:ext uri="{FF2B5EF4-FFF2-40B4-BE49-F238E27FC236}">
                <a16:creationId xmlns:a16="http://schemas.microsoft.com/office/drawing/2014/main" id="{6004120E-19FF-46E0-9695-EAC04E9DC3D3}"/>
              </a:ext>
            </a:extLst>
          </p:cNvPr>
          <p:cNvGrpSpPr/>
          <p:nvPr/>
        </p:nvGrpSpPr>
        <p:grpSpPr>
          <a:xfrm>
            <a:off x="711300" y="2062079"/>
            <a:ext cx="1965818" cy="1133466"/>
            <a:chOff x="711300" y="2062079"/>
            <a:chExt cx="1965818" cy="1133466"/>
          </a:xfrm>
        </p:grpSpPr>
        <p:grpSp>
          <p:nvGrpSpPr>
            <p:cNvPr id="12" name="Group 11">
              <a:extLst>
                <a:ext uri="{FF2B5EF4-FFF2-40B4-BE49-F238E27FC236}">
                  <a16:creationId xmlns:a16="http://schemas.microsoft.com/office/drawing/2014/main" id="{67824741-FADF-4EF2-B51A-F0CFFC0D034C}"/>
                </a:ext>
              </a:extLst>
            </p:cNvPr>
            <p:cNvGrpSpPr/>
            <p:nvPr/>
          </p:nvGrpSpPr>
          <p:grpSpPr>
            <a:xfrm>
              <a:off x="711300" y="2062079"/>
              <a:ext cx="1965818" cy="1133466"/>
              <a:chOff x="711300" y="2062079"/>
              <a:chExt cx="1965818" cy="1133466"/>
            </a:xfrm>
          </p:grpSpPr>
          <p:sp>
            <p:nvSpPr>
              <p:cNvPr id="11" name="TextBox 10"/>
              <p:cNvSpPr txBox="1"/>
              <p:nvPr/>
            </p:nvSpPr>
            <p:spPr>
              <a:xfrm>
                <a:off x="711300" y="2062079"/>
                <a:ext cx="1965818"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 </a:t>
                </a:r>
                <a:r>
                  <a:rPr kumimoji="0" lang="en-US" sz="1800" b="0" i="0" u="none" strike="noStrike" kern="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FluentD</a:t>
                </a:r>
                <a:endPar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88" name="Picture 87"/>
              <p:cNvPicPr>
                <a:picLocks noChangeAspect="1"/>
              </p:cNvPicPr>
              <p:nvPr/>
            </p:nvPicPr>
            <p:blipFill>
              <a:blip r:embed="rId13"/>
              <a:stretch>
                <a:fillRect/>
              </a:stretch>
            </p:blipFill>
            <p:spPr>
              <a:xfrm>
                <a:off x="867373" y="2392412"/>
                <a:ext cx="803133" cy="803133"/>
              </a:xfrm>
              <a:prstGeom prst="rect">
                <a:avLst/>
              </a:prstGeom>
            </p:spPr>
          </p:pic>
        </p:grpSp>
        <p:pic>
          <p:nvPicPr>
            <p:cNvPr id="21" name="Picture 20">
              <a:extLst>
                <a:ext uri="{FF2B5EF4-FFF2-40B4-BE49-F238E27FC236}">
                  <a16:creationId xmlns:a16="http://schemas.microsoft.com/office/drawing/2014/main" id="{97170D26-6428-4005-A67A-F717083E5D12}"/>
                </a:ext>
              </a:extLst>
            </p:cNvPr>
            <p:cNvPicPr>
              <a:picLocks noChangeAspect="1"/>
            </p:cNvPicPr>
            <p:nvPr/>
          </p:nvPicPr>
          <p:blipFill>
            <a:blip r:embed="rId14"/>
            <a:stretch>
              <a:fillRect/>
            </a:stretch>
          </p:blipFill>
          <p:spPr>
            <a:xfrm>
              <a:off x="1559467" y="2622208"/>
              <a:ext cx="913668" cy="343539"/>
            </a:xfrm>
            <a:prstGeom prst="rect">
              <a:avLst/>
            </a:prstGeom>
          </p:spPr>
        </p:pic>
      </p:grpSp>
    </p:spTree>
    <p:extLst>
      <p:ext uri="{BB962C8B-B14F-4D97-AF65-F5344CB8AC3E}">
        <p14:creationId xmlns:p14="http://schemas.microsoft.com/office/powerpoint/2010/main" val="3756985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0-#ppt_w/2"/>
                                          </p:val>
                                        </p:tav>
                                        <p:tav tm="100000">
                                          <p:val>
                                            <p:strVal val="#ppt_x"/>
                                          </p:val>
                                        </p:tav>
                                      </p:tavLst>
                                    </p:anim>
                                    <p:anim calcmode="lin" valueType="num">
                                      <p:cBhvr additive="base">
                                        <p:cTn id="20" dur="500" fill="hold"/>
                                        <p:tgtEl>
                                          <p:spTgt spid="22"/>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0-#ppt_w/2"/>
                                          </p:val>
                                        </p:tav>
                                        <p:tav tm="100000">
                                          <p:val>
                                            <p:strVal val="#ppt_x"/>
                                          </p:val>
                                        </p:tav>
                                      </p:tavLst>
                                    </p:anim>
                                    <p:anim calcmode="lin" valueType="num">
                                      <p:cBhvr additive="base">
                                        <p:cTn id="24" dur="500" fill="hold"/>
                                        <p:tgtEl>
                                          <p:spTgt spid="14"/>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0-#ppt_w/2"/>
                                          </p:val>
                                        </p:tav>
                                        <p:tav tm="100000">
                                          <p:val>
                                            <p:strVal val="#ppt_x"/>
                                          </p:val>
                                        </p:tav>
                                      </p:tavLst>
                                    </p:anim>
                                    <p:anim calcmode="lin" valueType="num">
                                      <p:cBhvr additive="base">
                                        <p:cTn id="32" dur="500" fill="hold"/>
                                        <p:tgtEl>
                                          <p:spTgt spid="18"/>
                                        </p:tgtEl>
                                        <p:attrNameLst>
                                          <p:attrName>ppt_y</p:attrName>
                                        </p:attrNameLst>
                                      </p:cBhvr>
                                      <p:tavLst>
                                        <p:tav tm="0">
                                          <p:val>
                                            <p:strVal val="#ppt_y"/>
                                          </p:val>
                                        </p:tav>
                                        <p:tav tm="100000">
                                          <p:val>
                                            <p:strVal val="#ppt_y"/>
                                          </p:val>
                                        </p:tav>
                                      </p:tavLst>
                                    </p:anim>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64" presetClass="path" presetSubtype="0" accel="50000" decel="50000" fill="hold" nodeType="withEffect">
                                  <p:stCondLst>
                                    <p:cond delay="0"/>
                                  </p:stCondLst>
                                  <p:childTnLst>
                                    <p:animMotion origin="layout" path="M 9.93107E-7 0.17748 L 9.93107E-7 -0.00023 " pathEditMode="relative" rAng="0" ptsTypes="AA">
                                      <p:cBhvr>
                                        <p:cTn id="38" dur="500" fill="hold"/>
                                        <p:tgtEl>
                                          <p:spTgt spid="48"/>
                                        </p:tgtEl>
                                        <p:attrNameLst>
                                          <p:attrName>ppt_x</p:attrName>
                                          <p:attrName>ppt_y</p:attrName>
                                        </p:attrNameLst>
                                      </p:cBhvr>
                                      <p:rCtr x="0" y="-8897"/>
                                    </p:animMotion>
                                  </p:childTnLst>
                                </p:cTn>
                              </p:par>
                              <p:par>
                                <p:cTn id="39" presetID="22" presetClass="entr" presetSubtype="4" fill="hold" nodeType="withEffect">
                                  <p:stCondLst>
                                    <p:cond delay="200"/>
                                  </p:stCondLst>
                                  <p:childTnLst>
                                    <p:set>
                                      <p:cBhvr>
                                        <p:cTn id="40" dur="1" fill="hold">
                                          <p:stCondLst>
                                            <p:cond delay="0"/>
                                          </p:stCondLst>
                                        </p:cTn>
                                        <p:tgtEl>
                                          <p:spTgt spid="45"/>
                                        </p:tgtEl>
                                        <p:attrNameLst>
                                          <p:attrName>style.visibility</p:attrName>
                                        </p:attrNameLst>
                                      </p:cBhvr>
                                      <p:to>
                                        <p:strVal val="visible"/>
                                      </p:to>
                                    </p:set>
                                    <p:animEffect transition="in" filter="wipe(down)">
                                      <p:cBhvr>
                                        <p:cTn id="41" dur="500"/>
                                        <p:tgtEl>
                                          <p:spTgt spid="45"/>
                                        </p:tgtEl>
                                      </p:cBhvr>
                                    </p:animEffect>
                                  </p:childTnLst>
                                </p:cTn>
                              </p:par>
                              <p:par>
                                <p:cTn id="42" presetID="10" presetClass="entr" presetSubtype="0" fill="hold" grpId="0" nodeType="withEffect">
                                  <p:stCondLst>
                                    <p:cond delay="20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10" presetClass="entr" presetSubtype="0" fill="hold" nodeType="withEffect">
                                  <p:stCondLst>
                                    <p:cond delay="10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500"/>
                                        <p:tgtEl>
                                          <p:spTgt spid="51"/>
                                        </p:tgtEl>
                                      </p:cBhvr>
                                    </p:animEffect>
                                  </p:childTnLst>
                                </p:cTn>
                              </p:par>
                              <p:par>
                                <p:cTn id="48" presetID="64" presetClass="path" presetSubtype="0" accel="50000" decel="50000" fill="hold" nodeType="withEffect">
                                  <p:stCondLst>
                                    <p:cond delay="100"/>
                                  </p:stCondLst>
                                  <p:childTnLst>
                                    <p:animMotion origin="layout" path="M -3.16569E-6 0.17748 L -3.16569E-6 -0.00023 " pathEditMode="relative" rAng="0" ptsTypes="AA">
                                      <p:cBhvr>
                                        <p:cTn id="49" dur="500" fill="hold"/>
                                        <p:tgtEl>
                                          <p:spTgt spid="51"/>
                                        </p:tgtEl>
                                        <p:attrNameLst>
                                          <p:attrName>ppt_x</p:attrName>
                                          <p:attrName>ppt_y</p:attrName>
                                        </p:attrNameLst>
                                      </p:cBhvr>
                                      <p:rCtr x="0" y="-8897"/>
                                    </p:animMotion>
                                  </p:childTnLst>
                                </p:cTn>
                              </p:par>
                              <p:par>
                                <p:cTn id="50" presetID="10" presetClass="entr" presetSubtype="0" fill="hold" grpId="0" nodeType="withEffect">
                                  <p:stCondLst>
                                    <p:cond delay="30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22" presetClass="entr" presetSubtype="4" fill="hold" nodeType="withEffect">
                                  <p:stCondLst>
                                    <p:cond delay="300"/>
                                  </p:stCondLst>
                                  <p:childTnLst>
                                    <p:set>
                                      <p:cBhvr>
                                        <p:cTn id="54" dur="1" fill="hold">
                                          <p:stCondLst>
                                            <p:cond delay="0"/>
                                          </p:stCondLst>
                                        </p:cTn>
                                        <p:tgtEl>
                                          <p:spTgt spid="46"/>
                                        </p:tgtEl>
                                        <p:attrNameLst>
                                          <p:attrName>style.visibility</p:attrName>
                                        </p:attrNameLst>
                                      </p:cBhvr>
                                      <p:to>
                                        <p:strVal val="visible"/>
                                      </p:to>
                                    </p:set>
                                    <p:animEffect transition="in" filter="wipe(down)">
                                      <p:cBhvr>
                                        <p:cTn id="55" dur="500"/>
                                        <p:tgtEl>
                                          <p:spTgt spid="46"/>
                                        </p:tgtEl>
                                      </p:cBhvr>
                                    </p:animEffect>
                                  </p:childTnLst>
                                </p:cTn>
                              </p:par>
                              <p:par>
                                <p:cTn id="56" presetID="10" presetClass="entr" presetSubtype="0" fill="hold" nodeType="withEffect">
                                  <p:stCondLst>
                                    <p:cond delay="20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par>
                                <p:cTn id="59" presetID="64" presetClass="path" presetSubtype="0" accel="50000" decel="50000" fill="hold" nodeType="withEffect">
                                  <p:stCondLst>
                                    <p:cond delay="200"/>
                                  </p:stCondLst>
                                  <p:childTnLst>
                                    <p:animMotion origin="layout" path="M 2.75977E-6 0.17749 L 2.75977E-6 -0.00022 " pathEditMode="relative" rAng="0" ptsTypes="AA">
                                      <p:cBhvr>
                                        <p:cTn id="60" dur="500" fill="hold"/>
                                        <p:tgtEl>
                                          <p:spTgt spid="54"/>
                                        </p:tgtEl>
                                        <p:attrNameLst>
                                          <p:attrName>ppt_x</p:attrName>
                                          <p:attrName>ppt_y</p:attrName>
                                        </p:attrNameLst>
                                      </p:cBhvr>
                                      <p:rCtr x="0" y="-8897"/>
                                    </p:animMotion>
                                  </p:childTnLst>
                                </p:cTn>
                              </p:par>
                              <p:par>
                                <p:cTn id="61" presetID="10" presetClass="entr" presetSubtype="0" fill="hold" grpId="0" nodeType="withEffect">
                                  <p:stCondLst>
                                    <p:cond delay="40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par>
                                <p:cTn id="64" presetID="22" presetClass="entr" presetSubtype="2" fill="hold" nodeType="withEffect">
                                  <p:stCondLst>
                                    <p:cond delay="500"/>
                                  </p:stCondLst>
                                  <p:childTnLst>
                                    <p:set>
                                      <p:cBhvr>
                                        <p:cTn id="65" dur="1" fill="hold">
                                          <p:stCondLst>
                                            <p:cond delay="0"/>
                                          </p:stCondLst>
                                        </p:cTn>
                                        <p:tgtEl>
                                          <p:spTgt spid="47"/>
                                        </p:tgtEl>
                                        <p:attrNameLst>
                                          <p:attrName>style.visibility</p:attrName>
                                        </p:attrNameLst>
                                      </p:cBhvr>
                                      <p:to>
                                        <p:strVal val="visible"/>
                                      </p:to>
                                    </p:set>
                                    <p:animEffect transition="in" filter="wipe(right)">
                                      <p:cBhvr>
                                        <p:cTn id="66" dur="500"/>
                                        <p:tgtEl>
                                          <p:spTgt spid="47"/>
                                        </p:tgtEl>
                                      </p:cBhvr>
                                    </p:animEffect>
                                  </p:childTnLst>
                                </p:cTn>
                              </p:par>
                            </p:childTnLst>
                          </p:cTn>
                        </p:par>
                        <p:par>
                          <p:cTn id="67" fill="hold">
                            <p:stCondLst>
                              <p:cond delay="1500"/>
                            </p:stCondLst>
                            <p:childTnLst>
                              <p:par>
                                <p:cTn id="68" presetID="22" presetClass="entr" presetSubtype="8" fill="hold" nodeType="after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wipe(left)">
                                      <p:cBhvr>
                                        <p:cTn id="7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pPr algn="ctr"/>
            <a:r>
              <a:rPr lang="en-GB" sz="4800"/>
              <a:t>Azure Container Strategy</a:t>
            </a:r>
            <a:br>
              <a:rPr lang="en-GB" sz="4800"/>
            </a:br>
            <a:br>
              <a:rPr lang="en-GB" sz="1800"/>
            </a:br>
            <a:r>
              <a:rPr lang="en-GB" sz="4800"/>
              <a:t>“Containers everywhere”</a:t>
            </a:r>
          </a:p>
        </p:txBody>
      </p:sp>
      <p:pic>
        <p:nvPicPr>
          <p:cNvPr id="4" name="Picture 3"/>
          <p:cNvPicPr>
            <a:picLocks noChangeAspect="1"/>
          </p:cNvPicPr>
          <p:nvPr/>
        </p:nvPicPr>
        <p:blipFill>
          <a:blip r:embed="rId3"/>
          <a:stretch>
            <a:fillRect/>
          </a:stretch>
        </p:blipFill>
        <p:spPr>
          <a:xfrm>
            <a:off x="6753397" y="4455651"/>
            <a:ext cx="1072104" cy="1072104"/>
          </a:xfrm>
          <a:prstGeom prst="rect">
            <a:avLst/>
          </a:prstGeom>
        </p:spPr>
      </p:pic>
      <p:pic>
        <p:nvPicPr>
          <p:cNvPr id="8" name="Picture 7"/>
          <p:cNvPicPr>
            <a:picLocks noChangeAspect="1"/>
          </p:cNvPicPr>
          <p:nvPr/>
        </p:nvPicPr>
        <p:blipFill>
          <a:blip r:embed="rId4"/>
          <a:stretch>
            <a:fillRect/>
          </a:stretch>
        </p:blipFill>
        <p:spPr>
          <a:xfrm>
            <a:off x="6809771" y="2399234"/>
            <a:ext cx="990600" cy="990600"/>
          </a:xfrm>
          <a:prstGeom prst="rect">
            <a:avLst/>
          </a:prstGeom>
        </p:spPr>
      </p:pic>
      <p:grpSp>
        <p:nvGrpSpPr>
          <p:cNvPr id="12" name="Group 11"/>
          <p:cNvGrpSpPr/>
          <p:nvPr/>
        </p:nvGrpSpPr>
        <p:grpSpPr>
          <a:xfrm>
            <a:off x="4379610" y="2390555"/>
            <a:ext cx="1066800" cy="1010085"/>
            <a:chOff x="9190037" y="4972729"/>
            <a:chExt cx="780290" cy="780290"/>
          </a:xfrm>
        </p:grpSpPr>
        <p:sp>
          <p:nvSpPr>
            <p:cNvPr id="11" name="Rectangle 10"/>
            <p:cNvSpPr/>
            <p:nvPr/>
          </p:nvSpPr>
          <p:spPr bwMode="auto">
            <a:xfrm>
              <a:off x="9351582" y="5093679"/>
              <a:ext cx="457199" cy="3048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9" name="Picture 8"/>
            <p:cNvPicPr>
              <a:picLocks noChangeAspect="1"/>
            </p:cNvPicPr>
            <p:nvPr/>
          </p:nvPicPr>
          <p:blipFill>
            <a:blip r:embed="rId5"/>
            <a:stretch>
              <a:fillRect/>
            </a:stretch>
          </p:blipFill>
          <p:spPr>
            <a:xfrm>
              <a:off x="9190037" y="4972729"/>
              <a:ext cx="780290" cy="780290"/>
            </a:xfrm>
            <a:prstGeom prst="rect">
              <a:avLst/>
            </a:prstGeom>
          </p:spPr>
        </p:pic>
      </p:grpSp>
      <p:pic>
        <p:nvPicPr>
          <p:cNvPr id="14" name="Picture 13"/>
          <p:cNvPicPr>
            <a:picLocks noChangeAspect="1"/>
          </p:cNvPicPr>
          <p:nvPr/>
        </p:nvPicPr>
        <p:blipFill>
          <a:blip r:embed="rId6"/>
          <a:stretch>
            <a:fillRect/>
          </a:stretch>
        </p:blipFill>
        <p:spPr>
          <a:xfrm>
            <a:off x="1980739" y="2318462"/>
            <a:ext cx="1152145" cy="1152145"/>
          </a:xfrm>
          <a:prstGeom prst="rect">
            <a:avLst/>
          </a:prstGeom>
        </p:spPr>
      </p:pic>
      <p:pic>
        <p:nvPicPr>
          <p:cNvPr id="16" name="Picture 15"/>
          <p:cNvPicPr>
            <a:picLocks noChangeAspect="1"/>
          </p:cNvPicPr>
          <p:nvPr/>
        </p:nvPicPr>
        <p:blipFill>
          <a:blip r:embed="rId7"/>
          <a:stretch>
            <a:fillRect/>
          </a:stretch>
        </p:blipFill>
        <p:spPr>
          <a:xfrm>
            <a:off x="4335508" y="4411662"/>
            <a:ext cx="1160083" cy="1160083"/>
          </a:xfrm>
          <a:prstGeom prst="rect">
            <a:avLst/>
          </a:prstGeom>
        </p:spPr>
      </p:pic>
      <p:pic>
        <p:nvPicPr>
          <p:cNvPr id="17" name="Picture 16"/>
          <p:cNvPicPr>
            <a:picLocks noChangeAspect="1"/>
          </p:cNvPicPr>
          <p:nvPr/>
        </p:nvPicPr>
        <p:blipFill>
          <a:blip r:embed="rId8"/>
          <a:stretch>
            <a:fillRect/>
          </a:stretch>
        </p:blipFill>
        <p:spPr>
          <a:xfrm>
            <a:off x="9163732" y="2368956"/>
            <a:ext cx="1051156" cy="1051156"/>
          </a:xfrm>
          <a:prstGeom prst="rect">
            <a:avLst/>
          </a:prstGeom>
        </p:spPr>
      </p:pic>
      <p:sp>
        <p:nvSpPr>
          <p:cNvPr id="19" name="TextBox 18"/>
          <p:cNvSpPr txBox="1"/>
          <p:nvPr/>
        </p:nvSpPr>
        <p:spPr>
          <a:xfrm>
            <a:off x="1341437" y="3333599"/>
            <a:ext cx="236810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Container Service</a:t>
            </a:r>
          </a:p>
        </p:txBody>
      </p:sp>
      <p:sp>
        <p:nvSpPr>
          <p:cNvPr id="20" name="TextBox 19"/>
          <p:cNvSpPr txBox="1"/>
          <p:nvPr/>
        </p:nvSpPr>
        <p:spPr>
          <a:xfrm>
            <a:off x="1510781" y="5445190"/>
            <a:ext cx="193723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 Team Services</a:t>
            </a:r>
          </a:p>
        </p:txBody>
      </p:sp>
      <p:sp>
        <p:nvSpPr>
          <p:cNvPr id="21" name="TextBox 20"/>
          <p:cNvSpPr txBox="1"/>
          <p:nvPr/>
        </p:nvSpPr>
        <p:spPr>
          <a:xfrm>
            <a:off x="6303387" y="3333599"/>
            <a:ext cx="193723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rvice Fabric</a:t>
            </a:r>
          </a:p>
        </p:txBody>
      </p:sp>
      <p:sp>
        <p:nvSpPr>
          <p:cNvPr id="22" name="TextBox 21"/>
          <p:cNvSpPr txBox="1"/>
          <p:nvPr/>
        </p:nvSpPr>
        <p:spPr>
          <a:xfrm>
            <a:off x="8639213" y="3333599"/>
            <a:ext cx="2016626"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arketplace</a:t>
            </a:r>
          </a:p>
        </p:txBody>
      </p:sp>
      <p:sp>
        <p:nvSpPr>
          <p:cNvPr id="23" name="TextBox 22"/>
          <p:cNvSpPr txBox="1"/>
          <p:nvPr/>
        </p:nvSpPr>
        <p:spPr>
          <a:xfrm>
            <a:off x="3698362" y="3354497"/>
            <a:ext cx="240572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Docker Machine Driver</a:t>
            </a:r>
          </a:p>
        </p:txBody>
      </p:sp>
      <p:sp>
        <p:nvSpPr>
          <p:cNvPr id="24" name="TextBox 23"/>
          <p:cNvSpPr txBox="1"/>
          <p:nvPr/>
        </p:nvSpPr>
        <p:spPr>
          <a:xfrm>
            <a:off x="3946933" y="5470827"/>
            <a:ext cx="193723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VM Extensions</a:t>
            </a:r>
          </a:p>
        </p:txBody>
      </p:sp>
      <p:sp>
        <p:nvSpPr>
          <p:cNvPr id="25" name="TextBox 24"/>
          <p:cNvSpPr txBox="1"/>
          <p:nvPr/>
        </p:nvSpPr>
        <p:spPr>
          <a:xfrm>
            <a:off x="6361356" y="5454802"/>
            <a:ext cx="183808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t>
            </a:r>
            <a:r>
              <a:rPr kumimoji="0" lang="en-GB" sz="20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DevTest</a:t>
            </a: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Labs</a:t>
            </a:r>
          </a:p>
        </p:txBody>
      </p:sp>
      <p:sp>
        <p:nvSpPr>
          <p:cNvPr id="26" name="TextBox 25"/>
          <p:cNvSpPr txBox="1"/>
          <p:nvPr/>
        </p:nvSpPr>
        <p:spPr>
          <a:xfrm>
            <a:off x="8352417" y="5454802"/>
            <a:ext cx="2590219" cy="9264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Windows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rver 2016</a:t>
            </a:r>
          </a:p>
        </p:txBody>
      </p:sp>
      <p:pic>
        <p:nvPicPr>
          <p:cNvPr id="27" name="Picture 26"/>
          <p:cNvPicPr>
            <a:picLocks noChangeAspect="1"/>
          </p:cNvPicPr>
          <p:nvPr/>
        </p:nvPicPr>
        <p:blipFill>
          <a:blip r:embed="rId9">
            <a:duotone>
              <a:prstClr val="black"/>
              <a:srgbClr val="0078D7">
                <a:tint val="45000"/>
                <a:satMod val="400000"/>
              </a:srgbClr>
            </a:duotone>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9083308" y="4492245"/>
            <a:ext cx="1212005" cy="998917"/>
          </a:xfrm>
          <a:prstGeom prst="rect">
            <a:avLst/>
          </a:prstGeom>
        </p:spPr>
      </p:pic>
      <p:pic>
        <p:nvPicPr>
          <p:cNvPr id="29" name="Picture 28"/>
          <p:cNvPicPr>
            <a:picLocks noChangeAspect="1"/>
          </p:cNvPicPr>
          <p:nvPr/>
        </p:nvPicPr>
        <p:blipFill rotWithShape="1">
          <a:blip r:embed="rId11">
            <a:duotone>
              <a:prstClr val="black"/>
              <a:schemeClr val="bg1">
                <a:lumMod val="50000"/>
                <a:tint val="45000"/>
                <a:satMod val="400000"/>
              </a:schemeClr>
            </a:duotone>
            <a:extLst>
              <a:ext uri="{BEBA8EAE-BF5A-486C-A8C5-ECC9F3942E4B}">
                <a14:imgProps xmlns:a14="http://schemas.microsoft.com/office/drawing/2010/main">
                  <a14:imgLayer r:embed="rId12">
                    <a14:imgEffect>
                      <a14:brightnessContrast bright="-40000" contrast="-40000"/>
                    </a14:imgEffect>
                  </a14:imgLayer>
                </a14:imgProps>
              </a:ext>
            </a:extLst>
          </a:blip>
          <a:srcRect t="20391" r="65489" b="23958"/>
          <a:stretch/>
        </p:blipFill>
        <p:spPr>
          <a:xfrm>
            <a:off x="4937237" y="2746968"/>
            <a:ext cx="420832" cy="365690"/>
          </a:xfrm>
          <a:prstGeom prst="rect">
            <a:avLst/>
          </a:prstGeom>
        </p:spPr>
      </p:pic>
      <p:pic>
        <p:nvPicPr>
          <p:cNvPr id="3" name="Picture 2"/>
          <p:cNvPicPr>
            <a:picLocks noChangeAspect="1"/>
          </p:cNvPicPr>
          <p:nvPr/>
        </p:nvPicPr>
        <p:blipFill>
          <a:blip r:embed="rId13"/>
          <a:stretch>
            <a:fillRect/>
          </a:stretch>
        </p:blipFill>
        <p:spPr>
          <a:xfrm>
            <a:off x="2012631" y="4537297"/>
            <a:ext cx="933530" cy="933530"/>
          </a:xfrm>
          <a:prstGeom prst="rect">
            <a:avLst/>
          </a:prstGeom>
        </p:spPr>
      </p:pic>
    </p:spTree>
    <p:extLst>
      <p:ext uri="{BB962C8B-B14F-4D97-AF65-F5344CB8AC3E}">
        <p14:creationId xmlns:p14="http://schemas.microsoft.com/office/powerpoint/2010/main" val="2662549644"/>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6794301" y="1200476"/>
            <a:ext cx="5350822" cy="4168994"/>
          </a:xfrm>
          <a:prstGeom prst="roundRect">
            <a:avLst>
              <a:gd name="adj" fmla="val 5367"/>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2"/>
          <p:cNvSpPr txBox="1">
            <a:spLocks/>
          </p:cNvSpPr>
          <p:nvPr/>
        </p:nvSpPr>
        <p:spPr>
          <a:xfrm>
            <a:off x="309731" y="3265837"/>
            <a:ext cx="7548495" cy="3619410"/>
          </a:xfrm>
          <a:prstGeom prst="rect">
            <a:avLst/>
          </a:prstGeom>
          <a:noFill/>
        </p:spPr>
        <p:txBody>
          <a:bodyPr vert="horz" wrap="square" lIns="182854" tIns="146283" rIns="182854" bIns="146283"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Docker tooling and API support</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ubernetes</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C/OS</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ocker Swarm</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ux &amp; Windows Server containers</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and Azure Stack</a:t>
            </a:r>
          </a:p>
        </p:txBody>
      </p:sp>
      <p:sp>
        <p:nvSpPr>
          <p:cNvPr id="5" name="Title 1"/>
          <p:cNvSpPr txBox="1">
            <a:spLocks/>
          </p:cNvSpPr>
          <p:nvPr/>
        </p:nvSpPr>
        <p:spPr>
          <a:xfrm>
            <a:off x="302692" y="1703843"/>
            <a:ext cx="6674490" cy="1641242"/>
          </a:xfrm>
          <a:prstGeom prst="rect">
            <a:avLst/>
          </a:prstGeom>
        </p:spPr>
        <p:txBody>
          <a:bodyPr vert="horz" wrap="square" lIns="182854" tIns="146283" rIns="182854" bIns="146283"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base" latinLnBrk="0" hangingPunct="1">
              <a:lnSpc>
                <a:spcPct val="90000"/>
              </a:lnSpc>
              <a:spcBef>
                <a:spcPts val="1199"/>
              </a:spcBef>
              <a:spcAft>
                <a:spcPct val="0"/>
              </a:spcAft>
              <a:buClrTx/>
              <a:buSzTx/>
              <a:buFontTx/>
              <a:buNone/>
              <a:tabLst/>
              <a:defRPr/>
            </a:pPr>
            <a:r>
              <a:rPr kumimoji="0" lang="en-US" sz="4799" b="0" i="0" u="none" strike="noStrike" kern="1200" cap="none" spc="-102" normalizeH="0" baseline="0" noProof="0">
                <a:ln w="3175">
                  <a:noFill/>
                </a:ln>
                <a:solidFill>
                  <a:srgbClr val="0072CC"/>
                </a:solidFill>
                <a:effectLst/>
                <a:uLnTx/>
                <a:uFillTx/>
                <a:latin typeface="Segoe UI Light"/>
                <a:ea typeface="+mn-ea"/>
                <a:cs typeface="Segoe UI" pitchFamily="34" charset="0"/>
              </a:rPr>
              <a:t> </a:t>
            </a:r>
            <a:br>
              <a:rPr kumimoji="0" lang="en-US" sz="43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Container Service</a:t>
            </a:r>
            <a:endParaRPr kumimoji="0" lang="en-US" sz="53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6" name="AutoShape 3"/>
          <p:cNvSpPr>
            <a:spLocks noChangeAspect="1" noChangeArrowheads="1" noTextEdit="1"/>
          </p:cNvSpPr>
          <p:nvPr/>
        </p:nvSpPr>
        <p:spPr bwMode="auto">
          <a:xfrm>
            <a:off x="8100746" y="957625"/>
            <a:ext cx="4044377" cy="382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 name="Freeform 5"/>
          <p:cNvSpPr>
            <a:spLocks/>
          </p:cNvSpPr>
          <p:nvPr/>
        </p:nvSpPr>
        <p:spPr bwMode="auto">
          <a:xfrm>
            <a:off x="7133871" y="522246"/>
            <a:ext cx="4772998" cy="254296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a:ln>
                  <a:noFill/>
                </a:ln>
                <a:solidFill>
                  <a:srgbClr val="0078D7"/>
                </a:solidFill>
                <a:effectLst/>
                <a:uLnTx/>
                <a:uFillTx/>
                <a:latin typeface="Segoe UI"/>
                <a:ea typeface="+mn-ea"/>
                <a:cs typeface="+mn-cs"/>
              </a:rPr>
              <a:t>Azure</a:t>
            </a:r>
            <a:endParaRPr kumimoji="0" lang="en-US" sz="4400" b="0" i="0" u="none" strike="noStrike" kern="0" cap="none" spc="0" normalizeH="0" baseline="0" noProof="0">
              <a:ln>
                <a:noFill/>
              </a:ln>
              <a:solidFill>
                <a:srgbClr val="0078D7"/>
              </a:solidFill>
              <a:effectLst/>
              <a:uLnTx/>
              <a:uFillTx/>
              <a:latin typeface="Segoe UI"/>
              <a:ea typeface="+mn-ea"/>
              <a:cs typeface="+mn-cs"/>
            </a:endParaRPr>
          </a:p>
        </p:txBody>
      </p:sp>
      <p:grpSp>
        <p:nvGrpSpPr>
          <p:cNvPr id="20" name="Group 19"/>
          <p:cNvGrpSpPr/>
          <p:nvPr/>
        </p:nvGrpSpPr>
        <p:grpSpPr>
          <a:xfrm>
            <a:off x="7791070" y="2638546"/>
            <a:ext cx="479358" cy="952366"/>
            <a:chOff x="8550600" y="2561828"/>
            <a:chExt cx="479358" cy="952366"/>
          </a:xfrm>
        </p:grpSpPr>
        <p:sp>
          <p:nvSpPr>
            <p:cNvPr id="14"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5" name="Rectangle 24"/>
          <p:cNvSpPr/>
          <p:nvPr/>
        </p:nvSpPr>
        <p:spPr>
          <a:xfrm>
            <a:off x="10585320" y="4553455"/>
            <a:ext cx="1132041" cy="461665"/>
          </a:xfrm>
          <a:prstGeom prst="rect">
            <a:avLst/>
          </a:prstGeom>
        </p:spPr>
        <p:txBody>
          <a:bodyPr wrap="none">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1F1F1"/>
                </a:solidFill>
                <a:effectLst/>
                <a:uLnTx/>
                <a:uFillTx/>
                <a:latin typeface="Segoe UI Semibold" panose="020B0702040204020203" pitchFamily="34" charset="0"/>
                <a:ea typeface="+mn-ea"/>
                <a:cs typeface="Segoe UI Semibold" panose="020B0702040204020203" pitchFamily="34" charset="0"/>
              </a:rPr>
              <a:t>Swarm</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sp>
        <p:nvSpPr>
          <p:cNvPr id="35" name="Rectangle 34"/>
          <p:cNvSpPr/>
          <p:nvPr/>
        </p:nvSpPr>
        <p:spPr>
          <a:xfrm>
            <a:off x="7453528" y="4553455"/>
            <a:ext cx="1124026" cy="461665"/>
          </a:xfrm>
          <a:prstGeom prst="rect">
            <a:avLst/>
          </a:prstGeom>
        </p:spPr>
        <p:txBody>
          <a:bodyPr wrap="none">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1F1F1"/>
                </a:solidFill>
                <a:effectLst/>
                <a:uLnTx/>
                <a:uFillTx/>
                <a:latin typeface="Segoe UI Semibold" panose="020B0702040204020203" pitchFamily="34" charset="0"/>
                <a:ea typeface="+mn-ea"/>
                <a:cs typeface="Segoe UI Semibold" panose="020B0702040204020203" pitchFamily="34" charset="0"/>
              </a:rPr>
              <a:t>DC/OS</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grpSp>
        <p:nvGrpSpPr>
          <p:cNvPr id="37" name="Group 36"/>
          <p:cNvGrpSpPr/>
          <p:nvPr/>
        </p:nvGrpSpPr>
        <p:grpSpPr>
          <a:xfrm>
            <a:off x="9381202" y="2638546"/>
            <a:ext cx="479358" cy="952366"/>
            <a:chOff x="8550600" y="2561828"/>
            <a:chExt cx="479358" cy="952366"/>
          </a:xfrm>
        </p:grpSpPr>
        <p:sp>
          <p:nvSpPr>
            <p:cNvPr id="38"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2" name="Group 41"/>
          <p:cNvGrpSpPr/>
          <p:nvPr/>
        </p:nvGrpSpPr>
        <p:grpSpPr>
          <a:xfrm>
            <a:off x="10911662" y="2638546"/>
            <a:ext cx="479358" cy="952366"/>
            <a:chOff x="8550600" y="2561828"/>
            <a:chExt cx="479358" cy="952366"/>
          </a:xfrm>
        </p:grpSpPr>
        <p:sp>
          <p:nvSpPr>
            <p:cNvPr id="43"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8"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67821" y="3450538"/>
            <a:ext cx="1367040" cy="113827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4"/>
          <a:stretch>
            <a:fillRect/>
          </a:stretch>
        </p:blipFill>
        <p:spPr>
          <a:xfrm>
            <a:off x="8991172" y="3426510"/>
            <a:ext cx="1186334" cy="1186334"/>
          </a:xfrm>
          <a:prstGeom prst="rect">
            <a:avLst/>
          </a:prstGeom>
        </p:spPr>
      </p:pic>
      <p:grpSp>
        <p:nvGrpSpPr>
          <p:cNvPr id="3" name="Group 2"/>
          <p:cNvGrpSpPr/>
          <p:nvPr/>
        </p:nvGrpSpPr>
        <p:grpSpPr>
          <a:xfrm>
            <a:off x="7505876" y="3499762"/>
            <a:ext cx="1040940" cy="1039830"/>
            <a:chOff x="7658863" y="3499762"/>
            <a:chExt cx="1040940" cy="1039830"/>
          </a:xfrm>
        </p:grpSpPr>
        <p:sp>
          <p:nvSpPr>
            <p:cNvPr id="17" name="Oval 14"/>
            <p:cNvSpPr>
              <a:spLocks noChangeArrowheads="1"/>
            </p:cNvSpPr>
            <p:nvPr/>
          </p:nvSpPr>
          <p:spPr bwMode="auto">
            <a:xfrm>
              <a:off x="7658863" y="3499762"/>
              <a:ext cx="1040940" cy="10398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6" name="Picture 35"/>
            <p:cNvPicPr>
              <a:picLocks noChangeAspect="1"/>
            </p:cNvPicPr>
            <p:nvPr/>
          </p:nvPicPr>
          <p:blipFill>
            <a:blip r:embed="rId5"/>
            <a:stretch>
              <a:fillRect/>
            </a:stretch>
          </p:blipFill>
          <p:spPr>
            <a:xfrm>
              <a:off x="7796791" y="3751023"/>
              <a:ext cx="753809" cy="579955"/>
            </a:xfrm>
            <a:prstGeom prst="rect">
              <a:avLst/>
            </a:prstGeom>
          </p:spPr>
        </p:pic>
      </p:grpSp>
      <p:sp>
        <p:nvSpPr>
          <p:cNvPr id="47" name="Rectangle 46"/>
          <p:cNvSpPr/>
          <p:nvPr/>
        </p:nvSpPr>
        <p:spPr>
          <a:xfrm>
            <a:off x="8718557" y="4553455"/>
            <a:ext cx="1765227" cy="461665"/>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1F1F1"/>
                </a:solidFill>
                <a:effectLst/>
                <a:uLnTx/>
                <a:uFillTx/>
                <a:latin typeface="Segoe UI Semibold" panose="020B0702040204020203" pitchFamily="34" charset="0"/>
                <a:ea typeface="+mn-ea"/>
                <a:cs typeface="Segoe UI Semibold" panose="020B0702040204020203" pitchFamily="34" charset="0"/>
              </a:rPr>
              <a:t>Kubernetes</a:t>
            </a:r>
            <a:endParaRPr kumimoji="0" lang="en-US" sz="2400" b="0" i="0" u="none" strike="noStrike" kern="0" cap="none" spc="0" normalizeH="0" baseline="0" noProof="0" dirty="0">
              <a:ln>
                <a:noFill/>
              </a:ln>
              <a:solidFill>
                <a:srgbClr val="F1F1F1"/>
              </a:solidFill>
              <a:effectLst/>
              <a:uLnTx/>
              <a:uFillTx/>
              <a:latin typeface="Segoe UI"/>
              <a:ea typeface="+mn-ea"/>
              <a:cs typeface="+mn-cs"/>
            </a:endParaRPr>
          </a:p>
        </p:txBody>
      </p:sp>
    </p:spTree>
    <p:extLst>
      <p:ext uri="{BB962C8B-B14F-4D97-AF65-F5344CB8AC3E}">
        <p14:creationId xmlns:p14="http://schemas.microsoft.com/office/powerpoint/2010/main" val="2181560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65683E-6 L -0.05284 1.65683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0.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5C7F7E6F-D093-4BBC-8472-D96652E17AFE}"/>
    </a:ext>
  </a:extLst>
</a:theme>
</file>

<file path=ppt/theme/theme3.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5.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D4EDA164-A9DF-4FD6-84AA-6D2E5BC1200A}"/>
    </a:ext>
  </a:extLst>
</a:theme>
</file>

<file path=ppt/theme/theme8.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DAF3F87CB3A247B6107EF7BD051930" ma:contentTypeVersion="9" ma:contentTypeDescription="Create a new document." ma:contentTypeScope="" ma:versionID="6304bf20930d20d65897c96e5ff2d7ea">
  <xsd:schema xmlns:xsd="http://www.w3.org/2001/XMLSchema" xmlns:xs="http://www.w3.org/2001/XMLSchema" xmlns:p="http://schemas.microsoft.com/office/2006/metadata/properties" xmlns:ns1="http://schemas.microsoft.com/sharepoint/v3" xmlns:ns2="8574c880-9457-4207-8929-5c1c8fc252c3" xmlns:ns3="882f43a0-76db-474b-9821-2b79a57bcf8f" targetNamespace="http://schemas.microsoft.com/office/2006/metadata/properties" ma:root="true" ma:fieldsID="d610d28bd43ff8b961bb73df6444eebb" ns1:_="" ns2:_="" ns3:_="">
    <xsd:import namespace="http://schemas.microsoft.com/sharepoint/v3"/>
    <xsd:import namespace="8574c880-9457-4207-8929-5c1c8fc252c3"/>
    <xsd:import namespace="882f43a0-76db-474b-9821-2b79a57bcf8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74c880-9457-4207-8929-5c1c8fc252c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2f43a0-76db-474b-9821-2b79a57bcf8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sharepoint/v3"/>
    <ds:schemaRef ds:uri="882f43a0-76db-474b-9821-2b79a57bcf8f"/>
    <ds:schemaRef ds:uri="http://purl.org/dc/terms/"/>
    <ds:schemaRef ds:uri="8574c880-9457-4207-8929-5c1c8fc252c3"/>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5551E444-FE6A-4A4D-8D3E-9243980D75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74c880-9457-4207-8929-5c1c8fc252c3"/>
    <ds:schemaRef ds:uri="882f43a0-76db-474b-9821-2b79a57bc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27</TotalTime>
  <Words>13321</Words>
  <Application>Microsoft Office PowerPoint</Application>
  <PresentationFormat>Custom</PresentationFormat>
  <Paragraphs>2201</Paragraphs>
  <Slides>99</Slides>
  <Notes>99</Notes>
  <HiddenSlides>17</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2</vt:i4>
      </vt:variant>
      <vt:variant>
        <vt:lpstr>Slide Titles</vt:lpstr>
      </vt:variant>
      <vt:variant>
        <vt:i4>99</vt:i4>
      </vt:variant>
    </vt:vector>
  </HeadingPairs>
  <TitlesOfParts>
    <vt:vector size="128" baseType="lpstr">
      <vt:lpstr>ＭＳ Ｐゴシック</vt:lpstr>
      <vt:lpstr>ＭＳ Ｐゴシック</vt:lpstr>
      <vt:lpstr>Abyssinica SIL</vt:lpstr>
      <vt:lpstr>Arial</vt:lpstr>
      <vt:lpstr>Calibri</vt:lpstr>
      <vt:lpstr>Consolas</vt:lpstr>
      <vt:lpstr>Courier New</vt:lpstr>
      <vt:lpstr>Franklin Gothic Medium</vt:lpstr>
      <vt:lpstr>Leelawadee UI</vt:lpstr>
      <vt:lpstr>Segoe</vt:lpstr>
      <vt:lpstr>Segoe UI</vt:lpstr>
      <vt:lpstr>Segoe UI Light</vt:lpstr>
      <vt:lpstr>Segoe UI Semibold</vt:lpstr>
      <vt:lpstr>Segoe UI Semilight</vt:lpstr>
      <vt:lpstr>Webdings</vt:lpstr>
      <vt:lpstr>Wingdings</vt:lpstr>
      <vt:lpstr>Wingdings 3</vt:lpstr>
      <vt:lpstr>WHITE TEMPLATE</vt:lpstr>
      <vt:lpstr>COLOR TEMPLATE</vt:lpstr>
      <vt:lpstr>4_LIGHT COLOR TEMPLATE</vt:lpstr>
      <vt:lpstr>6-30537_Envision 2016 Keynote Template</vt:lpstr>
      <vt:lpstr>3_5-50002_Ignite_Breakout_Template</vt:lpstr>
      <vt:lpstr>1_COLOR TEMPLATE</vt:lpstr>
      <vt:lpstr>1_WHITE TEMPLATE</vt:lpstr>
      <vt:lpstr>2_EBC_2017</vt:lpstr>
      <vt:lpstr>EBC_2017</vt:lpstr>
      <vt:lpstr>1_C+E Deck</vt:lpstr>
      <vt:lpstr>think-cell Slide</vt:lpstr>
      <vt:lpstr>Im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PowerPoint Presentation</vt:lpstr>
      <vt:lpstr>PowerPoint Presentation</vt:lpstr>
      <vt:lpstr>Rest assured with layered datacenter security</vt:lpstr>
      <vt:lpstr>PowerPoint Presentation</vt:lpstr>
      <vt:lpstr>PowerPoint Presentation</vt:lpstr>
      <vt:lpstr>PowerPoint Presentation</vt:lpstr>
      <vt:lpstr>Virtual Networking Services</vt:lpstr>
      <vt:lpstr>Azure Networking – Core Services</vt:lpstr>
      <vt:lpstr>Virtual Network</vt:lpstr>
      <vt:lpstr>Subnets</vt:lpstr>
      <vt:lpstr>Network Security Groups</vt:lpstr>
      <vt:lpstr>Augmented Rules</vt:lpstr>
      <vt:lpstr>Service Tags (Public Preview)</vt:lpstr>
      <vt:lpstr>Application Security groups (Public Preview)</vt:lpstr>
      <vt:lpstr>Gateway Subnet and Virtual Network Gateways</vt:lpstr>
      <vt:lpstr>NICs and PIPs</vt:lpstr>
      <vt:lpstr>Lab 1: Portal and vNets</vt:lpstr>
      <vt:lpstr>Global VNet Peering (Public Preview)</vt:lpstr>
      <vt:lpstr>VNet Service Endpoints (Public Preview)</vt:lpstr>
      <vt:lpstr>Azure DNS Private Zone (Managed Preview) </vt:lpstr>
      <vt:lpstr>Accelerated Networking for Linux (Public Preview)</vt:lpstr>
      <vt:lpstr>Load balancer</vt:lpstr>
      <vt:lpstr>Compute &amp; Storage Services</vt:lpstr>
      <vt:lpstr>Azure Compute – Core Services</vt:lpstr>
      <vt:lpstr>Compute families</vt:lpstr>
      <vt:lpstr>New compute size options</vt:lpstr>
      <vt:lpstr>New compute size options</vt:lpstr>
      <vt:lpstr>New VM sizes</vt:lpstr>
      <vt:lpstr>PowerPoint Presentation</vt:lpstr>
      <vt:lpstr>PowerPoint Presentation</vt:lpstr>
      <vt:lpstr>PowerPoint Presentation</vt:lpstr>
      <vt:lpstr>PowerPoint Presentation</vt:lpstr>
      <vt:lpstr>Containers as Infrastructure (GA)</vt:lpstr>
      <vt:lpstr>Reserved Virtual Machine Instances (GA)</vt:lpstr>
      <vt:lpstr>PowerPoint Presentation</vt:lpstr>
      <vt:lpstr>Availability Zones (Public Preview)</vt:lpstr>
      <vt:lpstr>Azure Storage Services</vt:lpstr>
      <vt:lpstr>Azure File Sync (Public Preview)</vt:lpstr>
      <vt:lpstr>Azure Data Box (Limited Preview)</vt:lpstr>
      <vt:lpstr>Managed disks Simple scalability and high resiliency </vt:lpstr>
      <vt:lpstr>Lab 2: Virtual Machine Tutorial</vt:lpstr>
      <vt:lpstr>PowerPoint Presentation</vt:lpstr>
      <vt:lpstr>Role Based Access Control</vt:lpstr>
      <vt:lpstr>Azure Policy (Limited Preview)</vt:lpstr>
      <vt:lpstr>Azure Monitor</vt:lpstr>
      <vt:lpstr>Azure Monitor –Compute resources</vt:lpstr>
      <vt:lpstr>Azure Monitor-Non compute resources</vt:lpstr>
      <vt:lpstr>Azure Network Watcher (Public Preview)</vt:lpstr>
      <vt:lpstr>Azure Security Center</vt:lpstr>
      <vt:lpstr>Azure Security Center</vt:lpstr>
      <vt:lpstr>Application &amp; Platform Services</vt:lpstr>
      <vt:lpstr>Balance of responsibility </vt:lpstr>
      <vt:lpstr>Azure IaaS &amp; PaaS Spectrum</vt:lpstr>
      <vt:lpstr>App Service – Azure PaaS </vt:lpstr>
      <vt:lpstr>Azure App Service</vt:lpstr>
      <vt:lpstr>Application Insights</vt:lpstr>
      <vt:lpstr>Lab 3: Web Apps</vt:lpstr>
      <vt:lpstr>DevOps, Management &amp; Automation</vt:lpstr>
      <vt:lpstr>DevOps Made Easy with Azure Web Apps </vt:lpstr>
      <vt:lpstr>The DevOps CI/CD Toolchain</vt:lpstr>
      <vt:lpstr>The DevOps CI/CD Toolchain</vt:lpstr>
      <vt:lpstr>TS ♥ integration</vt:lpstr>
      <vt:lpstr>Modern cloud management</vt:lpstr>
      <vt:lpstr>Modern cloud management with Azure</vt:lpstr>
      <vt:lpstr>Complementary Services</vt:lpstr>
      <vt:lpstr>Visual Studio Team Services</vt:lpstr>
      <vt:lpstr>Azure Messaging Services</vt:lpstr>
      <vt:lpstr>PowerPoint Presentation</vt:lpstr>
      <vt:lpstr>PowerPoint Presentation</vt:lpstr>
      <vt:lpstr>Lab 4a: Logic Apps</vt:lpstr>
      <vt:lpstr>Data, Analytics &amp; IoT Services</vt:lpstr>
      <vt:lpstr>Azure SQL Database</vt:lpstr>
      <vt:lpstr>PowerPoint Presentation</vt:lpstr>
      <vt:lpstr>Introducing SQL Data Warehouse</vt:lpstr>
      <vt:lpstr>Big Data / Hadoop in Azure</vt:lpstr>
      <vt:lpstr>Azure Relational Database Platform</vt:lpstr>
      <vt:lpstr>PowerPoint Presentation</vt:lpstr>
      <vt:lpstr>Lab 4b: Logic Apps</vt:lpstr>
      <vt:lpstr>Cortana Intelligence Suite Architecture</vt:lpstr>
      <vt:lpstr>Azure IoT Reference Architecture</vt:lpstr>
      <vt:lpstr>PowerPoint Presentation</vt:lpstr>
      <vt:lpstr>PowerPoint Presentation</vt:lpstr>
      <vt:lpstr>PowerPoint Presentation</vt:lpstr>
      <vt:lpstr>Architecture Decisions</vt:lpstr>
      <vt:lpstr>Managing Azure Deployments</vt:lpstr>
      <vt:lpstr>PowerPoint Presentation</vt:lpstr>
      <vt:lpstr>Azure Container Strategy  “Containers everywhe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ichard Cheney</cp:lastModifiedBy>
  <cp:revision>39</cp:revision>
  <dcterms:modified xsi:type="dcterms:W3CDTF">2018-05-09T14:4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TaxKeyword">
    <vt:lpwstr/>
  </property>
  <property fmtid="{D5CDD505-2E9C-101B-9397-08002B2CF9AE}" pid="11" name="TaxCatchAll">
    <vt:lpwstr/>
  </property>
  <property fmtid="{D5CDD505-2E9C-101B-9397-08002B2CF9AE}" pid="12" name="TaxKeywordTaxHTField">
    <vt:lpwstr/>
  </property>
  <property fmtid="{D5CDD505-2E9C-101B-9397-08002B2CF9AE}" pid="13" name="ContentTypeId">
    <vt:lpwstr>0x01010068DAF3F87CB3A247B6107EF7BD051930</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richeney@microsoft.com</vt:lpwstr>
  </property>
  <property fmtid="{D5CDD505-2E9C-101B-9397-08002B2CF9AE}" pid="17" name="MSIP_Label_f42aa342-8706-4288-bd11-ebb85995028c_SetDate">
    <vt:lpwstr>2018-05-09T07:43:32.1287855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Manual</vt:lpwstr>
  </property>
  <property fmtid="{D5CDD505-2E9C-101B-9397-08002B2CF9AE}" pid="21" name="Sensitivity">
    <vt:lpwstr>General</vt:lpwstr>
  </property>
</Properties>
</file>